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5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76" r:id="rId1"/>
    <p:sldMasterId id="2147483721" r:id="rId2"/>
  </p:sldMasterIdLst>
  <p:notesMasterIdLst>
    <p:notesMasterId r:id="rId22"/>
  </p:notesMasterIdLst>
  <p:handoutMasterIdLst>
    <p:handoutMasterId r:id="rId23"/>
  </p:handoutMasterIdLst>
  <p:sldIdLst>
    <p:sldId id="259" r:id="rId3"/>
    <p:sldId id="264" r:id="rId4"/>
    <p:sldId id="292" r:id="rId5"/>
    <p:sldId id="298" r:id="rId6"/>
    <p:sldId id="300" r:id="rId7"/>
    <p:sldId id="268" r:id="rId8"/>
    <p:sldId id="306" r:id="rId9"/>
    <p:sldId id="270" r:id="rId10"/>
    <p:sldId id="299" r:id="rId11"/>
    <p:sldId id="301" r:id="rId12"/>
    <p:sldId id="303" r:id="rId13"/>
    <p:sldId id="293" r:id="rId14"/>
    <p:sldId id="311" r:id="rId15"/>
    <p:sldId id="310" r:id="rId16"/>
    <p:sldId id="309" r:id="rId17"/>
    <p:sldId id="308" r:id="rId18"/>
    <p:sldId id="312" r:id="rId19"/>
    <p:sldId id="262" r:id="rId20"/>
    <p:sldId id="261" r:id="rId21"/>
  </p:sldIdLst>
  <p:sldSz cx="12192000" cy="6858000"/>
  <p:notesSz cx="6884988" cy="10018713"/>
  <p:embeddedFontLst>
    <p:embeddedFont>
      <p:font typeface="MS PGothic" panose="020B0600070205080204" pitchFamily="34" charset="-128"/>
      <p:regular r:id="rId24"/>
    </p:embeddedFont>
    <p:embeddedFont>
      <p:font typeface="Ericsson Capital TT" panose="02000503000000020004" pitchFamily="2" charset="0"/>
      <p:regular r:id="rId25"/>
    </p:embeddedFont>
  </p:embeddedFontLst>
  <p:custDataLst>
    <p:tags r:id="rId26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9DE719"/>
    <a:srgbClr val="9FB7D3"/>
    <a:srgbClr val="8BC5FF"/>
    <a:srgbClr val="99CCFF"/>
    <a:srgbClr val="6A8FBF"/>
    <a:srgbClr val="00A9D4"/>
    <a:srgbClr val="007B78"/>
    <a:srgbClr val="89BA17"/>
    <a:srgbClr val="FABB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21235" autoAdjust="0"/>
    <p:restoredTop sz="78686" autoAdjust="0"/>
  </p:normalViewPr>
  <p:slideViewPr>
    <p:cSldViewPr snapToGrid="0" snapToObjects="1">
      <p:cViewPr varScale="1">
        <p:scale>
          <a:sx n="53" d="100"/>
          <a:sy n="53" d="100"/>
        </p:scale>
        <p:origin x="-786" y="-96"/>
      </p:cViewPr>
      <p:guideLst>
        <p:guide orient="horz" pos="1136"/>
        <p:guide orient="horz" pos="4110"/>
        <p:guide orient="horz" pos="151"/>
        <p:guide orient="horz" pos="2449"/>
        <p:guide orient="horz" pos="3566"/>
        <p:guide orient="horz" pos="2545"/>
        <p:guide orient="horz" pos="3845"/>
        <p:guide pos="6625"/>
        <p:guide pos="2588"/>
        <p:guide pos="5091"/>
        <p:guide pos="4969"/>
        <p:guide pos="3779"/>
        <p:guide pos="3901"/>
        <p:guide pos="331"/>
        <p:guide pos="271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48" d="100"/>
          <a:sy n="48" d="100"/>
        </p:scale>
        <p:origin x="-2916" y="-108"/>
      </p:cViewPr>
      <p:guideLst>
        <p:guide orient="horz" pos="3155"/>
        <p:guide pos="216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font" Target="fonts/font2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1.fntdata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FB11C7F-C007-41D3-ACFE-33A1019CCBF6}" type="doc">
      <dgm:prSet loTypeId="urn:microsoft.com/office/officeart/2008/layout/VerticalCurvedList" loCatId="list" qsTypeId="urn:microsoft.com/office/officeart/2005/8/quickstyle/simple4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2A9C5512-D0B7-4822-A762-5C762F09423F}">
      <dgm:prSet phldrT="[Text]" custT="1"/>
      <dgm:spPr/>
      <dgm:t>
        <a:bodyPr anchor="ctr"/>
        <a:lstStyle/>
        <a:p>
          <a:pPr>
            <a:spcAft>
              <a:spcPts val="0"/>
            </a:spcAft>
          </a:pPr>
          <a:r>
            <a:rPr lang="en-US" sz="1800" b="1" dirty="0" smtClean="0"/>
            <a:t>A disruptive concept</a:t>
          </a:r>
          <a:endParaRPr lang="en-US" sz="1800" b="1" dirty="0"/>
        </a:p>
      </dgm:t>
    </dgm:pt>
    <dgm:pt modelId="{2D899691-7975-4372-87E3-86F40363E919}" type="parTrans" cxnId="{5362085B-9446-4EFA-83FB-5A61BF75C045}">
      <dgm:prSet/>
      <dgm:spPr/>
      <dgm:t>
        <a:bodyPr/>
        <a:lstStyle/>
        <a:p>
          <a:endParaRPr lang="en-US"/>
        </a:p>
      </dgm:t>
    </dgm:pt>
    <dgm:pt modelId="{25E341AF-7766-4675-97B0-4C82EA5559AB}" type="sibTrans" cxnId="{5362085B-9446-4EFA-83FB-5A61BF75C045}">
      <dgm:prSet/>
      <dgm:spPr/>
      <dgm:t>
        <a:bodyPr/>
        <a:lstStyle/>
        <a:p>
          <a:endParaRPr lang="en-US"/>
        </a:p>
      </dgm:t>
    </dgm:pt>
    <dgm:pt modelId="{0AA6E46B-F4EC-4190-BA31-8BC96A46378A}">
      <dgm:prSet phldrT="[Text]" custT="1"/>
      <dgm:spPr/>
      <dgm:t>
        <a:bodyPr anchor="ctr"/>
        <a:lstStyle/>
        <a:p>
          <a:pPr>
            <a:spcAft>
              <a:spcPts val="0"/>
            </a:spcAft>
          </a:pPr>
          <a:r>
            <a:rPr lang="en-US" sz="1800" b="1" dirty="0" smtClean="0"/>
            <a:t>Causing Industry wide Change </a:t>
          </a:r>
          <a:endParaRPr lang="en-US" sz="1800" b="1" dirty="0"/>
        </a:p>
      </dgm:t>
    </dgm:pt>
    <dgm:pt modelId="{D3AA1E25-2568-462B-85FE-FB0FFC3FAD15}" type="parTrans" cxnId="{408A07AC-AD9A-4F11-B704-EC82F92266A3}">
      <dgm:prSet/>
      <dgm:spPr/>
      <dgm:t>
        <a:bodyPr/>
        <a:lstStyle/>
        <a:p>
          <a:endParaRPr lang="en-US"/>
        </a:p>
      </dgm:t>
    </dgm:pt>
    <dgm:pt modelId="{76F8809E-CA50-4A16-B425-8A0D3AA81589}" type="sibTrans" cxnId="{408A07AC-AD9A-4F11-B704-EC82F92266A3}">
      <dgm:prSet/>
      <dgm:spPr/>
      <dgm:t>
        <a:bodyPr/>
        <a:lstStyle/>
        <a:p>
          <a:endParaRPr lang="en-US"/>
        </a:p>
      </dgm:t>
    </dgm:pt>
    <dgm:pt modelId="{733A6B59-BB27-494D-A833-4F0C32B3997A}">
      <dgm:prSet phldrT="[Text]" custT="1"/>
      <dgm:spPr/>
      <dgm:t>
        <a:bodyPr anchor="ctr"/>
        <a:lstStyle/>
        <a:p>
          <a:pPr>
            <a:spcAft>
              <a:spcPts val="0"/>
            </a:spcAft>
          </a:pPr>
          <a:r>
            <a:rPr lang="en-AU" sz="1800" b="1" dirty="0" smtClean="0"/>
            <a:t>Reducing the Barrier to Innovation </a:t>
          </a:r>
          <a:endParaRPr lang="en-US" sz="1800" b="1" dirty="0"/>
        </a:p>
      </dgm:t>
    </dgm:pt>
    <dgm:pt modelId="{FA62AD97-A2FE-46D8-BA9E-FF93614F5D29}" type="parTrans" cxnId="{569A182B-79BD-43C5-A2B8-5D6278115C3D}">
      <dgm:prSet/>
      <dgm:spPr/>
      <dgm:t>
        <a:bodyPr/>
        <a:lstStyle/>
        <a:p>
          <a:endParaRPr lang="en-US"/>
        </a:p>
      </dgm:t>
    </dgm:pt>
    <dgm:pt modelId="{0887FDEE-45E7-4A31-8460-7637A8ADC325}" type="sibTrans" cxnId="{569A182B-79BD-43C5-A2B8-5D6278115C3D}">
      <dgm:prSet/>
      <dgm:spPr/>
      <dgm:t>
        <a:bodyPr/>
        <a:lstStyle/>
        <a:p>
          <a:endParaRPr lang="en-US"/>
        </a:p>
      </dgm:t>
    </dgm:pt>
    <dgm:pt modelId="{E4E55FDA-EF50-49FC-912B-EF88E22A8419}">
      <dgm:prSet custT="1"/>
      <dgm:spPr/>
      <dgm:t>
        <a:bodyPr anchor="ctr"/>
        <a:lstStyle/>
        <a:p>
          <a:pPr>
            <a:spcAft>
              <a:spcPct val="15000"/>
            </a:spcAft>
          </a:pPr>
          <a:r>
            <a:rPr lang="en-US" sz="1000" dirty="0" smtClean="0">
              <a:ea typeface="+mn-ea"/>
              <a:cs typeface="+mn-cs"/>
            </a:rPr>
            <a:t>Service Delivery, GTM, Business Models, Cost &amp; Internal Efficiency.  </a:t>
          </a:r>
          <a:endParaRPr lang="en-US" sz="1000" dirty="0">
            <a:ea typeface="+mn-ea"/>
            <a:cs typeface="+mn-cs"/>
          </a:endParaRPr>
        </a:p>
      </dgm:t>
    </dgm:pt>
    <dgm:pt modelId="{664E0281-010D-4369-9F8A-F94D90607FC0}" type="parTrans" cxnId="{D425A579-50FE-4A05-B847-BD729DA781B2}">
      <dgm:prSet/>
      <dgm:spPr/>
      <dgm:t>
        <a:bodyPr/>
        <a:lstStyle/>
        <a:p>
          <a:endParaRPr lang="en-US"/>
        </a:p>
      </dgm:t>
    </dgm:pt>
    <dgm:pt modelId="{D3366933-8CA8-4D7D-A7AB-D23D10C78C0B}" type="sibTrans" cxnId="{D425A579-50FE-4A05-B847-BD729DA781B2}">
      <dgm:prSet/>
      <dgm:spPr/>
      <dgm:t>
        <a:bodyPr/>
        <a:lstStyle/>
        <a:p>
          <a:endParaRPr lang="en-US"/>
        </a:p>
      </dgm:t>
    </dgm:pt>
    <dgm:pt modelId="{A448BB7D-10E9-4C1C-9395-E232BB20FF75}">
      <dgm:prSet phldrT="[Text]" custT="1"/>
      <dgm:spPr/>
      <dgm:t>
        <a:bodyPr anchor="ctr"/>
        <a:lstStyle/>
        <a:p>
          <a:pPr>
            <a:spcAft>
              <a:spcPct val="15000"/>
            </a:spcAft>
          </a:pPr>
          <a:r>
            <a:rPr lang="en-US" sz="1000" dirty="0" smtClean="0">
              <a:ea typeface="+mn-ea"/>
              <a:cs typeface="+mn-cs"/>
            </a:rPr>
            <a:t>Globally transforming the business &amp; IT environments of Enterprises (</a:t>
          </a:r>
          <a:r>
            <a:rPr lang="en-US" sz="1000" dirty="0" err="1" smtClean="0">
              <a:ea typeface="+mn-ea"/>
              <a:cs typeface="+mn-cs"/>
            </a:rPr>
            <a:t>inc</a:t>
          </a:r>
          <a:r>
            <a:rPr lang="en-US" sz="1000" dirty="0" smtClean="0">
              <a:ea typeface="+mn-ea"/>
              <a:cs typeface="+mn-cs"/>
            </a:rPr>
            <a:t> Operators) &amp; consumers.  </a:t>
          </a:r>
          <a:endParaRPr lang="en-US" sz="1000" dirty="0"/>
        </a:p>
      </dgm:t>
    </dgm:pt>
    <dgm:pt modelId="{FB9FCB81-1E34-419F-85B7-B57114675499}" type="parTrans" cxnId="{9B9A42D9-5F9E-4820-BF7B-A026031110E5}">
      <dgm:prSet/>
      <dgm:spPr/>
      <dgm:t>
        <a:bodyPr/>
        <a:lstStyle/>
        <a:p>
          <a:endParaRPr lang="en-US"/>
        </a:p>
      </dgm:t>
    </dgm:pt>
    <dgm:pt modelId="{687B8141-7F4B-4F74-B0C5-E80658532818}" type="sibTrans" cxnId="{9B9A42D9-5F9E-4820-BF7B-A026031110E5}">
      <dgm:prSet/>
      <dgm:spPr>
        <a:ln>
          <a:solidFill>
            <a:schemeClr val="tx2">
              <a:lumMod val="10000"/>
              <a:lumOff val="90000"/>
            </a:schemeClr>
          </a:solidFill>
        </a:ln>
      </dgm:spPr>
      <dgm:t>
        <a:bodyPr/>
        <a:lstStyle/>
        <a:p>
          <a:endParaRPr lang="en-US"/>
        </a:p>
      </dgm:t>
    </dgm:pt>
    <dgm:pt modelId="{03BEFA84-1BEB-4AEA-AD70-C7F9AB832871}">
      <dgm:prSet custT="1"/>
      <dgm:spPr/>
      <dgm:t>
        <a:bodyPr anchor="ctr"/>
        <a:lstStyle/>
        <a:p>
          <a:pPr>
            <a:spcAft>
              <a:spcPct val="15000"/>
            </a:spcAft>
          </a:pPr>
          <a:r>
            <a:rPr lang="en-AU" sz="1000" dirty="0" smtClean="0">
              <a:ea typeface="+mn-ea"/>
              <a:cs typeface="+mn-cs"/>
            </a:rPr>
            <a:t>Creating a rich and growing service ecosystem</a:t>
          </a:r>
          <a:endParaRPr lang="en-AU" sz="1000" dirty="0">
            <a:ea typeface="+mn-ea"/>
            <a:cs typeface="+mn-cs"/>
          </a:endParaRPr>
        </a:p>
      </dgm:t>
    </dgm:pt>
    <dgm:pt modelId="{8221A34B-F15B-4B96-B9B2-5608CF896401}" type="parTrans" cxnId="{05F65C7D-E162-4113-B260-062FB8143A75}">
      <dgm:prSet/>
      <dgm:spPr/>
      <dgm:t>
        <a:bodyPr/>
        <a:lstStyle/>
        <a:p>
          <a:endParaRPr lang="en-US"/>
        </a:p>
      </dgm:t>
    </dgm:pt>
    <dgm:pt modelId="{0B9205F6-090F-4838-9CCE-0FD5D9CB019E}" type="sibTrans" cxnId="{05F65C7D-E162-4113-B260-062FB8143A75}">
      <dgm:prSet/>
      <dgm:spPr/>
      <dgm:t>
        <a:bodyPr/>
        <a:lstStyle/>
        <a:p>
          <a:endParaRPr lang="en-US"/>
        </a:p>
      </dgm:t>
    </dgm:pt>
    <dgm:pt modelId="{8C26F8FF-8BC5-4420-AF67-9A177C08E122}">
      <dgm:prSet custT="1">
        <dgm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dgm:style>
      </dgm:prSet>
      <dgm:spPr/>
      <dgm:t>
        <a:bodyPr anchor="ctr"/>
        <a:lstStyle/>
        <a:p>
          <a:pPr>
            <a:spcAft>
              <a:spcPts val="0"/>
            </a:spcAft>
          </a:pPr>
          <a:r>
            <a:rPr lang="en-AU" sz="1600" b="1" dirty="0" smtClean="0"/>
            <a:t>A Rapidly Evolving Competitive Landscape </a:t>
          </a:r>
          <a:endParaRPr lang="en-AU" sz="1600" b="1" dirty="0"/>
        </a:p>
      </dgm:t>
    </dgm:pt>
    <dgm:pt modelId="{D83C1EC7-9C08-4157-A266-A82AC3F5533A}" type="parTrans" cxnId="{79BC7966-F162-4662-9373-C2EAA856DC7E}">
      <dgm:prSet/>
      <dgm:spPr/>
      <dgm:t>
        <a:bodyPr/>
        <a:lstStyle/>
        <a:p>
          <a:endParaRPr lang="en-US"/>
        </a:p>
      </dgm:t>
    </dgm:pt>
    <dgm:pt modelId="{D78F01AC-FC5B-4844-90BE-861BA5A114C4}" type="sibTrans" cxnId="{79BC7966-F162-4662-9373-C2EAA856DC7E}">
      <dgm:prSet/>
      <dgm:spPr/>
      <dgm:t>
        <a:bodyPr/>
        <a:lstStyle/>
        <a:p>
          <a:endParaRPr lang="en-US"/>
        </a:p>
      </dgm:t>
    </dgm:pt>
    <dgm:pt modelId="{FBC95BD2-0445-417C-9AF6-B2ADBD137F98}">
      <dgm:prSet custT="1">
        <dgm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dgm:style>
      </dgm:prSet>
      <dgm:spPr/>
      <dgm:t>
        <a:bodyPr anchor="ctr"/>
        <a:lstStyle/>
        <a:p>
          <a:pPr>
            <a:spcAft>
              <a:spcPct val="15000"/>
            </a:spcAft>
          </a:pPr>
          <a:r>
            <a:rPr lang="en-AU" sz="1000" dirty="0" smtClean="0">
              <a:ea typeface="+mn-ea"/>
              <a:cs typeface="+mn-cs"/>
            </a:rPr>
            <a:t>New challengers are entering the Operator &amp; vendor (IT and Telecom) market bringing alternative product and business models</a:t>
          </a:r>
        </a:p>
      </dgm:t>
    </dgm:pt>
    <dgm:pt modelId="{1E44D87E-E531-4F78-933B-6041A59CCB4A}" type="parTrans" cxnId="{E97128D7-CEB1-43FF-9AAA-A04F0A8BC7E5}">
      <dgm:prSet/>
      <dgm:spPr/>
      <dgm:t>
        <a:bodyPr/>
        <a:lstStyle/>
        <a:p>
          <a:endParaRPr lang="en-US"/>
        </a:p>
      </dgm:t>
    </dgm:pt>
    <dgm:pt modelId="{99A2963F-D2BF-49A8-BC8C-262206984DA1}" type="sibTrans" cxnId="{E97128D7-CEB1-43FF-9AAA-A04F0A8BC7E5}">
      <dgm:prSet/>
      <dgm:spPr/>
      <dgm:t>
        <a:bodyPr/>
        <a:lstStyle/>
        <a:p>
          <a:endParaRPr lang="en-US"/>
        </a:p>
      </dgm:t>
    </dgm:pt>
    <dgm:pt modelId="{53719050-DF64-417B-A17B-D23E0361E143}" type="pres">
      <dgm:prSet presAssocID="{1FB11C7F-C007-41D3-ACFE-33A1019CCBF6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98A6A7E2-42F5-4E28-B0C0-D98EB7650D93}" type="pres">
      <dgm:prSet presAssocID="{1FB11C7F-C007-41D3-ACFE-33A1019CCBF6}" presName="Name1" presStyleCnt="0"/>
      <dgm:spPr/>
    </dgm:pt>
    <dgm:pt modelId="{32D72144-4455-43EA-8A8F-5FD5A3A680D9}" type="pres">
      <dgm:prSet presAssocID="{1FB11C7F-C007-41D3-ACFE-33A1019CCBF6}" presName="cycle" presStyleCnt="0"/>
      <dgm:spPr/>
    </dgm:pt>
    <dgm:pt modelId="{6F07FE22-AECC-4518-9518-EADABCBC7DFF}" type="pres">
      <dgm:prSet presAssocID="{1FB11C7F-C007-41D3-ACFE-33A1019CCBF6}" presName="srcNode" presStyleLbl="node1" presStyleIdx="0" presStyleCnt="4"/>
      <dgm:spPr/>
    </dgm:pt>
    <dgm:pt modelId="{8677E32E-7058-4B69-9F03-9E9791B0467E}" type="pres">
      <dgm:prSet presAssocID="{1FB11C7F-C007-41D3-ACFE-33A1019CCBF6}" presName="conn" presStyleLbl="parChTrans1D2" presStyleIdx="0" presStyleCnt="1"/>
      <dgm:spPr/>
      <dgm:t>
        <a:bodyPr/>
        <a:lstStyle/>
        <a:p>
          <a:endParaRPr lang="en-US"/>
        </a:p>
      </dgm:t>
    </dgm:pt>
    <dgm:pt modelId="{46588249-3A8C-4035-BC0D-7F5CC57BFA7F}" type="pres">
      <dgm:prSet presAssocID="{1FB11C7F-C007-41D3-ACFE-33A1019CCBF6}" presName="extraNode" presStyleLbl="node1" presStyleIdx="0" presStyleCnt="4"/>
      <dgm:spPr/>
    </dgm:pt>
    <dgm:pt modelId="{F2C306A5-DFF6-47CB-841A-FCEE20EE7AED}" type="pres">
      <dgm:prSet presAssocID="{1FB11C7F-C007-41D3-ACFE-33A1019CCBF6}" presName="dstNode" presStyleLbl="node1" presStyleIdx="0" presStyleCnt="4"/>
      <dgm:spPr/>
    </dgm:pt>
    <dgm:pt modelId="{8BEAD4D4-EBEE-4E2D-8EA6-E76AD3FAB503}" type="pres">
      <dgm:prSet presAssocID="{2A9C5512-D0B7-4822-A762-5C762F09423F}" presName="text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3E3519D-54C6-4434-A3E2-31712189F59E}" type="pres">
      <dgm:prSet presAssocID="{2A9C5512-D0B7-4822-A762-5C762F09423F}" presName="accent_1" presStyleCnt="0"/>
      <dgm:spPr/>
    </dgm:pt>
    <dgm:pt modelId="{74D0F742-3B18-42E4-8AC5-4C4290389305}" type="pres">
      <dgm:prSet presAssocID="{2A9C5512-D0B7-4822-A762-5C762F09423F}" presName="accentRepeatNode" presStyleLbl="solidFgAcc1" presStyleIdx="0" presStyleCnt="4" custScaleX="67393" custScaleY="89433"/>
      <dgm:spPr>
        <a:prstGeom prst="chevron">
          <a:avLst/>
        </a:prstGeom>
      </dgm:spPr>
    </dgm:pt>
    <dgm:pt modelId="{DA569504-5C74-4952-B01E-68CDAC4A1B6F}" type="pres">
      <dgm:prSet presAssocID="{0AA6E46B-F4EC-4190-BA31-8BC96A46378A}" presName="text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2D343A9-48BA-40DD-B57A-F7C0DD90520D}" type="pres">
      <dgm:prSet presAssocID="{0AA6E46B-F4EC-4190-BA31-8BC96A46378A}" presName="accent_2" presStyleCnt="0"/>
      <dgm:spPr/>
    </dgm:pt>
    <dgm:pt modelId="{1E7E0F1D-15E2-477A-AD13-DDA187E141E3}" type="pres">
      <dgm:prSet presAssocID="{0AA6E46B-F4EC-4190-BA31-8BC96A46378A}" presName="accentRepeatNode" presStyleLbl="solidFgAcc1" presStyleIdx="1" presStyleCnt="4" custScaleX="75545" custScaleY="95453"/>
      <dgm:spPr>
        <a:prstGeom prst="chevron">
          <a:avLst/>
        </a:prstGeom>
      </dgm:spPr>
    </dgm:pt>
    <dgm:pt modelId="{6122E04F-46B4-4BE5-B13A-2CC8D357A26D}" type="pres">
      <dgm:prSet presAssocID="{733A6B59-BB27-494D-A833-4F0C32B3997A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D4A1F5C-0C11-4D52-9A98-E74455D0BC6B}" type="pres">
      <dgm:prSet presAssocID="{733A6B59-BB27-494D-A833-4F0C32B3997A}" presName="accent_3" presStyleCnt="0"/>
      <dgm:spPr/>
    </dgm:pt>
    <dgm:pt modelId="{35890C27-ED1A-464D-94F8-0387EDEA6765}" type="pres">
      <dgm:prSet presAssocID="{733A6B59-BB27-494D-A833-4F0C32B3997A}" presName="accentRepeatNode" presStyleLbl="solidFgAcc1" presStyleIdx="2" presStyleCnt="4" custScaleX="80625" custScaleY="88847"/>
      <dgm:spPr>
        <a:prstGeom prst="chevron">
          <a:avLst/>
        </a:prstGeom>
      </dgm:spPr>
    </dgm:pt>
    <dgm:pt modelId="{540925B3-7726-40DA-BDA1-DB01C7294D35}" type="pres">
      <dgm:prSet presAssocID="{8C26F8FF-8BC5-4420-AF67-9A177C08E122}" presName="text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16EA539-4795-42BE-978D-D6480962D68B}" type="pres">
      <dgm:prSet presAssocID="{8C26F8FF-8BC5-4420-AF67-9A177C08E122}" presName="accent_4" presStyleCnt="0"/>
      <dgm:spPr/>
    </dgm:pt>
    <dgm:pt modelId="{780E51BE-EA37-496E-95B2-C95397F11305}" type="pres">
      <dgm:prSet presAssocID="{8C26F8FF-8BC5-4420-AF67-9A177C08E122}" presName="accentRepeatNode" presStyleLbl="solidFgAcc1" presStyleIdx="3" presStyleCnt="4" custScaleX="84108" custScaleY="90779"/>
      <dgm:spPr>
        <a:prstGeom prst="chevron">
          <a:avLst/>
        </a:prstGeom>
      </dgm:spPr>
    </dgm:pt>
  </dgm:ptLst>
  <dgm:cxnLst>
    <dgm:cxn modelId="{D425A579-50FE-4A05-B847-BD729DA781B2}" srcId="{0AA6E46B-F4EC-4190-BA31-8BC96A46378A}" destId="{E4E55FDA-EF50-49FC-912B-EF88E22A8419}" srcOrd="0" destOrd="0" parTransId="{664E0281-010D-4369-9F8A-F94D90607FC0}" sibTransId="{D3366933-8CA8-4D7D-A7AB-D23D10C78C0B}"/>
    <dgm:cxn modelId="{569A182B-79BD-43C5-A2B8-5D6278115C3D}" srcId="{1FB11C7F-C007-41D3-ACFE-33A1019CCBF6}" destId="{733A6B59-BB27-494D-A833-4F0C32B3997A}" srcOrd="2" destOrd="0" parTransId="{FA62AD97-A2FE-46D8-BA9E-FF93614F5D29}" sibTransId="{0887FDEE-45E7-4A31-8460-7637A8ADC325}"/>
    <dgm:cxn modelId="{9CECB779-B641-4658-AEAB-E2A2D08FA9A6}" type="presOf" srcId="{1FB11C7F-C007-41D3-ACFE-33A1019CCBF6}" destId="{53719050-DF64-417B-A17B-D23E0361E143}" srcOrd="0" destOrd="0" presId="urn:microsoft.com/office/officeart/2008/layout/VerticalCurvedList"/>
    <dgm:cxn modelId="{E97128D7-CEB1-43FF-9AAA-A04F0A8BC7E5}" srcId="{8C26F8FF-8BC5-4420-AF67-9A177C08E122}" destId="{FBC95BD2-0445-417C-9AF6-B2ADBD137F98}" srcOrd="0" destOrd="0" parTransId="{1E44D87E-E531-4F78-933B-6041A59CCB4A}" sibTransId="{99A2963F-D2BF-49A8-BC8C-262206984DA1}"/>
    <dgm:cxn modelId="{6F019B06-26B1-43B3-AEE1-CA59F910F054}" type="presOf" srcId="{687B8141-7F4B-4F74-B0C5-E80658532818}" destId="{8677E32E-7058-4B69-9F03-9E9791B0467E}" srcOrd="0" destOrd="0" presId="urn:microsoft.com/office/officeart/2008/layout/VerticalCurvedList"/>
    <dgm:cxn modelId="{5362085B-9446-4EFA-83FB-5A61BF75C045}" srcId="{1FB11C7F-C007-41D3-ACFE-33A1019CCBF6}" destId="{2A9C5512-D0B7-4822-A762-5C762F09423F}" srcOrd="0" destOrd="0" parTransId="{2D899691-7975-4372-87E3-86F40363E919}" sibTransId="{25E341AF-7766-4675-97B0-4C82EA5559AB}"/>
    <dgm:cxn modelId="{9B9A42D9-5F9E-4820-BF7B-A026031110E5}" srcId="{2A9C5512-D0B7-4822-A762-5C762F09423F}" destId="{A448BB7D-10E9-4C1C-9395-E232BB20FF75}" srcOrd="0" destOrd="0" parTransId="{FB9FCB81-1E34-419F-85B7-B57114675499}" sibTransId="{687B8141-7F4B-4F74-B0C5-E80658532818}"/>
    <dgm:cxn modelId="{14AD532D-6049-4950-A8C2-06FBA2E3F207}" type="presOf" srcId="{2A9C5512-D0B7-4822-A762-5C762F09423F}" destId="{8BEAD4D4-EBEE-4E2D-8EA6-E76AD3FAB503}" srcOrd="0" destOrd="0" presId="urn:microsoft.com/office/officeart/2008/layout/VerticalCurvedList"/>
    <dgm:cxn modelId="{0DF5BCD5-FD19-4B74-A706-F5DCDE73849D}" type="presOf" srcId="{E4E55FDA-EF50-49FC-912B-EF88E22A8419}" destId="{DA569504-5C74-4952-B01E-68CDAC4A1B6F}" srcOrd="0" destOrd="1" presId="urn:microsoft.com/office/officeart/2008/layout/VerticalCurvedList"/>
    <dgm:cxn modelId="{05F65C7D-E162-4113-B260-062FB8143A75}" srcId="{733A6B59-BB27-494D-A833-4F0C32B3997A}" destId="{03BEFA84-1BEB-4AEA-AD70-C7F9AB832871}" srcOrd="0" destOrd="0" parTransId="{8221A34B-F15B-4B96-B9B2-5608CF896401}" sibTransId="{0B9205F6-090F-4838-9CCE-0FD5D9CB019E}"/>
    <dgm:cxn modelId="{408A07AC-AD9A-4F11-B704-EC82F92266A3}" srcId="{1FB11C7F-C007-41D3-ACFE-33A1019CCBF6}" destId="{0AA6E46B-F4EC-4190-BA31-8BC96A46378A}" srcOrd="1" destOrd="0" parTransId="{D3AA1E25-2568-462B-85FE-FB0FFC3FAD15}" sibTransId="{76F8809E-CA50-4A16-B425-8A0D3AA81589}"/>
    <dgm:cxn modelId="{0DA33B72-E004-48D5-BCF6-AF5328843A25}" type="presOf" srcId="{0AA6E46B-F4EC-4190-BA31-8BC96A46378A}" destId="{DA569504-5C74-4952-B01E-68CDAC4A1B6F}" srcOrd="0" destOrd="0" presId="urn:microsoft.com/office/officeart/2008/layout/VerticalCurvedList"/>
    <dgm:cxn modelId="{DB9F4DDF-DC9D-4508-BA7B-A9F360A7807A}" type="presOf" srcId="{8C26F8FF-8BC5-4420-AF67-9A177C08E122}" destId="{540925B3-7726-40DA-BDA1-DB01C7294D35}" srcOrd="0" destOrd="0" presId="urn:microsoft.com/office/officeart/2008/layout/VerticalCurvedList"/>
    <dgm:cxn modelId="{FB25E89F-84A7-4075-9CC1-03E07BA8C161}" type="presOf" srcId="{03BEFA84-1BEB-4AEA-AD70-C7F9AB832871}" destId="{6122E04F-46B4-4BE5-B13A-2CC8D357A26D}" srcOrd="0" destOrd="1" presId="urn:microsoft.com/office/officeart/2008/layout/VerticalCurvedList"/>
    <dgm:cxn modelId="{79BC7966-F162-4662-9373-C2EAA856DC7E}" srcId="{1FB11C7F-C007-41D3-ACFE-33A1019CCBF6}" destId="{8C26F8FF-8BC5-4420-AF67-9A177C08E122}" srcOrd="3" destOrd="0" parTransId="{D83C1EC7-9C08-4157-A266-A82AC3F5533A}" sibTransId="{D78F01AC-FC5B-4844-90BE-861BA5A114C4}"/>
    <dgm:cxn modelId="{4BD77FC6-679F-4FB4-82A3-EFC6131C5033}" type="presOf" srcId="{733A6B59-BB27-494D-A833-4F0C32B3997A}" destId="{6122E04F-46B4-4BE5-B13A-2CC8D357A26D}" srcOrd="0" destOrd="0" presId="urn:microsoft.com/office/officeart/2008/layout/VerticalCurvedList"/>
    <dgm:cxn modelId="{B88B028F-837B-4C20-B0CB-5ED9675C5C84}" type="presOf" srcId="{FBC95BD2-0445-417C-9AF6-B2ADBD137F98}" destId="{540925B3-7726-40DA-BDA1-DB01C7294D35}" srcOrd="0" destOrd="1" presId="urn:microsoft.com/office/officeart/2008/layout/VerticalCurvedList"/>
    <dgm:cxn modelId="{591DA745-BA7A-49F5-A493-2C201C2F3D80}" type="presOf" srcId="{A448BB7D-10E9-4C1C-9395-E232BB20FF75}" destId="{8BEAD4D4-EBEE-4E2D-8EA6-E76AD3FAB503}" srcOrd="0" destOrd="1" presId="urn:microsoft.com/office/officeart/2008/layout/VerticalCurvedList"/>
    <dgm:cxn modelId="{A52CB2DE-36F7-4F54-A90F-FC1CEEEC982A}" type="presParOf" srcId="{53719050-DF64-417B-A17B-D23E0361E143}" destId="{98A6A7E2-42F5-4E28-B0C0-D98EB7650D93}" srcOrd="0" destOrd="0" presId="urn:microsoft.com/office/officeart/2008/layout/VerticalCurvedList"/>
    <dgm:cxn modelId="{EC37792B-7292-4637-9769-F877AB5E96E1}" type="presParOf" srcId="{98A6A7E2-42F5-4E28-B0C0-D98EB7650D93}" destId="{32D72144-4455-43EA-8A8F-5FD5A3A680D9}" srcOrd="0" destOrd="0" presId="urn:microsoft.com/office/officeart/2008/layout/VerticalCurvedList"/>
    <dgm:cxn modelId="{F81B59DA-4EFA-45FF-B337-D5791F43E24D}" type="presParOf" srcId="{32D72144-4455-43EA-8A8F-5FD5A3A680D9}" destId="{6F07FE22-AECC-4518-9518-EADABCBC7DFF}" srcOrd="0" destOrd="0" presId="urn:microsoft.com/office/officeart/2008/layout/VerticalCurvedList"/>
    <dgm:cxn modelId="{75AB7E39-3FF4-4203-BD7F-17FFE1FD65F8}" type="presParOf" srcId="{32D72144-4455-43EA-8A8F-5FD5A3A680D9}" destId="{8677E32E-7058-4B69-9F03-9E9791B0467E}" srcOrd="1" destOrd="0" presId="urn:microsoft.com/office/officeart/2008/layout/VerticalCurvedList"/>
    <dgm:cxn modelId="{5F3F7F30-3502-4245-BD3B-0195E372BC46}" type="presParOf" srcId="{32D72144-4455-43EA-8A8F-5FD5A3A680D9}" destId="{46588249-3A8C-4035-BC0D-7F5CC57BFA7F}" srcOrd="2" destOrd="0" presId="urn:microsoft.com/office/officeart/2008/layout/VerticalCurvedList"/>
    <dgm:cxn modelId="{4428A346-61AA-44C1-BB7B-916659D6755D}" type="presParOf" srcId="{32D72144-4455-43EA-8A8F-5FD5A3A680D9}" destId="{F2C306A5-DFF6-47CB-841A-FCEE20EE7AED}" srcOrd="3" destOrd="0" presId="urn:microsoft.com/office/officeart/2008/layout/VerticalCurvedList"/>
    <dgm:cxn modelId="{2C79C474-12B0-4A29-8E18-A8D5C3367BFB}" type="presParOf" srcId="{98A6A7E2-42F5-4E28-B0C0-D98EB7650D93}" destId="{8BEAD4D4-EBEE-4E2D-8EA6-E76AD3FAB503}" srcOrd="1" destOrd="0" presId="urn:microsoft.com/office/officeart/2008/layout/VerticalCurvedList"/>
    <dgm:cxn modelId="{591D454F-A466-4C67-87C0-E05868BF510E}" type="presParOf" srcId="{98A6A7E2-42F5-4E28-B0C0-D98EB7650D93}" destId="{93E3519D-54C6-4434-A3E2-31712189F59E}" srcOrd="2" destOrd="0" presId="urn:microsoft.com/office/officeart/2008/layout/VerticalCurvedList"/>
    <dgm:cxn modelId="{C85B7BD5-6957-4E51-B9DA-F7CB9A77F5BE}" type="presParOf" srcId="{93E3519D-54C6-4434-A3E2-31712189F59E}" destId="{74D0F742-3B18-42E4-8AC5-4C4290389305}" srcOrd="0" destOrd="0" presId="urn:microsoft.com/office/officeart/2008/layout/VerticalCurvedList"/>
    <dgm:cxn modelId="{AB16B20A-77AE-4FCC-860D-C5B58DD0B24A}" type="presParOf" srcId="{98A6A7E2-42F5-4E28-B0C0-D98EB7650D93}" destId="{DA569504-5C74-4952-B01E-68CDAC4A1B6F}" srcOrd="3" destOrd="0" presId="urn:microsoft.com/office/officeart/2008/layout/VerticalCurvedList"/>
    <dgm:cxn modelId="{A9AD5ECC-0AAB-439F-84BF-269AEBDB30E8}" type="presParOf" srcId="{98A6A7E2-42F5-4E28-B0C0-D98EB7650D93}" destId="{72D343A9-48BA-40DD-B57A-F7C0DD90520D}" srcOrd="4" destOrd="0" presId="urn:microsoft.com/office/officeart/2008/layout/VerticalCurvedList"/>
    <dgm:cxn modelId="{A2578DA7-834D-428D-A31B-B343553F2293}" type="presParOf" srcId="{72D343A9-48BA-40DD-B57A-F7C0DD90520D}" destId="{1E7E0F1D-15E2-477A-AD13-DDA187E141E3}" srcOrd="0" destOrd="0" presId="urn:microsoft.com/office/officeart/2008/layout/VerticalCurvedList"/>
    <dgm:cxn modelId="{4CFDD5EA-7BC4-4290-A912-B337CFAC5706}" type="presParOf" srcId="{98A6A7E2-42F5-4E28-B0C0-D98EB7650D93}" destId="{6122E04F-46B4-4BE5-B13A-2CC8D357A26D}" srcOrd="5" destOrd="0" presId="urn:microsoft.com/office/officeart/2008/layout/VerticalCurvedList"/>
    <dgm:cxn modelId="{EBC26219-AD75-4E3B-9CB6-0690D19682C0}" type="presParOf" srcId="{98A6A7E2-42F5-4E28-B0C0-D98EB7650D93}" destId="{DD4A1F5C-0C11-4D52-9A98-E74455D0BC6B}" srcOrd="6" destOrd="0" presId="urn:microsoft.com/office/officeart/2008/layout/VerticalCurvedList"/>
    <dgm:cxn modelId="{53870812-348E-479C-A695-DAEBB4E94314}" type="presParOf" srcId="{DD4A1F5C-0C11-4D52-9A98-E74455D0BC6B}" destId="{35890C27-ED1A-464D-94F8-0387EDEA6765}" srcOrd="0" destOrd="0" presId="urn:microsoft.com/office/officeart/2008/layout/VerticalCurvedList"/>
    <dgm:cxn modelId="{FFA86A55-E86B-4CFB-9BC6-7439F40E7603}" type="presParOf" srcId="{98A6A7E2-42F5-4E28-B0C0-D98EB7650D93}" destId="{540925B3-7726-40DA-BDA1-DB01C7294D35}" srcOrd="7" destOrd="0" presId="urn:microsoft.com/office/officeart/2008/layout/VerticalCurvedList"/>
    <dgm:cxn modelId="{54525B7D-9323-4D73-809B-20DC9B2DE306}" type="presParOf" srcId="{98A6A7E2-42F5-4E28-B0C0-D98EB7650D93}" destId="{416EA539-4795-42BE-978D-D6480962D68B}" srcOrd="8" destOrd="0" presId="urn:microsoft.com/office/officeart/2008/layout/VerticalCurvedList"/>
    <dgm:cxn modelId="{0614DB3F-5FC3-460A-BF4F-B0FA093A59B9}" type="presParOf" srcId="{416EA539-4795-42BE-978D-D6480962D68B}" destId="{780E51BE-EA37-496E-95B2-C95397F11305}" srcOrd="0" destOrd="0" presId="urn:microsoft.com/office/officeart/2008/layout/VerticalCurvedList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08CA425-9F89-4822-B3AB-E3DE3C874878}" type="doc">
      <dgm:prSet loTypeId="urn:microsoft.com/office/officeart/2005/8/layout/cycle6" loCatId="cycle" qsTypeId="urn:microsoft.com/office/officeart/2005/8/quickstyle/simple4" qsCatId="simple" csTypeId="urn:microsoft.com/office/officeart/2005/8/colors/accent1_2#1" csCatId="accent1" phldr="1"/>
      <dgm:spPr/>
      <dgm:t>
        <a:bodyPr/>
        <a:lstStyle/>
        <a:p>
          <a:endParaRPr lang="en-US"/>
        </a:p>
      </dgm:t>
    </dgm:pt>
    <dgm:pt modelId="{83CE2BC5-5413-4EDD-8E0C-D9D7C288D6B5}">
      <dgm:prSet phldrT="[Text]" custT="1"/>
      <dgm:spPr>
        <a:solidFill>
          <a:srgbClr val="7030A0"/>
        </a:solidFill>
      </dgm:spPr>
      <dgm:t>
        <a:bodyPr lIns="0" tIns="0" rIns="0" bIns="0"/>
        <a:lstStyle/>
        <a:p>
          <a:r>
            <a:rPr lang="en-US" sz="1150" b="1" dirty="0" smtClean="0"/>
            <a:t>On-demand self-service</a:t>
          </a:r>
          <a:endParaRPr lang="en-US" sz="1150" b="1" dirty="0"/>
        </a:p>
      </dgm:t>
    </dgm:pt>
    <dgm:pt modelId="{1A97F5C7-A873-46FD-9205-D285C94BE77C}" type="parTrans" cxnId="{C6AF8977-3798-4C28-8343-530334B872C8}">
      <dgm:prSet/>
      <dgm:spPr/>
      <dgm:t>
        <a:bodyPr/>
        <a:lstStyle/>
        <a:p>
          <a:endParaRPr lang="en-US" sz="2800"/>
        </a:p>
      </dgm:t>
    </dgm:pt>
    <dgm:pt modelId="{4F95FC14-106F-4980-8F34-3D71B1EE8BC5}" type="sibTrans" cxnId="{C6AF8977-3798-4C28-8343-530334B872C8}">
      <dgm:prSet/>
      <dgm:spPr>
        <a:ln w="127000">
          <a:noFill/>
        </a:ln>
      </dgm:spPr>
      <dgm:t>
        <a:bodyPr/>
        <a:lstStyle/>
        <a:p>
          <a:endParaRPr lang="en-US" sz="2800"/>
        </a:p>
      </dgm:t>
    </dgm:pt>
    <dgm:pt modelId="{7F4FC27A-42C6-481B-BC47-2F47ECD8BF52}">
      <dgm:prSet phldrT="[Text]" custT="1"/>
      <dgm:spPr>
        <a:solidFill>
          <a:schemeClr val="tx2">
            <a:lumMod val="90000"/>
            <a:lumOff val="10000"/>
          </a:schemeClr>
        </a:solidFill>
      </dgm:spPr>
      <dgm:t>
        <a:bodyPr/>
        <a:lstStyle/>
        <a:p>
          <a:r>
            <a:rPr lang="en-US" sz="1150" b="1" dirty="0" smtClean="0"/>
            <a:t>Broad network access</a:t>
          </a:r>
          <a:endParaRPr lang="en-US" sz="1150" b="1" dirty="0"/>
        </a:p>
      </dgm:t>
    </dgm:pt>
    <dgm:pt modelId="{73BBF620-9953-42B6-A8FB-5EFE44D4C794}" type="parTrans" cxnId="{27CC7B93-C582-4AE7-85E2-112CC5E71AF5}">
      <dgm:prSet/>
      <dgm:spPr/>
      <dgm:t>
        <a:bodyPr/>
        <a:lstStyle/>
        <a:p>
          <a:endParaRPr lang="en-US" sz="2800"/>
        </a:p>
      </dgm:t>
    </dgm:pt>
    <dgm:pt modelId="{543D3846-D805-49EB-BA27-19DB10E55CCB}" type="sibTrans" cxnId="{27CC7B93-C582-4AE7-85E2-112CC5E71AF5}">
      <dgm:prSet/>
      <dgm:spPr>
        <a:ln>
          <a:noFill/>
        </a:ln>
      </dgm:spPr>
      <dgm:t>
        <a:bodyPr/>
        <a:lstStyle/>
        <a:p>
          <a:endParaRPr lang="en-US" sz="2800"/>
        </a:p>
      </dgm:t>
    </dgm:pt>
    <dgm:pt modelId="{B4FAF762-88EB-4017-84C4-C3790208C357}">
      <dgm:prSet phldrT="[Text]" custT="1"/>
      <dgm:spPr>
        <a:solidFill>
          <a:schemeClr val="accent6">
            <a:lumMod val="50000"/>
          </a:schemeClr>
        </a:solidFill>
      </dgm:spPr>
      <dgm:t>
        <a:bodyPr/>
        <a:lstStyle/>
        <a:p>
          <a:r>
            <a:rPr lang="en-US" sz="1150" b="1" dirty="0" smtClean="0"/>
            <a:t>Resource pooling</a:t>
          </a:r>
          <a:endParaRPr lang="en-US" sz="1150" b="1" dirty="0"/>
        </a:p>
      </dgm:t>
    </dgm:pt>
    <dgm:pt modelId="{AEBEE732-5DC4-4DE9-AFBE-1D5B1E5453B8}" type="parTrans" cxnId="{3A231036-9DD3-48E2-B50F-2FDE340FA349}">
      <dgm:prSet/>
      <dgm:spPr/>
      <dgm:t>
        <a:bodyPr/>
        <a:lstStyle/>
        <a:p>
          <a:endParaRPr lang="en-US" sz="2800"/>
        </a:p>
      </dgm:t>
    </dgm:pt>
    <dgm:pt modelId="{901EBCC0-61AF-41FF-8EDF-CC04555CF7F9}" type="sibTrans" cxnId="{3A231036-9DD3-48E2-B50F-2FDE340FA349}">
      <dgm:prSet/>
      <dgm:spPr>
        <a:ln>
          <a:noFill/>
        </a:ln>
      </dgm:spPr>
      <dgm:t>
        <a:bodyPr/>
        <a:lstStyle/>
        <a:p>
          <a:endParaRPr lang="en-US" sz="2800"/>
        </a:p>
      </dgm:t>
    </dgm:pt>
    <dgm:pt modelId="{94B06260-8F74-4CB6-A656-3752D4DF586F}">
      <dgm:prSet phldrT="[Text]" custT="1"/>
      <dgm:spPr>
        <a:solidFill>
          <a:schemeClr val="accent3">
            <a:lumMod val="50000"/>
          </a:schemeClr>
        </a:solidFill>
      </dgm:spPr>
      <dgm:t>
        <a:bodyPr/>
        <a:lstStyle/>
        <a:p>
          <a:r>
            <a:rPr lang="en-US" sz="1150" b="1" dirty="0" smtClean="0"/>
            <a:t>Rapid elasticity</a:t>
          </a:r>
          <a:endParaRPr lang="en-US" sz="1150" b="1" dirty="0"/>
        </a:p>
      </dgm:t>
    </dgm:pt>
    <dgm:pt modelId="{CDB1817C-18B9-4575-B7C4-0C9DDBA130BF}" type="parTrans" cxnId="{F23914C7-8003-419D-938B-142ABBC3FE6A}">
      <dgm:prSet/>
      <dgm:spPr/>
      <dgm:t>
        <a:bodyPr/>
        <a:lstStyle/>
        <a:p>
          <a:endParaRPr lang="en-US" sz="2800"/>
        </a:p>
      </dgm:t>
    </dgm:pt>
    <dgm:pt modelId="{1C142207-A872-4226-883A-993B1163AA87}" type="sibTrans" cxnId="{F23914C7-8003-419D-938B-142ABBC3FE6A}">
      <dgm:prSet/>
      <dgm:spPr>
        <a:ln>
          <a:noFill/>
        </a:ln>
      </dgm:spPr>
      <dgm:t>
        <a:bodyPr/>
        <a:lstStyle/>
        <a:p>
          <a:endParaRPr lang="en-US" sz="2800"/>
        </a:p>
      </dgm:t>
    </dgm:pt>
    <dgm:pt modelId="{B482BB1D-3944-4167-BF07-0A2FA4F10D05}">
      <dgm:prSet phldrT="[Text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sz="1150" b="1" dirty="0" smtClean="0"/>
            <a:t>Pay as you go business model</a:t>
          </a:r>
          <a:endParaRPr lang="en-US" sz="1150" b="1" dirty="0"/>
        </a:p>
      </dgm:t>
    </dgm:pt>
    <dgm:pt modelId="{39191F38-DFDA-4EBC-810A-BDF2AD542468}" type="parTrans" cxnId="{803576E5-867A-4A58-9512-7BB56D2AD28B}">
      <dgm:prSet/>
      <dgm:spPr/>
      <dgm:t>
        <a:bodyPr/>
        <a:lstStyle/>
        <a:p>
          <a:endParaRPr lang="en-US" sz="2800"/>
        </a:p>
      </dgm:t>
    </dgm:pt>
    <dgm:pt modelId="{2B134602-CD75-4592-A424-296E83BA0EB8}" type="sibTrans" cxnId="{803576E5-867A-4A58-9512-7BB56D2AD28B}">
      <dgm:prSet/>
      <dgm:spPr>
        <a:ln w="127000">
          <a:noFill/>
        </a:ln>
      </dgm:spPr>
      <dgm:t>
        <a:bodyPr/>
        <a:lstStyle/>
        <a:p>
          <a:endParaRPr lang="en-US" sz="2800"/>
        </a:p>
      </dgm:t>
    </dgm:pt>
    <dgm:pt modelId="{DB8194B0-4D7E-4894-82DA-80B2EE2C0D58}" type="pres">
      <dgm:prSet presAssocID="{108CA425-9F89-4822-B3AB-E3DE3C874878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B31BD06-54C5-4FB5-A9BF-84F7A78AB53B}" type="pres">
      <dgm:prSet presAssocID="{83CE2BC5-5413-4EDD-8E0C-D9D7C288D6B5}" presName="node" presStyleLbl="node1" presStyleIdx="0" presStyleCnt="5" custScaleX="95611" custScaleY="131982">
        <dgm:presLayoutVars>
          <dgm:bulletEnabled val="1"/>
        </dgm:presLayoutVars>
      </dgm:prSet>
      <dgm:spPr>
        <a:prstGeom prst="ellipse">
          <a:avLst/>
        </a:prstGeom>
      </dgm:spPr>
      <dgm:t>
        <a:bodyPr/>
        <a:lstStyle/>
        <a:p>
          <a:endParaRPr lang="en-US"/>
        </a:p>
      </dgm:t>
    </dgm:pt>
    <dgm:pt modelId="{6395B08A-A9D6-411F-8C2B-D3FFCBA87DBE}" type="pres">
      <dgm:prSet presAssocID="{83CE2BC5-5413-4EDD-8E0C-D9D7C288D6B5}" presName="spNode" presStyleCnt="0"/>
      <dgm:spPr/>
    </dgm:pt>
    <dgm:pt modelId="{4B9F9DD9-0E2D-4093-A8B4-22897F21333A}" type="pres">
      <dgm:prSet presAssocID="{4F95FC14-106F-4980-8F34-3D71B1EE8BC5}" presName="sibTrans" presStyleLbl="sibTrans1D1" presStyleIdx="0" presStyleCnt="5"/>
      <dgm:spPr/>
      <dgm:t>
        <a:bodyPr/>
        <a:lstStyle/>
        <a:p>
          <a:endParaRPr lang="en-US"/>
        </a:p>
      </dgm:t>
    </dgm:pt>
    <dgm:pt modelId="{2E2FA7DA-853E-425A-959E-9219EB2A4188}" type="pres">
      <dgm:prSet presAssocID="{7F4FC27A-42C6-481B-BC47-2F47ECD8BF52}" presName="node" presStyleLbl="node1" presStyleIdx="1" presStyleCnt="5" custScaleX="92369" custScaleY="131982">
        <dgm:presLayoutVars>
          <dgm:bulletEnabled val="1"/>
        </dgm:presLayoutVars>
      </dgm:prSet>
      <dgm:spPr>
        <a:prstGeom prst="ellipse">
          <a:avLst/>
        </a:prstGeom>
      </dgm:spPr>
      <dgm:t>
        <a:bodyPr/>
        <a:lstStyle/>
        <a:p>
          <a:endParaRPr lang="en-US"/>
        </a:p>
      </dgm:t>
    </dgm:pt>
    <dgm:pt modelId="{F2C3AB82-D6CD-4CB9-BF6E-6D55F028C81A}" type="pres">
      <dgm:prSet presAssocID="{7F4FC27A-42C6-481B-BC47-2F47ECD8BF52}" presName="spNode" presStyleCnt="0"/>
      <dgm:spPr/>
    </dgm:pt>
    <dgm:pt modelId="{AAC0A473-F85F-491A-9DE8-7C6E83EF8916}" type="pres">
      <dgm:prSet presAssocID="{543D3846-D805-49EB-BA27-19DB10E55CCB}" presName="sibTrans" presStyleLbl="sibTrans1D1" presStyleIdx="1" presStyleCnt="5"/>
      <dgm:spPr/>
      <dgm:t>
        <a:bodyPr/>
        <a:lstStyle/>
        <a:p>
          <a:endParaRPr lang="en-US"/>
        </a:p>
      </dgm:t>
    </dgm:pt>
    <dgm:pt modelId="{2408C2E5-CB45-44BF-93F4-4860212C47A9}" type="pres">
      <dgm:prSet presAssocID="{B4FAF762-88EB-4017-84C4-C3790208C357}" presName="node" presStyleLbl="node1" presStyleIdx="2" presStyleCnt="5" custScaleX="92369" custScaleY="131982">
        <dgm:presLayoutVars>
          <dgm:bulletEnabled val="1"/>
        </dgm:presLayoutVars>
      </dgm:prSet>
      <dgm:spPr>
        <a:prstGeom prst="ellipse">
          <a:avLst/>
        </a:prstGeom>
      </dgm:spPr>
      <dgm:t>
        <a:bodyPr/>
        <a:lstStyle/>
        <a:p>
          <a:endParaRPr lang="en-US"/>
        </a:p>
      </dgm:t>
    </dgm:pt>
    <dgm:pt modelId="{3F68C786-DB9B-4B58-9AC1-EF02C9D5C078}" type="pres">
      <dgm:prSet presAssocID="{B4FAF762-88EB-4017-84C4-C3790208C357}" presName="spNode" presStyleCnt="0"/>
      <dgm:spPr/>
    </dgm:pt>
    <dgm:pt modelId="{5C24DF4F-8A79-4B16-82B1-A130F2985398}" type="pres">
      <dgm:prSet presAssocID="{901EBCC0-61AF-41FF-8EDF-CC04555CF7F9}" presName="sibTrans" presStyleLbl="sibTrans1D1" presStyleIdx="2" presStyleCnt="5"/>
      <dgm:spPr/>
      <dgm:t>
        <a:bodyPr/>
        <a:lstStyle/>
        <a:p>
          <a:endParaRPr lang="en-US"/>
        </a:p>
      </dgm:t>
    </dgm:pt>
    <dgm:pt modelId="{9496EA98-24FA-40AF-A725-A8ABF7F3A9D9}" type="pres">
      <dgm:prSet presAssocID="{94B06260-8F74-4CB6-A656-3752D4DF586F}" presName="node" presStyleLbl="node1" presStyleIdx="3" presStyleCnt="5" custScaleX="92369" custScaleY="131982">
        <dgm:presLayoutVars>
          <dgm:bulletEnabled val="1"/>
        </dgm:presLayoutVars>
      </dgm:prSet>
      <dgm:spPr>
        <a:prstGeom prst="ellipse">
          <a:avLst/>
        </a:prstGeom>
      </dgm:spPr>
      <dgm:t>
        <a:bodyPr/>
        <a:lstStyle/>
        <a:p>
          <a:endParaRPr lang="en-US"/>
        </a:p>
      </dgm:t>
    </dgm:pt>
    <dgm:pt modelId="{D10F0D5D-72F4-4C25-B1D5-3BC6C7B22B6F}" type="pres">
      <dgm:prSet presAssocID="{94B06260-8F74-4CB6-A656-3752D4DF586F}" presName="spNode" presStyleCnt="0"/>
      <dgm:spPr/>
    </dgm:pt>
    <dgm:pt modelId="{7EC1F12D-11B6-4C6F-8290-54777D96A625}" type="pres">
      <dgm:prSet presAssocID="{1C142207-A872-4226-883A-993B1163AA87}" presName="sibTrans" presStyleLbl="sibTrans1D1" presStyleIdx="3" presStyleCnt="5"/>
      <dgm:spPr/>
      <dgm:t>
        <a:bodyPr/>
        <a:lstStyle/>
        <a:p>
          <a:endParaRPr lang="en-US"/>
        </a:p>
      </dgm:t>
    </dgm:pt>
    <dgm:pt modelId="{5E271873-D1BB-4488-AE9C-B969B8E4645A}" type="pres">
      <dgm:prSet presAssocID="{B482BB1D-3944-4167-BF07-0A2FA4F10D05}" presName="node" presStyleLbl="node1" presStyleIdx="4" presStyleCnt="5" custScaleX="92369" custScaleY="131982">
        <dgm:presLayoutVars>
          <dgm:bulletEnabled val="1"/>
        </dgm:presLayoutVars>
      </dgm:prSet>
      <dgm:spPr>
        <a:prstGeom prst="ellipse">
          <a:avLst/>
        </a:prstGeom>
      </dgm:spPr>
      <dgm:t>
        <a:bodyPr/>
        <a:lstStyle/>
        <a:p>
          <a:endParaRPr lang="en-US"/>
        </a:p>
      </dgm:t>
    </dgm:pt>
    <dgm:pt modelId="{1115AD05-D22A-4534-9BA7-C656596B7427}" type="pres">
      <dgm:prSet presAssocID="{B482BB1D-3944-4167-BF07-0A2FA4F10D05}" presName="spNode" presStyleCnt="0"/>
      <dgm:spPr/>
    </dgm:pt>
    <dgm:pt modelId="{C9843DDA-A98E-4EF6-BCE6-AACD72D673BC}" type="pres">
      <dgm:prSet presAssocID="{2B134602-CD75-4592-A424-296E83BA0EB8}" presName="sibTrans" presStyleLbl="sibTrans1D1" presStyleIdx="4" presStyleCnt="5"/>
      <dgm:spPr/>
      <dgm:t>
        <a:bodyPr/>
        <a:lstStyle/>
        <a:p>
          <a:endParaRPr lang="en-US"/>
        </a:p>
      </dgm:t>
    </dgm:pt>
  </dgm:ptLst>
  <dgm:cxnLst>
    <dgm:cxn modelId="{537F66E8-716B-4155-A506-1259701D876E}" type="presOf" srcId="{108CA425-9F89-4822-B3AB-E3DE3C874878}" destId="{DB8194B0-4D7E-4894-82DA-80B2EE2C0D58}" srcOrd="0" destOrd="0" presId="urn:microsoft.com/office/officeart/2005/8/layout/cycle6"/>
    <dgm:cxn modelId="{97F10C6A-1FAB-4D07-A264-BF4B4013EF97}" type="presOf" srcId="{B482BB1D-3944-4167-BF07-0A2FA4F10D05}" destId="{5E271873-D1BB-4488-AE9C-B969B8E4645A}" srcOrd="0" destOrd="0" presId="urn:microsoft.com/office/officeart/2005/8/layout/cycle6"/>
    <dgm:cxn modelId="{BB696022-3351-4DCD-B83F-BE0CCD84B0D9}" type="presOf" srcId="{901EBCC0-61AF-41FF-8EDF-CC04555CF7F9}" destId="{5C24DF4F-8A79-4B16-82B1-A130F2985398}" srcOrd="0" destOrd="0" presId="urn:microsoft.com/office/officeart/2005/8/layout/cycle6"/>
    <dgm:cxn modelId="{9F231B7E-DF6A-4256-B092-CA39503BF1CC}" type="presOf" srcId="{83CE2BC5-5413-4EDD-8E0C-D9D7C288D6B5}" destId="{7B31BD06-54C5-4FB5-A9BF-84F7A78AB53B}" srcOrd="0" destOrd="0" presId="urn:microsoft.com/office/officeart/2005/8/layout/cycle6"/>
    <dgm:cxn modelId="{2C851533-80C3-495E-B499-72AF3C2F05AB}" type="presOf" srcId="{543D3846-D805-49EB-BA27-19DB10E55CCB}" destId="{AAC0A473-F85F-491A-9DE8-7C6E83EF8916}" srcOrd="0" destOrd="0" presId="urn:microsoft.com/office/officeart/2005/8/layout/cycle6"/>
    <dgm:cxn modelId="{27CC7B93-C582-4AE7-85E2-112CC5E71AF5}" srcId="{108CA425-9F89-4822-B3AB-E3DE3C874878}" destId="{7F4FC27A-42C6-481B-BC47-2F47ECD8BF52}" srcOrd="1" destOrd="0" parTransId="{73BBF620-9953-42B6-A8FB-5EFE44D4C794}" sibTransId="{543D3846-D805-49EB-BA27-19DB10E55CCB}"/>
    <dgm:cxn modelId="{3BE0961D-9B70-44A5-83D0-92A3B759AE4D}" type="presOf" srcId="{2B134602-CD75-4592-A424-296E83BA0EB8}" destId="{C9843DDA-A98E-4EF6-BCE6-AACD72D673BC}" srcOrd="0" destOrd="0" presId="urn:microsoft.com/office/officeart/2005/8/layout/cycle6"/>
    <dgm:cxn modelId="{355FE2BA-3D2A-461F-9D6E-9D68DC7AB5EA}" type="presOf" srcId="{4F95FC14-106F-4980-8F34-3D71B1EE8BC5}" destId="{4B9F9DD9-0E2D-4093-A8B4-22897F21333A}" srcOrd="0" destOrd="0" presId="urn:microsoft.com/office/officeart/2005/8/layout/cycle6"/>
    <dgm:cxn modelId="{E6162F4B-AE75-4775-84F0-3557E2C37E45}" type="presOf" srcId="{94B06260-8F74-4CB6-A656-3752D4DF586F}" destId="{9496EA98-24FA-40AF-A725-A8ABF7F3A9D9}" srcOrd="0" destOrd="0" presId="urn:microsoft.com/office/officeart/2005/8/layout/cycle6"/>
    <dgm:cxn modelId="{C6AF8977-3798-4C28-8343-530334B872C8}" srcId="{108CA425-9F89-4822-B3AB-E3DE3C874878}" destId="{83CE2BC5-5413-4EDD-8E0C-D9D7C288D6B5}" srcOrd="0" destOrd="0" parTransId="{1A97F5C7-A873-46FD-9205-D285C94BE77C}" sibTransId="{4F95FC14-106F-4980-8F34-3D71B1EE8BC5}"/>
    <dgm:cxn modelId="{D9F5270C-49FE-4952-BF42-8CDFA3C953EC}" type="presOf" srcId="{7F4FC27A-42C6-481B-BC47-2F47ECD8BF52}" destId="{2E2FA7DA-853E-425A-959E-9219EB2A4188}" srcOrd="0" destOrd="0" presId="urn:microsoft.com/office/officeart/2005/8/layout/cycle6"/>
    <dgm:cxn modelId="{C2E720AC-EBD2-4080-AEAD-725C1C5F7643}" type="presOf" srcId="{B4FAF762-88EB-4017-84C4-C3790208C357}" destId="{2408C2E5-CB45-44BF-93F4-4860212C47A9}" srcOrd="0" destOrd="0" presId="urn:microsoft.com/office/officeart/2005/8/layout/cycle6"/>
    <dgm:cxn modelId="{93A5493A-8BB5-40C3-9B8E-4918E964B768}" type="presOf" srcId="{1C142207-A872-4226-883A-993B1163AA87}" destId="{7EC1F12D-11B6-4C6F-8290-54777D96A625}" srcOrd="0" destOrd="0" presId="urn:microsoft.com/office/officeart/2005/8/layout/cycle6"/>
    <dgm:cxn modelId="{803576E5-867A-4A58-9512-7BB56D2AD28B}" srcId="{108CA425-9F89-4822-B3AB-E3DE3C874878}" destId="{B482BB1D-3944-4167-BF07-0A2FA4F10D05}" srcOrd="4" destOrd="0" parTransId="{39191F38-DFDA-4EBC-810A-BDF2AD542468}" sibTransId="{2B134602-CD75-4592-A424-296E83BA0EB8}"/>
    <dgm:cxn modelId="{3A231036-9DD3-48E2-B50F-2FDE340FA349}" srcId="{108CA425-9F89-4822-B3AB-E3DE3C874878}" destId="{B4FAF762-88EB-4017-84C4-C3790208C357}" srcOrd="2" destOrd="0" parTransId="{AEBEE732-5DC4-4DE9-AFBE-1D5B1E5453B8}" sibTransId="{901EBCC0-61AF-41FF-8EDF-CC04555CF7F9}"/>
    <dgm:cxn modelId="{F23914C7-8003-419D-938B-142ABBC3FE6A}" srcId="{108CA425-9F89-4822-B3AB-E3DE3C874878}" destId="{94B06260-8F74-4CB6-A656-3752D4DF586F}" srcOrd="3" destOrd="0" parTransId="{CDB1817C-18B9-4575-B7C4-0C9DDBA130BF}" sibTransId="{1C142207-A872-4226-883A-993B1163AA87}"/>
    <dgm:cxn modelId="{6364959D-EAE8-48E1-A4BF-0D681EACEA6A}" type="presParOf" srcId="{DB8194B0-4D7E-4894-82DA-80B2EE2C0D58}" destId="{7B31BD06-54C5-4FB5-A9BF-84F7A78AB53B}" srcOrd="0" destOrd="0" presId="urn:microsoft.com/office/officeart/2005/8/layout/cycle6"/>
    <dgm:cxn modelId="{1D661625-3726-4DFB-8474-C1FB4CF65713}" type="presParOf" srcId="{DB8194B0-4D7E-4894-82DA-80B2EE2C0D58}" destId="{6395B08A-A9D6-411F-8C2B-D3FFCBA87DBE}" srcOrd="1" destOrd="0" presId="urn:microsoft.com/office/officeart/2005/8/layout/cycle6"/>
    <dgm:cxn modelId="{FD5D3589-6893-457A-9794-1B0EE4B1F090}" type="presParOf" srcId="{DB8194B0-4D7E-4894-82DA-80B2EE2C0D58}" destId="{4B9F9DD9-0E2D-4093-A8B4-22897F21333A}" srcOrd="2" destOrd="0" presId="urn:microsoft.com/office/officeart/2005/8/layout/cycle6"/>
    <dgm:cxn modelId="{55E5460B-3000-48D5-84EB-7415F9CA0859}" type="presParOf" srcId="{DB8194B0-4D7E-4894-82DA-80B2EE2C0D58}" destId="{2E2FA7DA-853E-425A-959E-9219EB2A4188}" srcOrd="3" destOrd="0" presId="urn:microsoft.com/office/officeart/2005/8/layout/cycle6"/>
    <dgm:cxn modelId="{8F37F90C-804C-49C1-B4EE-8BD8E80C3AE7}" type="presParOf" srcId="{DB8194B0-4D7E-4894-82DA-80B2EE2C0D58}" destId="{F2C3AB82-D6CD-4CB9-BF6E-6D55F028C81A}" srcOrd="4" destOrd="0" presId="urn:microsoft.com/office/officeart/2005/8/layout/cycle6"/>
    <dgm:cxn modelId="{AFF4E813-F5EF-4E73-BF79-0B23738CDD97}" type="presParOf" srcId="{DB8194B0-4D7E-4894-82DA-80B2EE2C0D58}" destId="{AAC0A473-F85F-491A-9DE8-7C6E83EF8916}" srcOrd="5" destOrd="0" presId="urn:microsoft.com/office/officeart/2005/8/layout/cycle6"/>
    <dgm:cxn modelId="{00F661E3-37DE-428B-850D-7F45A70B5A18}" type="presParOf" srcId="{DB8194B0-4D7E-4894-82DA-80B2EE2C0D58}" destId="{2408C2E5-CB45-44BF-93F4-4860212C47A9}" srcOrd="6" destOrd="0" presId="urn:microsoft.com/office/officeart/2005/8/layout/cycle6"/>
    <dgm:cxn modelId="{EC6FB2B5-EFF1-4FB2-A004-D8C050E82984}" type="presParOf" srcId="{DB8194B0-4D7E-4894-82DA-80B2EE2C0D58}" destId="{3F68C786-DB9B-4B58-9AC1-EF02C9D5C078}" srcOrd="7" destOrd="0" presId="urn:microsoft.com/office/officeart/2005/8/layout/cycle6"/>
    <dgm:cxn modelId="{4D5C23B8-8DFD-46A0-B3A2-ECB9856C9E59}" type="presParOf" srcId="{DB8194B0-4D7E-4894-82DA-80B2EE2C0D58}" destId="{5C24DF4F-8A79-4B16-82B1-A130F2985398}" srcOrd="8" destOrd="0" presId="urn:microsoft.com/office/officeart/2005/8/layout/cycle6"/>
    <dgm:cxn modelId="{193C5954-4C51-4F8D-8C40-D954231EA137}" type="presParOf" srcId="{DB8194B0-4D7E-4894-82DA-80B2EE2C0D58}" destId="{9496EA98-24FA-40AF-A725-A8ABF7F3A9D9}" srcOrd="9" destOrd="0" presId="urn:microsoft.com/office/officeart/2005/8/layout/cycle6"/>
    <dgm:cxn modelId="{CD5DDCD0-D76B-4A54-91B3-6E82B452A6CB}" type="presParOf" srcId="{DB8194B0-4D7E-4894-82DA-80B2EE2C0D58}" destId="{D10F0D5D-72F4-4C25-B1D5-3BC6C7B22B6F}" srcOrd="10" destOrd="0" presId="urn:microsoft.com/office/officeart/2005/8/layout/cycle6"/>
    <dgm:cxn modelId="{C9B48A83-2E36-41C6-A5C6-1242E3D406AE}" type="presParOf" srcId="{DB8194B0-4D7E-4894-82DA-80B2EE2C0D58}" destId="{7EC1F12D-11B6-4C6F-8290-54777D96A625}" srcOrd="11" destOrd="0" presId="urn:microsoft.com/office/officeart/2005/8/layout/cycle6"/>
    <dgm:cxn modelId="{616F5285-CF37-4527-919C-14C19E0B31D8}" type="presParOf" srcId="{DB8194B0-4D7E-4894-82DA-80B2EE2C0D58}" destId="{5E271873-D1BB-4488-AE9C-B969B8E4645A}" srcOrd="12" destOrd="0" presId="urn:microsoft.com/office/officeart/2005/8/layout/cycle6"/>
    <dgm:cxn modelId="{A9082425-7C20-4C42-9275-BD6AB89E8863}" type="presParOf" srcId="{DB8194B0-4D7E-4894-82DA-80B2EE2C0D58}" destId="{1115AD05-D22A-4534-9BA7-C656596B7427}" srcOrd="13" destOrd="0" presId="urn:microsoft.com/office/officeart/2005/8/layout/cycle6"/>
    <dgm:cxn modelId="{CA735AC9-CC83-44FB-AA68-FE304540D759}" type="presParOf" srcId="{DB8194B0-4D7E-4894-82DA-80B2EE2C0D58}" destId="{C9843DDA-A98E-4EF6-BCE6-AACD72D673BC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B31BD06-54C5-4FB5-A9BF-84F7A78AB53B}">
      <dsp:nvSpPr>
        <dsp:cNvPr id="0" name=""/>
        <dsp:cNvSpPr/>
      </dsp:nvSpPr>
      <dsp:spPr>
        <a:xfrm>
          <a:off x="2879552" y="-97476"/>
          <a:ext cx="1151812" cy="1033479"/>
        </a:xfrm>
        <a:prstGeom prst="ellipse">
          <a:avLst/>
        </a:prstGeom>
        <a:solidFill>
          <a:srgbClr val="7030A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50" b="1" kern="1200" dirty="0" smtClean="0"/>
            <a:t>On-demand self-service</a:t>
          </a:r>
          <a:endParaRPr lang="en-US" sz="1150" b="1" kern="1200" dirty="0"/>
        </a:p>
      </dsp:txBody>
      <dsp:txXfrm>
        <a:off x="3048231" y="53873"/>
        <a:ext cx="814454" cy="730781"/>
      </dsp:txXfrm>
    </dsp:sp>
    <dsp:sp modelId="{4B9F9DD9-0E2D-4093-A8B4-22897F21333A}">
      <dsp:nvSpPr>
        <dsp:cNvPr id="0" name=""/>
        <dsp:cNvSpPr/>
      </dsp:nvSpPr>
      <dsp:spPr>
        <a:xfrm>
          <a:off x="1889215" y="419263"/>
          <a:ext cx="3132485" cy="3132485"/>
        </a:xfrm>
        <a:custGeom>
          <a:avLst/>
          <a:gdLst/>
          <a:ahLst/>
          <a:cxnLst/>
          <a:rect l="0" t="0" r="0" b="0"/>
          <a:pathLst>
            <a:path>
              <a:moveTo>
                <a:pt x="2149365" y="112597"/>
              </a:moveTo>
              <a:arcTo wR="1566242" hR="1566242" stAng="17511476" swAng="1688705"/>
            </a:path>
          </a:pathLst>
        </a:custGeom>
        <a:noFill/>
        <a:ln w="127000" cap="flat" cmpd="sng" algn="ctr">
          <a:noFill/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E2FA7DA-853E-425A-959E-9219EB2A4188}">
      <dsp:nvSpPr>
        <dsp:cNvPr id="0" name=""/>
        <dsp:cNvSpPr/>
      </dsp:nvSpPr>
      <dsp:spPr>
        <a:xfrm>
          <a:off x="4388665" y="984770"/>
          <a:ext cx="1112756" cy="1033479"/>
        </a:xfrm>
        <a:prstGeom prst="ellipse">
          <a:avLst/>
        </a:prstGeom>
        <a:solidFill>
          <a:schemeClr val="tx2">
            <a:lumMod val="90000"/>
            <a:lumOff val="1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50" b="1" kern="1200" dirty="0" smtClean="0"/>
            <a:t>Broad network access</a:t>
          </a:r>
          <a:endParaRPr lang="en-US" sz="1150" b="1" kern="1200" dirty="0"/>
        </a:p>
      </dsp:txBody>
      <dsp:txXfrm>
        <a:off x="4551624" y="1136119"/>
        <a:ext cx="786838" cy="730781"/>
      </dsp:txXfrm>
    </dsp:sp>
    <dsp:sp modelId="{AAC0A473-F85F-491A-9DE8-7C6E83EF8916}">
      <dsp:nvSpPr>
        <dsp:cNvPr id="0" name=""/>
        <dsp:cNvSpPr/>
      </dsp:nvSpPr>
      <dsp:spPr>
        <a:xfrm>
          <a:off x="1889215" y="419263"/>
          <a:ext cx="3132485" cy="3132485"/>
        </a:xfrm>
        <a:custGeom>
          <a:avLst/>
          <a:gdLst/>
          <a:ahLst/>
          <a:cxnLst/>
          <a:rect l="0" t="0" r="0" b="0"/>
          <a:pathLst>
            <a:path>
              <a:moveTo>
                <a:pt x="3131970" y="1606411"/>
              </a:moveTo>
              <a:arcTo wR="1566242" hR="1566242" stAng="88176" swAng="1613098"/>
            </a:path>
          </a:pathLst>
        </a:custGeom>
        <a:noFill/>
        <a:ln w="9525" cap="flat" cmpd="sng" algn="ctr">
          <a:noFill/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408C2E5-CB45-44BF-93F4-4860212C47A9}">
      <dsp:nvSpPr>
        <dsp:cNvPr id="0" name=""/>
        <dsp:cNvSpPr/>
      </dsp:nvSpPr>
      <dsp:spPr>
        <a:xfrm>
          <a:off x="3819694" y="2735883"/>
          <a:ext cx="1112756" cy="1033479"/>
        </a:xfrm>
        <a:prstGeom prst="ellipse">
          <a:avLst/>
        </a:prstGeom>
        <a:solidFill>
          <a:schemeClr val="accent6">
            <a:lumMod val="5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50" b="1" kern="1200" dirty="0" smtClean="0"/>
            <a:t>Resource pooling</a:t>
          </a:r>
          <a:endParaRPr lang="en-US" sz="1150" b="1" kern="1200" dirty="0"/>
        </a:p>
      </dsp:txBody>
      <dsp:txXfrm>
        <a:off x="3982653" y="2887232"/>
        <a:ext cx="786838" cy="730781"/>
      </dsp:txXfrm>
    </dsp:sp>
    <dsp:sp modelId="{5C24DF4F-8A79-4B16-82B1-A130F2985398}">
      <dsp:nvSpPr>
        <dsp:cNvPr id="0" name=""/>
        <dsp:cNvSpPr/>
      </dsp:nvSpPr>
      <dsp:spPr>
        <a:xfrm>
          <a:off x="1889215" y="419263"/>
          <a:ext cx="3132485" cy="3132485"/>
        </a:xfrm>
        <a:custGeom>
          <a:avLst/>
          <a:gdLst/>
          <a:ahLst/>
          <a:cxnLst/>
          <a:rect l="0" t="0" r="0" b="0"/>
          <a:pathLst>
            <a:path>
              <a:moveTo>
                <a:pt x="1923389" y="3091222"/>
              </a:moveTo>
              <a:arcTo wR="1566242" hR="1566242" stAng="4609140" swAng="1581720"/>
            </a:path>
          </a:pathLst>
        </a:custGeom>
        <a:noFill/>
        <a:ln w="9525" cap="flat" cmpd="sng" algn="ctr">
          <a:noFill/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496EA98-24FA-40AF-A725-A8ABF7F3A9D9}">
      <dsp:nvSpPr>
        <dsp:cNvPr id="0" name=""/>
        <dsp:cNvSpPr/>
      </dsp:nvSpPr>
      <dsp:spPr>
        <a:xfrm>
          <a:off x="1978465" y="2735883"/>
          <a:ext cx="1112756" cy="1033479"/>
        </a:xfrm>
        <a:prstGeom prst="ellipse">
          <a:avLst/>
        </a:prstGeom>
        <a:solidFill>
          <a:schemeClr val="accent3">
            <a:lumMod val="5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50" b="1" kern="1200" dirty="0" smtClean="0"/>
            <a:t>Rapid elasticity</a:t>
          </a:r>
          <a:endParaRPr lang="en-US" sz="1150" b="1" kern="1200" dirty="0"/>
        </a:p>
      </dsp:txBody>
      <dsp:txXfrm>
        <a:off x="2141424" y="2887232"/>
        <a:ext cx="786838" cy="730781"/>
      </dsp:txXfrm>
    </dsp:sp>
    <dsp:sp modelId="{7EC1F12D-11B6-4C6F-8290-54777D96A625}">
      <dsp:nvSpPr>
        <dsp:cNvPr id="0" name=""/>
        <dsp:cNvSpPr/>
      </dsp:nvSpPr>
      <dsp:spPr>
        <a:xfrm>
          <a:off x="1889215" y="419263"/>
          <a:ext cx="3132485" cy="3132485"/>
        </a:xfrm>
        <a:custGeom>
          <a:avLst/>
          <a:gdLst/>
          <a:ahLst/>
          <a:cxnLst/>
          <a:rect l="0" t="0" r="0" b="0"/>
          <a:pathLst>
            <a:path>
              <a:moveTo>
                <a:pt x="187909" y="2310092"/>
              </a:moveTo>
              <a:arcTo wR="1566242" hR="1566242" stAng="9098727" swAng="1613098"/>
            </a:path>
          </a:pathLst>
        </a:custGeom>
        <a:noFill/>
        <a:ln w="9525" cap="flat" cmpd="sng" algn="ctr">
          <a:noFill/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E271873-D1BB-4488-AE9C-B969B8E4645A}">
      <dsp:nvSpPr>
        <dsp:cNvPr id="0" name=""/>
        <dsp:cNvSpPr/>
      </dsp:nvSpPr>
      <dsp:spPr>
        <a:xfrm>
          <a:off x="1409494" y="984770"/>
          <a:ext cx="1112756" cy="1033479"/>
        </a:xfrm>
        <a:prstGeom prst="ellipse">
          <a:avLst/>
        </a:prstGeom>
        <a:solidFill>
          <a:schemeClr val="accent1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50" b="1" kern="1200" dirty="0" smtClean="0"/>
            <a:t>Pay as you go business model</a:t>
          </a:r>
          <a:endParaRPr lang="en-US" sz="1150" b="1" kern="1200" dirty="0"/>
        </a:p>
      </dsp:txBody>
      <dsp:txXfrm>
        <a:off x="1572453" y="1136119"/>
        <a:ext cx="786838" cy="730781"/>
      </dsp:txXfrm>
    </dsp:sp>
    <dsp:sp modelId="{C9843DDA-A98E-4EF6-BCE6-AACD72D673BC}">
      <dsp:nvSpPr>
        <dsp:cNvPr id="0" name=""/>
        <dsp:cNvSpPr/>
      </dsp:nvSpPr>
      <dsp:spPr>
        <a:xfrm>
          <a:off x="1889215" y="419263"/>
          <a:ext cx="3132485" cy="3132485"/>
        </a:xfrm>
        <a:custGeom>
          <a:avLst/>
          <a:gdLst/>
          <a:ahLst/>
          <a:cxnLst/>
          <a:rect l="0" t="0" r="0" b="0"/>
          <a:pathLst>
            <a:path>
              <a:moveTo>
                <a:pt x="366378" y="559544"/>
              </a:moveTo>
              <a:arcTo wR="1566242" hR="1566242" stAng="13199819" swAng="1688705"/>
            </a:path>
          </a:pathLst>
        </a:custGeom>
        <a:noFill/>
        <a:ln w="127000" cap="flat" cmpd="sng" algn="ctr">
          <a:noFill/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82913" cy="50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88" tIns="48294" rIns="96588" bIns="48294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200" smtClean="0"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Clouding The Networked Society </a:t>
            </a:r>
            <a:endParaRPr lang="en-US" dirty="0"/>
          </a:p>
        </p:txBody>
      </p:sp>
      <p:sp>
        <p:nvSpPr>
          <p:cNvPr id="798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00488" y="0"/>
            <a:ext cx="2982912" cy="50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88" tIns="48294" rIns="96588" bIns="48294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 smtClean="0"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2014-08-11 </a:t>
            </a:r>
            <a:endParaRPr lang="en-US" dirty="0"/>
          </a:p>
        </p:txBody>
      </p:sp>
      <p:sp>
        <p:nvSpPr>
          <p:cNvPr id="798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515475"/>
            <a:ext cx="2982913" cy="50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88" tIns="48294" rIns="96588" bIns="48294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200" smtClean="0"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© Ericsson AB 2014 </a:t>
            </a:r>
            <a:endParaRPr lang="en-US" dirty="0"/>
          </a:p>
        </p:txBody>
      </p:sp>
      <p:sp>
        <p:nvSpPr>
          <p:cNvPr id="798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00488" y="9515475"/>
            <a:ext cx="2982912" cy="50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88" tIns="48294" rIns="96588" bIns="48294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>
                <a:cs typeface="+mn-cs"/>
              </a:defRPr>
            </a:lvl1pPr>
          </a:lstStyle>
          <a:p>
            <a:pPr>
              <a:defRPr/>
            </a:pPr>
            <a:fld id="{7AC848A1-B51F-4E4C-989B-C4C70F1960F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0013592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idx="1"/>
          </p:nvPr>
        </p:nvSpPr>
        <p:spPr>
          <a:xfrm>
            <a:off x="3900488" y="0"/>
            <a:ext cx="2982912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spcBef>
                <a:spcPct val="50000"/>
              </a:spcBef>
              <a:defRPr sz="1200" smtClean="0"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2014-08-11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5"/>
          </p:nvPr>
        </p:nvSpPr>
        <p:spPr>
          <a:xfrm>
            <a:off x="3900488" y="9515475"/>
            <a:ext cx="2982912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spcBef>
                <a:spcPct val="50000"/>
              </a:spcBef>
              <a:defRPr sz="1200" smtClean="0">
                <a:cs typeface="+mn-cs"/>
              </a:defRPr>
            </a:lvl1pPr>
          </a:lstStyle>
          <a:p>
            <a:pPr>
              <a:defRPr/>
            </a:pPr>
            <a:fld id="{872C3345-86B1-40F7-A4A4-9FF30E64392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913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spcBef>
                <a:spcPct val="50000"/>
              </a:spcBef>
              <a:defRPr sz="1200" smtClean="0"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Clouding The Networked Society </a:t>
            </a:r>
            <a:endParaRPr lang="en-US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 idx="2"/>
          </p:nvPr>
        </p:nvSpPr>
        <p:spPr>
          <a:xfrm>
            <a:off x="103188" y="750888"/>
            <a:ext cx="6678612" cy="37576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15475"/>
            <a:ext cx="2982913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spcBef>
                <a:spcPct val="50000"/>
              </a:spcBef>
              <a:defRPr sz="1200" smtClean="0"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© Ericsson AB 2014 </a:t>
            </a:r>
            <a:endParaRPr lang="en-US" dirty="0"/>
          </a:p>
        </p:txBody>
      </p:sp>
      <p:sp>
        <p:nvSpPr>
          <p:cNvPr id="7" name="Notes Placeholder 6"/>
          <p:cNvSpPr>
            <a:spLocks noGrp="1"/>
          </p:cNvSpPr>
          <p:nvPr>
            <p:ph type="body" sz="quarter" idx="3"/>
          </p:nvPr>
        </p:nvSpPr>
        <p:spPr>
          <a:xfrm>
            <a:off x="688975" y="4759325"/>
            <a:ext cx="5507038" cy="45085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55880964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03188" y="750888"/>
            <a:ext cx="6678612" cy="37576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dirty="0" smtClean="0"/>
          </a:p>
        </p:txBody>
      </p:sp>
      <p:sp>
        <p:nvSpPr>
          <p:cNvPr id="8196" name="Date Placeholder 4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200" smtClean="0"/>
              <a:t>2014-08-11 </a:t>
            </a:r>
            <a:endParaRPr lang="en-US" sz="1200"/>
          </a:p>
        </p:txBody>
      </p:sp>
      <p:sp>
        <p:nvSpPr>
          <p:cNvPr id="8197" name="Footer Placeholder 5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200" smtClean="0"/>
              <a:t>© Ericsson AB 2014 </a:t>
            </a:r>
            <a:endParaRPr lang="en-US" sz="1200"/>
          </a:p>
        </p:txBody>
      </p:sp>
      <p:sp>
        <p:nvSpPr>
          <p:cNvPr id="8198" name="Slide Number Placeholder 7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C66C068-0979-42AE-92E9-AB1582979771}" type="slidenum">
              <a:rPr lang="en-US" sz="1200" smtClean="0"/>
              <a:t>1</a:t>
            </a:fld>
            <a:endParaRPr lang="en-US" sz="1200"/>
          </a:p>
        </p:txBody>
      </p:sp>
      <p:sp>
        <p:nvSpPr>
          <p:cNvPr id="8199" name="Header Placeholder 8"/>
          <p:cNvSpPr>
            <a:spLocks noGrp="1"/>
          </p:cNvSpPr>
          <p:nvPr>
            <p:ph type="hdr" sz="quarter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200" smtClean="0"/>
              <a:t>Clouding The Networked Society </a:t>
            </a:r>
            <a:endParaRPr lang="en-US" sz="120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lide Number Placeholder 1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888797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50825" indent="-288779" defTabSz="888797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55116" indent="-231023" defTabSz="888797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17162" indent="-231023" defTabSz="888797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79208" indent="-231023" defTabSz="888797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41255" indent="-231023" defTabSz="88879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003301" indent="-231023" defTabSz="88879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65347" indent="-231023" defTabSz="88879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927394" indent="-231023" defTabSz="88879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fld id="{A84A1420-5E34-43DA-AAB6-457E6E69879E}" type="slidenum">
              <a:rPr lang="en-US" sz="1100" smtClean="0">
                <a:solidFill>
                  <a:srgbClr val="000000"/>
                </a:solidFill>
                <a:ea typeface="MS PGothic" pitchFamily="34" charset="-128"/>
              </a:rPr>
              <a:t>10</a:t>
            </a:fld>
            <a:endParaRPr lang="en-US" sz="1100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47107" name="Footer Placeholder 3"/>
          <p:cNvSpPr>
            <a:spLocks noGrp="1"/>
          </p:cNvSpPr>
          <p:nvPr>
            <p:ph type="ftr" sz="quarter" idx="4"/>
          </p:nvPr>
        </p:nvSpPr>
        <p:spPr bwMode="auto">
          <a:xfrm>
            <a:off x="0" y="9515475"/>
            <a:ext cx="2984500" cy="5032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887413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87413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87413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87413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87413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874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874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874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874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1100" smtClean="0">
                <a:solidFill>
                  <a:srgbClr val="000000"/>
                </a:solidFill>
                <a:ea typeface="MS PGothic" pitchFamily="34" charset="-128"/>
              </a:rPr>
              <a:t>© Ericsson AB 2014 </a:t>
            </a:r>
            <a:endParaRPr lang="en-US" sz="1100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47108" name="Notes Placeholder 1"/>
          <p:cNvSpPr>
            <a:spLocks noGrp="1"/>
          </p:cNvSpPr>
          <p:nvPr>
            <p:ph type="body" idx="1"/>
          </p:nvPr>
        </p:nvSpPr>
        <p:spPr bwMode="auto">
          <a:xfrm>
            <a:off x="0" y="3332163"/>
            <a:ext cx="6884988" cy="39449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smtClean="0"/>
              <a:t>Clouding The Networked Society 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 smtClean="0"/>
              <a:t>2014-08-11 </a:t>
            </a:r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504825" y="523875"/>
            <a:ext cx="5102225" cy="28702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8131" name="Rectangle 3"/>
          <p:cNvSpPr>
            <a:spLocks noGrp="1"/>
          </p:cNvSpPr>
          <p:nvPr>
            <p:ph type="body" idx="1"/>
          </p:nvPr>
        </p:nvSpPr>
        <p:spPr bwMode="auto">
          <a:xfrm>
            <a:off x="0" y="3635375"/>
            <a:ext cx="6884988" cy="34432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rtl="0" fontAlgn="ctr"/>
            <a:endParaRPr lang="es-GT" sz="1200" b="0" i="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</p:txBody>
      </p:sp>
      <p:sp>
        <p:nvSpPr>
          <p:cNvPr id="33796" name="Slide Number Placeholder 1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888797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50825" indent="-288779" defTabSz="888797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55116" indent="-231023" defTabSz="888797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17162" indent="-231023" defTabSz="888797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79208" indent="-231023" defTabSz="888797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41255" indent="-231023" defTabSz="88879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003301" indent="-231023" defTabSz="88879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65347" indent="-231023" defTabSz="88879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927394" indent="-231023" defTabSz="88879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fld id="{7852E45F-8E2E-42DB-A52E-0006F9DF6B66}" type="slidenum">
              <a:rPr lang="en-US" sz="1100" smtClean="0">
                <a:solidFill>
                  <a:srgbClr val="000000"/>
                </a:solidFill>
                <a:ea typeface="MS PGothic" pitchFamily="34" charset="-128"/>
              </a:rPr>
              <a:t>11</a:t>
            </a:fld>
            <a:endParaRPr lang="en-US" sz="1100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48133" name="Footer Placeholder 3"/>
          <p:cNvSpPr>
            <a:spLocks noGrp="1"/>
          </p:cNvSpPr>
          <p:nvPr>
            <p:ph type="ftr" sz="quarter" idx="4"/>
          </p:nvPr>
        </p:nvSpPr>
        <p:spPr bwMode="auto">
          <a:xfrm>
            <a:off x="0" y="9515475"/>
            <a:ext cx="2984500" cy="5032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887413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87413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87413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87413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87413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874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874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874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874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1100" smtClean="0">
                <a:solidFill>
                  <a:srgbClr val="000000"/>
                </a:solidFill>
                <a:ea typeface="MS PGothic" pitchFamily="34" charset="-128"/>
              </a:rPr>
              <a:t>© Ericsson AB 2014 </a:t>
            </a:r>
            <a:endParaRPr lang="en-US" sz="1100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smtClean="0"/>
              <a:t>Clouding The Networked Society 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 smtClean="0"/>
              <a:t>2014-08-11 </a:t>
            </a:r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Date Placeholder 1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1200" smtClean="0"/>
              <a:t>2014-08-11 </a:t>
            </a:r>
            <a:endParaRPr lang="en-US" sz="1200" smtClean="0"/>
          </a:p>
        </p:txBody>
      </p:sp>
      <p:sp>
        <p:nvSpPr>
          <p:cNvPr id="6147" name="Slide Number Placeholder 2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fld id="{486D071B-DA0B-431C-BA97-9082ADCEEC90}" type="slidenum">
              <a:rPr lang="en-US" sz="1200" smtClean="0">
                <a:ea typeface="MS PGothic" pitchFamily="34" charset="-128"/>
              </a:rPr>
              <a:t>12</a:t>
            </a:fld>
            <a:endParaRPr lang="en-US" sz="1200">
              <a:ea typeface="MS PGothic" pitchFamily="34" charset="-128"/>
            </a:endParaRPr>
          </a:p>
        </p:txBody>
      </p:sp>
      <p:sp>
        <p:nvSpPr>
          <p:cNvPr id="77828" name="Header Placeholder 3"/>
          <p:cNvSpPr>
            <a:spLocks noGrp="1"/>
          </p:cNvSpPr>
          <p:nvPr>
            <p:ph type="hdr" sz="quarter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1200" smtClean="0"/>
              <a:t>Clouding The Networked Society </a:t>
            </a:r>
            <a:endParaRPr lang="en-US" sz="1200" smtClean="0"/>
          </a:p>
        </p:txBody>
      </p:sp>
      <p:sp>
        <p:nvSpPr>
          <p:cNvPr id="77829" name="Footer Placeholder 5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1200" smtClean="0">
                <a:ea typeface="MS PGothic" pitchFamily="34" charset="-128"/>
              </a:rPr>
              <a:t>© Ericsson AB 2014 </a:t>
            </a:r>
            <a:endParaRPr lang="en-US" sz="1200" smtClean="0">
              <a:ea typeface="MS PGothic" pitchFamily="34" charset="-128"/>
            </a:endParaRPr>
          </a:p>
        </p:txBody>
      </p:sp>
      <p:sp>
        <p:nvSpPr>
          <p:cNvPr id="7783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3188" y="750888"/>
            <a:ext cx="6678612" cy="37576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783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dirty="0" smtClean="0">
              <a:latin typeface="Arial" pitchFamily="34" charset="0"/>
              <a:ea typeface="MS PGothic" pitchFamily="34" charset="-128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24"/>
          <p:cNvSpPr>
            <a:spLocks noGrp="1" noChangeArrowheads="1"/>
          </p:cNvSpPr>
          <p:nvPr>
            <p:ph type="hdr" sz="quarter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200" smtClean="0">
                <a:solidFill>
                  <a:srgbClr val="000000"/>
                </a:solidFill>
              </a:rPr>
              <a:t>Clouding The Networked Society </a:t>
            </a: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78851" name="Rectangle 25"/>
          <p:cNvSpPr>
            <a:spLocks noGrp="1" noChangeArrowheads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200" smtClean="0">
                <a:solidFill>
                  <a:srgbClr val="000000"/>
                </a:solidFill>
              </a:rPr>
              <a:t>2014-08-11 </a:t>
            </a: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78852" name="Rectangle 26"/>
          <p:cNvSpPr>
            <a:spLocks noGrp="1" noChangeArrowheads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200" smtClean="0">
                <a:solidFill>
                  <a:srgbClr val="000000"/>
                </a:solidFill>
              </a:rPr>
              <a:t>© Ericsson AB 2014 </a:t>
            </a: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49157" name="Rectangle 27"/>
          <p:cNvSpPr>
            <a:spLocks noGrp="1" noChangeArrowheads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algn="ctr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fld id="{AF8D80C4-39C2-404C-AB05-FF42F2774E54}" type="slidenum">
              <a:rPr lang="en-US" sz="1200" smtClean="0">
                <a:solidFill>
                  <a:srgbClr val="000000"/>
                </a:solidFill>
              </a:rPr>
              <a:t>13</a:t>
            </a:fld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78854" name="Rectangle 2"/>
          <p:cNvSpPr txBox="1">
            <a:spLocks noGrp="1" noChangeArrowheads="1"/>
          </p:cNvSpPr>
          <p:nvPr/>
        </p:nvSpPr>
        <p:spPr bwMode="auto">
          <a:xfrm>
            <a:off x="0" y="1"/>
            <a:ext cx="2982299" cy="501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574" tIns="48287" rIns="96574" bIns="48287"/>
          <a:lstStyle>
            <a:lvl1pPr defTabSz="9652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652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652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652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652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30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78855" name="Rectangle 3"/>
          <p:cNvSpPr txBox="1">
            <a:spLocks noGrp="1" noChangeArrowheads="1"/>
          </p:cNvSpPr>
          <p:nvPr/>
        </p:nvSpPr>
        <p:spPr bwMode="auto">
          <a:xfrm>
            <a:off x="3901195" y="1"/>
            <a:ext cx="2982299" cy="501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574" tIns="48287" rIns="96574" bIns="48287"/>
          <a:lstStyle>
            <a:lvl1pPr defTabSz="9652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652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652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652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652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B7CDB920-2A4F-4A66-A2E3-4F2971631725}" type="datetime1">
              <a:rPr lang="en-US" sz="1300">
                <a:solidFill>
                  <a:srgbClr val="000000"/>
                </a:solidFill>
              </a:rPr>
              <a:pPr algn="r" eaLnBrk="1" hangingPunct="1"/>
              <a:t>8/11/2014</a:t>
            </a:fld>
            <a:endParaRPr lang="en-US" sz="1300">
              <a:solidFill>
                <a:srgbClr val="000000"/>
              </a:solidFill>
            </a:endParaRPr>
          </a:p>
        </p:txBody>
      </p:sp>
      <p:sp>
        <p:nvSpPr>
          <p:cNvPr id="78856" name="Rectangle 6"/>
          <p:cNvSpPr txBox="1">
            <a:spLocks noGrp="1" noChangeArrowheads="1"/>
          </p:cNvSpPr>
          <p:nvPr/>
        </p:nvSpPr>
        <p:spPr bwMode="auto">
          <a:xfrm>
            <a:off x="0" y="9515127"/>
            <a:ext cx="2982299" cy="501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574" tIns="48287" rIns="96574" bIns="48287" anchor="b"/>
          <a:lstStyle>
            <a:lvl1pPr defTabSz="9652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652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652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652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652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30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78857" name="Rectangle 7"/>
          <p:cNvSpPr txBox="1">
            <a:spLocks noGrp="1" noChangeArrowheads="1"/>
          </p:cNvSpPr>
          <p:nvPr/>
        </p:nvSpPr>
        <p:spPr bwMode="auto">
          <a:xfrm>
            <a:off x="3901195" y="9515127"/>
            <a:ext cx="2982299" cy="501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574" tIns="48287" rIns="96574" bIns="48287" anchor="b"/>
          <a:lstStyle>
            <a:lvl1pPr defTabSz="9652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652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652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652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652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52B48248-2180-4396-B793-E1AF8F7B4323}" type="slidenum">
              <a:rPr lang="en-US" sz="1300">
                <a:solidFill>
                  <a:srgbClr val="000000"/>
                </a:solidFill>
              </a:rPr>
              <a:pPr algn="r" eaLnBrk="1" hangingPunct="1"/>
              <a:t>13</a:t>
            </a:fld>
            <a:endParaRPr lang="en-US" sz="1300">
              <a:solidFill>
                <a:srgbClr val="000000"/>
              </a:solidFill>
            </a:endParaRPr>
          </a:p>
        </p:txBody>
      </p:sp>
      <p:sp>
        <p:nvSpPr>
          <p:cNvPr id="788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03188" y="750888"/>
            <a:ext cx="6680200" cy="37576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885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6574" tIns="48287" rIns="96574" bIns="48287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sv-SE" dirty="0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3188" y="750888"/>
            <a:ext cx="6678612" cy="37576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60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dirty="0" smtClean="0">
              <a:latin typeface="Arial" pitchFamily="34" charset="0"/>
            </a:endParaRPr>
          </a:p>
        </p:txBody>
      </p:sp>
      <p:sp>
        <p:nvSpPr>
          <p:cNvPr id="63492" name="Date Placeholder 3"/>
          <p:cNvSpPr>
            <a:spLocks noGrp="1"/>
          </p:cNvSpPr>
          <p:nvPr>
            <p:ph type="dt" sz="quarter" idx="1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881" indent="-285724" algn="ctr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2895" indent="-228579" algn="ctr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053" indent="-228579" algn="ctr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211" indent="-228579" algn="ctr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370" indent="-228579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527" indent="-228579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8685" indent="-228579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5843" indent="-228579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1200" smtClean="0">
                <a:solidFill>
                  <a:prstClr val="black"/>
                </a:solidFill>
              </a:rPr>
              <a:t>2014-08-11 </a:t>
            </a:r>
            <a:endParaRPr lang="en-US" sz="1200">
              <a:solidFill>
                <a:prstClr val="black"/>
              </a:solidFill>
            </a:endParaRPr>
          </a:p>
        </p:txBody>
      </p:sp>
      <p:sp>
        <p:nvSpPr>
          <p:cNvPr id="159749" name="Slide Number Placeholder 4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53277" indent="-289722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58888" indent="-231778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22443" indent="-231778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85998" indent="-231778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49553" indent="-23177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3013108" indent="-23177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76663" indent="-23177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940218" indent="-23177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20FFAA64-A1FD-4119-A730-1B2F5149EE97}" type="slidenum">
              <a:rPr lang="en-US" sz="1200" smtClean="0">
                <a:solidFill>
                  <a:prstClr val="black"/>
                </a:solidFill>
              </a:rPr>
              <a:t>14</a:t>
            </a:fld>
            <a:endParaRPr lang="en-US" sz="1200">
              <a:solidFill>
                <a:prstClr val="black"/>
              </a:solidFill>
            </a:endParaRPr>
          </a:p>
        </p:txBody>
      </p:sp>
      <p:sp>
        <p:nvSpPr>
          <p:cNvPr id="63494" name="Header Placeholder 5"/>
          <p:cNvSpPr>
            <a:spLocks noGrp="1"/>
          </p:cNvSpPr>
          <p:nvPr>
            <p:ph type="hdr" sz="quarter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881" indent="-285724" algn="ctr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2895" indent="-228579" algn="ctr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053" indent="-228579" algn="ctr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211" indent="-228579" algn="ctr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370" indent="-228579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527" indent="-228579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8685" indent="-228579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5843" indent="-228579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1200" smtClean="0">
                <a:solidFill>
                  <a:prstClr val="black"/>
                </a:solidFill>
              </a:rPr>
              <a:t>Clouding The Networked Society </a:t>
            </a:r>
            <a:endParaRPr lang="en-US" sz="1200">
              <a:solidFill>
                <a:prstClr val="black"/>
              </a:solidFill>
            </a:endParaRPr>
          </a:p>
        </p:txBody>
      </p:sp>
      <p:sp>
        <p:nvSpPr>
          <p:cNvPr id="159751" name="Footer Placeholder 6"/>
          <p:cNvSpPr>
            <a:spLocks noGrp="1"/>
          </p:cNvSpPr>
          <p:nvPr>
            <p:ph type="ftr" sz="quarter" idx="4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53277" indent="-289722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58888" indent="-231778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22443" indent="-231778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85998" indent="-231778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49553" indent="-23177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3013108" indent="-23177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76663" indent="-23177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940218" indent="-23177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sz="1200" smtClean="0">
                <a:solidFill>
                  <a:prstClr val="black"/>
                </a:solidFill>
              </a:rPr>
              <a:t>© Ericsson AB 2014 </a:t>
            </a:r>
            <a:endParaRPr lang="en-US" sz="120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3188" y="750888"/>
            <a:ext cx="6678612" cy="3757612"/>
          </a:xfrm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/>
          </a:extLst>
        </p:spPr>
      </p:sp>
      <p:sp>
        <p:nvSpPr>
          <p:cNvPr id="95235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8975" y="4757738"/>
            <a:ext cx="5507038" cy="45085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6582" tIns="48291" rIns="96582" bIns="48291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en-AU" dirty="0">
              <a:ea typeface="MS PGothic" charset="0"/>
              <a:cs typeface="MS PGothic" charset="0"/>
            </a:endParaRPr>
          </a:p>
        </p:txBody>
      </p:sp>
      <p:sp>
        <p:nvSpPr>
          <p:cNvPr id="46084" name="Date Placeholder 3"/>
          <p:cNvSpPr txBox="1">
            <a:spLocks noGrp="1"/>
          </p:cNvSpPr>
          <p:nvPr/>
        </p:nvSpPr>
        <p:spPr bwMode="auto">
          <a:xfrm>
            <a:off x="3900488" y="0"/>
            <a:ext cx="2982912" cy="500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96582" tIns="48291" rIns="96582" bIns="48291"/>
          <a:lstStyle>
            <a:lvl1pPr defTabSz="9652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23900" indent="-277813" defTabSz="9652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14425" indent="-222250" defTabSz="9652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560513" indent="-223838" defTabSz="9652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06600" indent="-223838" defTabSz="9652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463800" indent="-223838" defTabSz="965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21000" indent="-223838" defTabSz="965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378200" indent="-223838" defTabSz="965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35400" indent="-223838" defTabSz="965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r>
              <a:rPr lang="en-US" sz="1200">
                <a:cs typeface="Arial" pitchFamily="34" charset="0"/>
              </a:rPr>
              <a:t>2013-10-29 </a:t>
            </a:r>
          </a:p>
        </p:txBody>
      </p:sp>
      <p:sp>
        <p:nvSpPr>
          <p:cNvPr id="95237" name="Slide Number Placeholder 4"/>
          <p:cNvSpPr txBox="1">
            <a:spLocks noGrp="1"/>
          </p:cNvSpPr>
          <p:nvPr/>
        </p:nvSpPr>
        <p:spPr bwMode="auto">
          <a:xfrm>
            <a:off x="3900488" y="9517063"/>
            <a:ext cx="2982912" cy="500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96582" tIns="48291" rIns="96582" bIns="48291" anchor="b"/>
          <a:lstStyle>
            <a:lvl1pPr defTabSz="9652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23900" indent="-277813" defTabSz="9652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14425" indent="-222250" defTabSz="9652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560513" indent="-223838" defTabSz="9652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06600" indent="-223838" defTabSz="9652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463800" indent="-223838" defTabSz="965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21000" indent="-223838" defTabSz="965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378200" indent="-223838" defTabSz="965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35400" indent="-223838" defTabSz="965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/>
            <a:fld id="{8909FD24-37D3-425F-BC86-DD1492F7CDFB}" type="slidenum">
              <a:rPr lang="en-US" sz="1200"/>
              <a:pPr algn="r" eaLnBrk="1" hangingPunct="1"/>
              <a:t>15</a:t>
            </a:fld>
            <a:endParaRPr lang="en-US" sz="1200"/>
          </a:p>
        </p:txBody>
      </p:sp>
      <p:sp>
        <p:nvSpPr>
          <p:cNvPr id="46086" name="Header Placeholder 5"/>
          <p:cNvSpPr txBox="1">
            <a:spLocks noGrp="1"/>
          </p:cNvSpPr>
          <p:nvPr/>
        </p:nvSpPr>
        <p:spPr bwMode="auto">
          <a:xfrm>
            <a:off x="0" y="0"/>
            <a:ext cx="2982913" cy="500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96582" tIns="48291" rIns="96582" bIns="48291"/>
          <a:lstStyle>
            <a:lvl1pPr defTabSz="9652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23900" indent="-277813" defTabSz="9652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14425" indent="-222250" defTabSz="9652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560513" indent="-223838" defTabSz="9652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06600" indent="-223838" defTabSz="9652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463800" indent="-223838" defTabSz="965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21000" indent="-223838" defTabSz="965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378200" indent="-223838" defTabSz="965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35400" indent="-223838" defTabSz="965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200">
                <a:cs typeface="Arial" pitchFamily="34" charset="0"/>
              </a:rPr>
              <a:t>KnowledgeSharing: It's all in the Cloud </a:t>
            </a:r>
          </a:p>
        </p:txBody>
      </p:sp>
      <p:sp>
        <p:nvSpPr>
          <p:cNvPr id="46087" name="Footer Placeholder 6"/>
          <p:cNvSpPr txBox="1">
            <a:spLocks noGrp="1"/>
          </p:cNvSpPr>
          <p:nvPr/>
        </p:nvSpPr>
        <p:spPr bwMode="auto">
          <a:xfrm>
            <a:off x="0" y="9517063"/>
            <a:ext cx="2982913" cy="500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96582" tIns="48291" rIns="96582" bIns="48291" anchor="b"/>
          <a:lstStyle>
            <a:lvl1pPr defTabSz="9652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23900" indent="-277813" defTabSz="9652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14425" indent="-222250" defTabSz="9652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560513" indent="-223838" defTabSz="9652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06600" indent="-223838" defTabSz="9652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463800" indent="-223838" defTabSz="965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21000" indent="-223838" defTabSz="965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378200" indent="-223838" defTabSz="965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35400" indent="-223838" defTabSz="965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200">
                <a:cs typeface="Arial" pitchFamily="34" charset="0"/>
              </a:rPr>
              <a:t> 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A0D280-B8D0-4BF5-99A8-27B4BECD9661}" type="slidenum">
              <a:rPr lang="en-US" smtClean="0"/>
              <a:t>15</a:t>
            </a:fld>
            <a:endParaRPr lang="en-US"/>
          </a:p>
        </p:txBody>
      </p:sp>
      <p:sp>
        <p:nvSpPr>
          <p:cNvPr id="3" name="Header Placeholder 2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smtClean="0"/>
              <a:t>Clouding The Networked Society 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smtClean="0"/>
              <a:t>© Ericsson AB 2014 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 smtClean="0"/>
              <a:t>2014-08-11 </a:t>
            </a:r>
            <a:endParaRPr 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hdr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84778" indent="-301838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207351" indent="-24147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90291" indent="-24147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173232" indent="-24147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656172" indent="-241470" algn="ctr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3139112" indent="-241470" algn="ctr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622053" indent="-241470" algn="ctr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4104993" indent="-241470" algn="ctr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1300" smtClean="0"/>
              <a:t>Clouding The Networked Society </a:t>
            </a:r>
            <a:endParaRPr lang="en-US" sz="1300"/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84778" indent="-301838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207351" indent="-24147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90291" indent="-24147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173232" indent="-24147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656172" indent="-241470" algn="ctr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3139112" indent="-241470" algn="ctr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622053" indent="-241470" algn="ctr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4104993" indent="-241470" algn="ctr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1300" smtClean="0"/>
              <a:t>2014-08-11 </a:t>
            </a:r>
            <a:endParaRPr lang="en-US" sz="1300"/>
          </a:p>
        </p:txBody>
      </p:sp>
      <p:sp>
        <p:nvSpPr>
          <p:cNvPr id="23556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84778" indent="-301838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207351" indent="-24147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90291" indent="-24147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173232" indent="-24147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656172" indent="-241470" algn="ctr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3139112" indent="-241470" algn="ctr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622053" indent="-241470" algn="ctr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4104993" indent="-241470" algn="ctr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1300" smtClean="0"/>
              <a:t>© Ericsson AB 2014 </a:t>
            </a:r>
            <a:endParaRPr lang="en-US" sz="1300"/>
          </a:p>
        </p:txBody>
      </p:sp>
      <p:sp>
        <p:nvSpPr>
          <p:cNvPr id="2355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84778" indent="-301838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207351" indent="-24147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90291" indent="-24147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173232" indent="-24147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656172" indent="-241470" algn="ctr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3139112" indent="-241470" algn="ctr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622053" indent="-241470" algn="ctr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4104993" indent="-241470" algn="ctr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D7E45DFA-6970-49F9-AC26-FEA789988474}" type="slidenum">
              <a:rPr lang="en-US" sz="1300" smtClean="0"/>
              <a:t>16</a:t>
            </a:fld>
            <a:endParaRPr lang="en-US" sz="1300"/>
          </a:p>
        </p:txBody>
      </p:sp>
      <p:sp>
        <p:nvSpPr>
          <p:cNvPr id="23558" name="Date Placeholder 1"/>
          <p:cNvSpPr txBox="1">
            <a:spLocks noGrp="1"/>
          </p:cNvSpPr>
          <p:nvPr/>
        </p:nvSpPr>
        <p:spPr bwMode="auto">
          <a:xfrm>
            <a:off x="3901493" y="0"/>
            <a:ext cx="2981902" cy="5009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830" tIns="47415" rIns="94830" bIns="47415"/>
          <a:lstStyle>
            <a:lvl1pPr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defTabSz="8985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defTabSz="8985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defTabSz="8985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defTabSz="8985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fld id="{6A0C97B5-5F3C-46B5-BE56-3953C3E4804E}" type="datetime1">
              <a:rPr lang="en-US" sz="1300"/>
              <a:pPr algn="r" eaLnBrk="1" hangingPunct="1">
                <a:spcBef>
                  <a:spcPct val="50000"/>
                </a:spcBef>
              </a:pPr>
              <a:t>8/11/2014</a:t>
            </a:fld>
            <a:r>
              <a:rPr lang="en-US" sz="1300"/>
              <a:t>2011-10-19 </a:t>
            </a:r>
          </a:p>
        </p:txBody>
      </p:sp>
      <p:sp>
        <p:nvSpPr>
          <p:cNvPr id="23559" name="Slide Number Placeholder 2"/>
          <p:cNvSpPr txBox="1">
            <a:spLocks noGrp="1"/>
          </p:cNvSpPr>
          <p:nvPr/>
        </p:nvSpPr>
        <p:spPr bwMode="auto">
          <a:xfrm>
            <a:off x="3901493" y="9516038"/>
            <a:ext cx="2981902" cy="5009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830" tIns="47415" rIns="94830" bIns="47415" anchor="b"/>
          <a:lstStyle>
            <a:lvl1pPr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defTabSz="8985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defTabSz="8985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defTabSz="8985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defTabSz="8985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fld id="{29B22FAC-4924-44ED-8E8E-977FFC0A1A92}" type="slidenum">
              <a:rPr lang="en-US" sz="1300"/>
              <a:pPr algn="r" eaLnBrk="1" hangingPunct="1">
                <a:spcBef>
                  <a:spcPct val="50000"/>
                </a:spcBef>
              </a:pPr>
              <a:t>16</a:t>
            </a:fld>
            <a:endParaRPr lang="en-US" sz="1300"/>
          </a:p>
        </p:txBody>
      </p:sp>
      <p:sp>
        <p:nvSpPr>
          <p:cNvPr id="23560" name="Header Placeholder 3"/>
          <p:cNvSpPr txBox="1">
            <a:spLocks noGrp="1"/>
          </p:cNvSpPr>
          <p:nvPr/>
        </p:nvSpPr>
        <p:spPr bwMode="auto">
          <a:xfrm>
            <a:off x="0" y="0"/>
            <a:ext cx="2981902" cy="5009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830" tIns="47415" rIns="94830" bIns="47415"/>
          <a:lstStyle>
            <a:lvl1pPr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defTabSz="8985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defTabSz="8985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defTabSz="8985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defTabSz="8985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300"/>
              <a:t>  </a:t>
            </a:r>
          </a:p>
        </p:txBody>
      </p:sp>
      <p:sp>
        <p:nvSpPr>
          <p:cNvPr id="23561" name="Footer Placeholder 5"/>
          <p:cNvSpPr txBox="1">
            <a:spLocks noGrp="1"/>
          </p:cNvSpPr>
          <p:nvPr/>
        </p:nvSpPr>
        <p:spPr bwMode="auto">
          <a:xfrm>
            <a:off x="0" y="9516038"/>
            <a:ext cx="2981902" cy="5009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830" tIns="47415" rIns="94830" bIns="47415" anchor="b"/>
          <a:lstStyle>
            <a:lvl1pPr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defTabSz="8985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defTabSz="8985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defTabSz="8985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defTabSz="8985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300"/>
              <a:t>© Ericsson AB 2012  </a:t>
            </a:r>
          </a:p>
        </p:txBody>
      </p:sp>
      <p:sp>
        <p:nvSpPr>
          <p:cNvPr id="23562" name="Date Placeholder 1"/>
          <p:cNvSpPr txBox="1">
            <a:spLocks noGrp="1"/>
          </p:cNvSpPr>
          <p:nvPr/>
        </p:nvSpPr>
        <p:spPr bwMode="auto">
          <a:xfrm>
            <a:off x="3901493" y="0"/>
            <a:ext cx="2981902" cy="5009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830" tIns="47415" rIns="94830" bIns="47415"/>
          <a:lstStyle>
            <a:lvl1pPr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defTabSz="8985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defTabSz="8985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defTabSz="8985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defTabSz="8985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fld id="{311F8C88-222C-4478-A7E2-1DB88D93D900}" type="datetime1">
              <a:rPr lang="en-US" sz="1300"/>
              <a:pPr algn="r" eaLnBrk="1" hangingPunct="1">
                <a:spcBef>
                  <a:spcPct val="50000"/>
                </a:spcBef>
              </a:pPr>
              <a:t>8/11/2014</a:t>
            </a:fld>
            <a:r>
              <a:rPr lang="en-US" sz="1300"/>
              <a:t>2011-10-19 </a:t>
            </a:r>
          </a:p>
        </p:txBody>
      </p:sp>
      <p:sp>
        <p:nvSpPr>
          <p:cNvPr id="23563" name="Slide Number Placeholder 2"/>
          <p:cNvSpPr txBox="1">
            <a:spLocks noGrp="1"/>
          </p:cNvSpPr>
          <p:nvPr/>
        </p:nvSpPr>
        <p:spPr bwMode="auto">
          <a:xfrm>
            <a:off x="3901493" y="9516038"/>
            <a:ext cx="2981902" cy="5009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830" tIns="47415" rIns="94830" bIns="47415" anchor="b"/>
          <a:lstStyle>
            <a:lvl1pPr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defTabSz="8985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defTabSz="8985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defTabSz="8985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defTabSz="8985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fld id="{116752D7-8942-4FFB-89AB-C577919BB4BD}" type="slidenum">
              <a:rPr lang="en-US" sz="1300"/>
              <a:pPr algn="r" eaLnBrk="1" hangingPunct="1">
                <a:spcBef>
                  <a:spcPct val="50000"/>
                </a:spcBef>
              </a:pPr>
              <a:t>16</a:t>
            </a:fld>
            <a:endParaRPr lang="en-US" sz="1300"/>
          </a:p>
        </p:txBody>
      </p:sp>
      <p:sp>
        <p:nvSpPr>
          <p:cNvPr id="23564" name="Header Placeholder 3"/>
          <p:cNvSpPr txBox="1">
            <a:spLocks noGrp="1"/>
          </p:cNvSpPr>
          <p:nvPr/>
        </p:nvSpPr>
        <p:spPr bwMode="auto">
          <a:xfrm>
            <a:off x="0" y="0"/>
            <a:ext cx="2981902" cy="5009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830" tIns="47415" rIns="94830" bIns="47415"/>
          <a:lstStyle>
            <a:lvl1pPr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defTabSz="8985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defTabSz="8985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defTabSz="8985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defTabSz="8985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300"/>
              <a:t>  </a:t>
            </a:r>
          </a:p>
        </p:txBody>
      </p:sp>
      <p:sp>
        <p:nvSpPr>
          <p:cNvPr id="23565" name="Footer Placeholder 5"/>
          <p:cNvSpPr txBox="1">
            <a:spLocks noGrp="1"/>
          </p:cNvSpPr>
          <p:nvPr/>
        </p:nvSpPr>
        <p:spPr bwMode="auto">
          <a:xfrm>
            <a:off x="0" y="9516038"/>
            <a:ext cx="2981902" cy="5009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830" tIns="47415" rIns="94830" bIns="47415" anchor="b"/>
          <a:lstStyle>
            <a:lvl1pPr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898525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defTabSz="8985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defTabSz="8985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defTabSz="8985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defTabSz="8985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300"/>
              <a:t>© Ericsson AB 2012  </a:t>
            </a:r>
          </a:p>
        </p:txBody>
      </p:sp>
      <p:sp>
        <p:nvSpPr>
          <p:cNvPr id="23566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01600" y="750888"/>
            <a:ext cx="6678613" cy="3757612"/>
          </a:xfrm>
          <a:ln/>
        </p:spPr>
      </p:sp>
      <p:sp>
        <p:nvSpPr>
          <p:cNvPr id="23567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830" tIns="47415" rIns="94830" bIns="47415"/>
          <a:lstStyle/>
          <a:p>
            <a:pPr eaLnBrk="1" hangingPunct="1"/>
            <a:endParaRPr lang="en-US" i="1" dirty="0" smtClean="0">
              <a:solidFill>
                <a:srgbClr val="007B78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95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Clouding The Networked Society 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2014-08-11 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Ericsson AB 2014 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CDC48C6-6F32-4FD4-AEBD-3E6ACDD552CF}" type="slidenum">
              <a:rPr lang="en-US" smtClean="0"/>
              <a:t>17</a:t>
            </a:fld>
            <a:endParaRPr 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Date Placeholder 1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200" smtClean="0"/>
              <a:t>2014-08-11 </a:t>
            </a:r>
            <a:endParaRPr lang="en-US" sz="1200"/>
          </a:p>
        </p:txBody>
      </p:sp>
      <p:sp>
        <p:nvSpPr>
          <p:cNvPr id="10243" name="Slide Number Placeholder 2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D03DE7F6-F5BC-4C06-8DEB-9F69B1100525}" type="slidenum">
              <a:rPr lang="en-US" sz="1200" smtClean="0"/>
              <a:t>18</a:t>
            </a:fld>
            <a:endParaRPr lang="en-US" sz="1200"/>
          </a:p>
        </p:txBody>
      </p:sp>
      <p:sp>
        <p:nvSpPr>
          <p:cNvPr id="10244" name="Header Placeholder 3"/>
          <p:cNvSpPr>
            <a:spLocks noGrp="1"/>
          </p:cNvSpPr>
          <p:nvPr>
            <p:ph type="hdr" sz="quarter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200" smtClean="0"/>
              <a:t>Clouding The Networked Society </a:t>
            </a:r>
            <a:endParaRPr lang="en-US" sz="1200"/>
          </a:p>
        </p:txBody>
      </p:sp>
      <p:sp>
        <p:nvSpPr>
          <p:cNvPr id="10245" name="Footer Placeholder 5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200" smtClean="0"/>
              <a:t>© Ericsson AB 2014 </a:t>
            </a:r>
            <a:endParaRPr lang="en-US" sz="1200"/>
          </a:p>
        </p:txBody>
      </p:sp>
      <p:sp>
        <p:nvSpPr>
          <p:cNvPr id="10246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8291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563" tIns="48282" rIns="96563" bIns="48282"/>
          <a:lstStyle>
            <a:lvl1pPr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652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652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652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652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300">
                <a:ea typeface="MS PGothic" pitchFamily="34" charset="-128"/>
              </a:rPr>
              <a:t>  </a:t>
            </a:r>
          </a:p>
        </p:txBody>
      </p:sp>
      <p:sp>
        <p:nvSpPr>
          <p:cNvPr id="10247" name="Rectangle 3"/>
          <p:cNvSpPr txBox="1">
            <a:spLocks noGrp="1" noChangeArrowheads="1"/>
          </p:cNvSpPr>
          <p:nvPr/>
        </p:nvSpPr>
        <p:spPr bwMode="auto">
          <a:xfrm>
            <a:off x="3900488" y="0"/>
            <a:ext cx="2982912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563" tIns="48282" rIns="96563" bIns="48282"/>
          <a:lstStyle>
            <a:lvl1pPr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652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652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652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652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fld id="{71943A2C-75C0-48FA-852A-4237F0EBB024}" type="datetime1">
              <a:rPr lang="en-US" sz="1300">
                <a:ea typeface="MS PGothic" pitchFamily="34" charset="-128"/>
              </a:rPr>
              <a:pPr algn="r" eaLnBrk="1" hangingPunct="1"/>
              <a:t>8/11/2014</a:t>
            </a:fld>
            <a:r>
              <a:rPr lang="en-US" sz="1300">
                <a:ea typeface="MS PGothic" pitchFamily="34" charset="-128"/>
              </a:rPr>
              <a:t>2010-12-10 </a:t>
            </a:r>
          </a:p>
        </p:txBody>
      </p:sp>
      <p:sp>
        <p:nvSpPr>
          <p:cNvPr id="10248" name="Rectangle 6"/>
          <p:cNvSpPr txBox="1">
            <a:spLocks noGrp="1" noChangeArrowheads="1"/>
          </p:cNvSpPr>
          <p:nvPr/>
        </p:nvSpPr>
        <p:spPr bwMode="auto">
          <a:xfrm>
            <a:off x="0" y="9515475"/>
            <a:ext cx="298291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563" tIns="48282" rIns="96563" bIns="48282" anchor="b"/>
          <a:lstStyle>
            <a:lvl1pPr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652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652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652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652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300">
                <a:ea typeface="MS PGothic" pitchFamily="34" charset="-128"/>
              </a:rPr>
              <a:t>  </a:t>
            </a:r>
          </a:p>
        </p:txBody>
      </p:sp>
      <p:sp>
        <p:nvSpPr>
          <p:cNvPr id="10249" name="Rectangle 7"/>
          <p:cNvSpPr txBox="1">
            <a:spLocks noGrp="1" noChangeArrowheads="1"/>
          </p:cNvSpPr>
          <p:nvPr/>
        </p:nvSpPr>
        <p:spPr bwMode="auto">
          <a:xfrm>
            <a:off x="3900488" y="9515475"/>
            <a:ext cx="2982912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563" tIns="48282" rIns="96563" bIns="48282" anchor="b"/>
          <a:lstStyle>
            <a:lvl1pPr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652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652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652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652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fld id="{9BAD64B0-2A5D-45C6-B4F4-E97F4D1683E0}" type="slidenum">
              <a:rPr lang="en-US" sz="1300">
                <a:ea typeface="MS PGothic" pitchFamily="34" charset="-128"/>
              </a:rPr>
              <a:pPr algn="r" eaLnBrk="1" hangingPunct="1"/>
              <a:t>18</a:t>
            </a:fld>
            <a:endParaRPr lang="en-US" sz="1300">
              <a:ea typeface="MS PGothic" pitchFamily="34" charset="-128"/>
            </a:endParaRPr>
          </a:p>
        </p:txBody>
      </p:sp>
      <p:sp>
        <p:nvSpPr>
          <p:cNvPr id="10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03188" y="750888"/>
            <a:ext cx="6680200" cy="37576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51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6563" tIns="48282" rIns="96563" bIns="48282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dirty="0" smtClean="0"/>
          </a:p>
        </p:txBody>
      </p:sp>
      <p:sp>
        <p:nvSpPr>
          <p:cNvPr id="10252" name="Slide Number Placeholder 1"/>
          <p:cNvSpPr txBox="1">
            <a:spLocks noGrp="1"/>
          </p:cNvSpPr>
          <p:nvPr/>
        </p:nvSpPr>
        <p:spPr bwMode="auto">
          <a:xfrm>
            <a:off x="3900488" y="9515475"/>
            <a:ext cx="2982912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574" tIns="48287" rIns="96574" bIns="48287" anchor="b"/>
          <a:lstStyle>
            <a:lvl1pPr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652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652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652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652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fld id="{C7F10D82-D08A-4186-BB7E-5B2BC94CFABB}" type="slidenum">
              <a:rPr lang="en-US" sz="1300">
                <a:ea typeface="MS PGothic" pitchFamily="34" charset="-128"/>
              </a:rPr>
              <a:pPr algn="r" eaLnBrk="1" hangingPunct="1"/>
              <a:t>18</a:t>
            </a:fld>
            <a:endParaRPr lang="en-US" sz="1300">
              <a:ea typeface="MS PGothic" pitchFamily="34" charset="-128"/>
            </a:endParaRPr>
          </a:p>
        </p:txBody>
      </p:sp>
      <p:sp>
        <p:nvSpPr>
          <p:cNvPr id="10253" name="Header Placeholder 2"/>
          <p:cNvSpPr txBox="1">
            <a:spLocks noGrp="1"/>
          </p:cNvSpPr>
          <p:nvPr/>
        </p:nvSpPr>
        <p:spPr bwMode="auto">
          <a:xfrm>
            <a:off x="0" y="0"/>
            <a:ext cx="298291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574" tIns="48287" rIns="96574" bIns="48287"/>
          <a:lstStyle>
            <a:lvl1pPr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652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652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652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652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300">
                <a:ea typeface="MS PGothic" pitchFamily="34" charset="-128"/>
              </a:rPr>
              <a:t> </a:t>
            </a:r>
          </a:p>
        </p:txBody>
      </p:sp>
      <p:sp>
        <p:nvSpPr>
          <p:cNvPr id="10254" name="Footer Placeholder 3"/>
          <p:cNvSpPr txBox="1">
            <a:spLocks noGrp="1"/>
          </p:cNvSpPr>
          <p:nvPr/>
        </p:nvSpPr>
        <p:spPr bwMode="auto">
          <a:xfrm>
            <a:off x="0" y="9515475"/>
            <a:ext cx="298291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574" tIns="48287" rIns="96574" bIns="48287" anchor="b"/>
          <a:lstStyle>
            <a:lvl1pPr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652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652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652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652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300">
                <a:ea typeface="MS PGothic" pitchFamily="34" charset="-128"/>
              </a:rPr>
              <a:t> </a:t>
            </a:r>
          </a:p>
        </p:txBody>
      </p:sp>
      <p:sp>
        <p:nvSpPr>
          <p:cNvPr id="10255" name="Date Placeholder 4"/>
          <p:cNvSpPr txBox="1">
            <a:spLocks noGrp="1"/>
          </p:cNvSpPr>
          <p:nvPr/>
        </p:nvSpPr>
        <p:spPr bwMode="auto">
          <a:xfrm>
            <a:off x="3900488" y="0"/>
            <a:ext cx="2982912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574" tIns="48287" rIns="96574" bIns="48287"/>
          <a:lstStyle>
            <a:lvl1pPr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652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652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652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652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652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r>
              <a:rPr lang="en-US" sz="1300">
                <a:ea typeface="MS PGothic" pitchFamily="34" charset="-128"/>
              </a:rPr>
              <a:t>2013-03-15 </a:t>
            </a: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3188" y="750888"/>
            <a:ext cx="6678612" cy="37576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  <p:sp>
        <p:nvSpPr>
          <p:cNvPr id="11268" name="Date Placeholder 3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200" smtClean="0"/>
              <a:t>2014-08-11 </a:t>
            </a:r>
            <a:endParaRPr lang="en-US" sz="1200"/>
          </a:p>
        </p:txBody>
      </p:sp>
      <p:sp>
        <p:nvSpPr>
          <p:cNvPr id="11269" name="Slide Number Placehold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AC706401-5964-4221-B91B-07ACB3C34F07}" type="slidenum">
              <a:rPr lang="en-US" sz="1200" smtClean="0"/>
              <a:t>19</a:t>
            </a:fld>
            <a:endParaRPr lang="en-US" sz="1200"/>
          </a:p>
        </p:txBody>
      </p:sp>
      <p:sp>
        <p:nvSpPr>
          <p:cNvPr id="11270" name="Header Placeholder 5"/>
          <p:cNvSpPr>
            <a:spLocks noGrp="1"/>
          </p:cNvSpPr>
          <p:nvPr>
            <p:ph type="hdr" sz="quarter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200" smtClean="0"/>
              <a:t>Clouding The Networked Society </a:t>
            </a:r>
            <a:endParaRPr lang="en-US" sz="1200"/>
          </a:p>
        </p:txBody>
      </p:sp>
      <p:sp>
        <p:nvSpPr>
          <p:cNvPr id="11271" name="Footer Placeholder 6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200" smtClean="0"/>
              <a:t>© Ericsson AB 2014 </a:t>
            </a:r>
            <a:endParaRPr lang="en-US" sz="120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3188" y="750888"/>
            <a:ext cx="6678612" cy="37576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7587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baseline="0" dirty="0" smtClean="0">
              <a:latin typeface="Arial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C99386-1D25-4560-9087-DB40D13CA0CD}" type="slidenum">
              <a:rPr lang="en-US" smtClean="0"/>
              <a:t>2</a:t>
            </a:fld>
            <a:endParaRPr lang="en-US"/>
          </a:p>
        </p:txBody>
      </p:sp>
      <p:sp>
        <p:nvSpPr>
          <p:cNvPr id="3" name="Header Placeholder 2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smtClean="0"/>
              <a:t>Clouding The Networked Society 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smtClean="0"/>
              <a:t>© Ericsson AB 2014 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 smtClean="0"/>
              <a:t>2014-08-11 </a:t>
            </a:r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ChangeArrowheads="1"/>
          </p:cNvSpPr>
          <p:nvPr>
            <p:ph type="hdr" sz="quarter"/>
          </p:nvPr>
        </p:nvSpPr>
        <p:spPr>
          <a:noFill/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56620" indent="-291008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64031" indent="-232806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29644" indent="-232806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95256" indent="-232806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60869" indent="-23280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3026481" indent="-23280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92094" indent="-23280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957706" indent="-23280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200" smtClean="0"/>
              <a:t>Clouding The Networked Society </a:t>
            </a:r>
            <a:endParaRPr lang="en-US" sz="1200"/>
          </a:p>
        </p:txBody>
      </p:sp>
      <p:sp>
        <p:nvSpPr>
          <p:cNvPr id="39939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56620" indent="-291008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64031" indent="-232806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29644" indent="-232806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95256" indent="-232806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60869" indent="-23280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3026481" indent="-23280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92094" indent="-23280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957706" indent="-23280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200" smtClean="0"/>
              <a:t>2014-08-11 </a:t>
            </a:r>
            <a:endParaRPr lang="en-US" sz="1200"/>
          </a:p>
        </p:txBody>
      </p:sp>
      <p:sp>
        <p:nvSpPr>
          <p:cNvPr id="39940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56620" indent="-291008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64031" indent="-232806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29644" indent="-232806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95256" indent="-232806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60869" indent="-23280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3026481" indent="-23280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92094" indent="-23280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957706" indent="-23280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200" smtClean="0"/>
              <a:t>© Ericsson AB 2014 </a:t>
            </a:r>
            <a:endParaRPr lang="en-US" sz="1200"/>
          </a:p>
        </p:txBody>
      </p:sp>
      <p:sp>
        <p:nvSpPr>
          <p:cNvPr id="39941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56620" indent="-291008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64031" indent="-232806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29644" indent="-232806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95256" indent="-232806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60869" indent="-23280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3026481" indent="-23280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92094" indent="-23280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957706" indent="-23280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107E0D19-D2C5-486E-85FD-B171CED6B4C7}" type="slidenum">
              <a:rPr lang="en-US" sz="1200" smtClean="0"/>
              <a:t>3</a:t>
            </a:fld>
            <a:endParaRPr lang="en-US" sz="1200"/>
          </a:p>
        </p:txBody>
      </p:sp>
      <p:sp>
        <p:nvSpPr>
          <p:cNvPr id="39942" name="Rectangle 7"/>
          <p:cNvSpPr txBox="1">
            <a:spLocks noGrp="1" noChangeArrowheads="1"/>
          </p:cNvSpPr>
          <p:nvPr/>
        </p:nvSpPr>
        <p:spPr bwMode="auto">
          <a:xfrm>
            <a:off x="3900564" y="9515695"/>
            <a:ext cx="2982784" cy="5014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891" tIns="47446" rIns="94891" bIns="47446" anchor="b"/>
          <a:lstStyle>
            <a:lvl1pPr defTabSz="931863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31863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1863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1863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1863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1863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1863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1863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1863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66904B85-74ED-4F96-A811-7A960E8F5256}" type="slidenum">
              <a:rPr lang="en-US" sz="1200">
                <a:ea typeface="ＭＳ Ｐゴシック" pitchFamily="34" charset="-128"/>
              </a:rPr>
              <a:pPr algn="r" eaLnBrk="1" hangingPunct="1">
                <a:spcBef>
                  <a:spcPct val="0"/>
                </a:spcBef>
              </a:pPr>
              <a:t>3</a:t>
            </a:fld>
            <a:endParaRPr lang="en-US" sz="1200">
              <a:ea typeface="ＭＳ Ｐゴシック" pitchFamily="34" charset="-128"/>
            </a:endParaRPr>
          </a:p>
        </p:txBody>
      </p:sp>
      <p:sp>
        <p:nvSpPr>
          <p:cNvPr id="399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3188" y="750888"/>
            <a:ext cx="6678612" cy="3757612"/>
          </a:xfrm>
          <a:ln/>
        </p:spPr>
      </p:sp>
      <p:sp>
        <p:nvSpPr>
          <p:cNvPr id="3994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 lIns="94891" tIns="47446" rIns="94891" bIns="47446"/>
          <a:lstStyle/>
          <a:p>
            <a:pPr lvl="1" rtl="0" fontAlgn="ctr"/>
            <a:endParaRPr lang="en-US" dirty="0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hdr" sz="quarter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98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98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98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98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98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39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39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39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39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sz="1200" smtClean="0">
                <a:solidFill>
                  <a:prstClr val="black"/>
                </a:solidFill>
                <a:cs typeface="Arial" pitchFamily="34" charset="0"/>
              </a:rPr>
              <a:t>Clouding The Networked Society </a:t>
            </a:r>
            <a:endParaRPr lang="en-US" sz="120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98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98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98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98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98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39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39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39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39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sz="1200" smtClean="0">
                <a:solidFill>
                  <a:prstClr val="black"/>
                </a:solidFill>
                <a:cs typeface="Arial" pitchFamily="34" charset="0"/>
              </a:rPr>
              <a:t>2014-08-11 </a:t>
            </a:r>
            <a:endParaRPr lang="en-US" sz="120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9700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98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98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98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98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98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39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39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39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39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sz="1200" smtClean="0">
                <a:solidFill>
                  <a:prstClr val="black"/>
                </a:solidFill>
                <a:cs typeface="Arial" pitchFamily="34" charset="0"/>
              </a:rPr>
              <a:t>© Ericsson AB 2014 </a:t>
            </a:r>
            <a:endParaRPr lang="en-US" sz="120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9701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98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98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98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98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98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39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39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39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39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F4802BED-14C2-4507-9067-54EF71DD3189}" type="slidenum">
              <a:rPr lang="en-US" sz="1200" smtClean="0">
                <a:solidFill>
                  <a:prstClr val="black"/>
                </a:solidFill>
              </a:rPr>
              <a:t>4</a:t>
            </a:fld>
            <a:endParaRPr lang="en-US" sz="1200">
              <a:solidFill>
                <a:prstClr val="black"/>
              </a:solidFill>
            </a:endParaRPr>
          </a:p>
        </p:txBody>
      </p:sp>
      <p:sp>
        <p:nvSpPr>
          <p:cNvPr id="297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03188" y="750888"/>
            <a:ext cx="6678612" cy="3757612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30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8975" y="4759325"/>
            <a:ext cx="5507038" cy="45085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46" tIns="46273" rIns="92546" bIns="46273"/>
          <a:lstStyle/>
          <a:p>
            <a:pPr marL="216906" indent="-216906">
              <a:spcBef>
                <a:spcPct val="0"/>
              </a:spcBef>
              <a:defRPr/>
            </a:pPr>
            <a:endParaRPr lang="en-US" dirty="0" smtClean="0">
              <a:solidFill>
                <a:schemeClr val="accent1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3188" y="750888"/>
            <a:ext cx="6678612" cy="3757612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8975" y="4759325"/>
            <a:ext cx="5507038" cy="45085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46" tIns="46273" rIns="92546" bIns="46273"/>
          <a:lstStyle/>
          <a:p>
            <a:pPr>
              <a:defRPr/>
            </a:pPr>
            <a:endParaRPr lang="en-US" dirty="0" smtClean="0">
              <a:latin typeface="Arial" pitchFamily="34" charset="0"/>
            </a:endParaRPr>
          </a:p>
        </p:txBody>
      </p:sp>
      <p:sp>
        <p:nvSpPr>
          <p:cNvPr id="28676" name="Date Placeholder 3"/>
          <p:cNvSpPr>
            <a:spLocks noGrp="1"/>
          </p:cNvSpPr>
          <p:nvPr>
            <p:ph type="dt" sz="quarter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sz="1200" smtClean="0">
                <a:cs typeface="Arial" pitchFamily="34" charset="0"/>
              </a:rPr>
              <a:t>2014-08-11 </a:t>
            </a:r>
            <a:endParaRPr lang="en-US" sz="1200" smtClean="0">
              <a:cs typeface="Arial" pitchFamily="34" charset="0"/>
            </a:endParaRPr>
          </a:p>
        </p:txBody>
      </p:sp>
      <p:sp>
        <p:nvSpPr>
          <p:cNvPr id="28677" name="Slide Number Placeholder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5F1DD9A2-86AE-4694-8C3A-2BBEC94645C7}" type="slidenum">
              <a:rPr lang="en-US" sz="1200" smtClean="0"/>
              <a:t>5</a:t>
            </a:fld>
            <a:endParaRPr lang="en-US" sz="1200" smtClean="0"/>
          </a:p>
        </p:txBody>
      </p:sp>
      <p:sp>
        <p:nvSpPr>
          <p:cNvPr id="28678" name="Header Placeholder 5"/>
          <p:cNvSpPr>
            <a:spLocks noGrp="1"/>
          </p:cNvSpPr>
          <p:nvPr>
            <p:ph type="hdr" sz="quarter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sz="1200" smtClean="0">
                <a:cs typeface="Arial" pitchFamily="34" charset="0"/>
              </a:rPr>
              <a:t>Clouding The Networked Society </a:t>
            </a:r>
            <a:endParaRPr lang="en-US" sz="1200" smtClean="0">
              <a:cs typeface="Arial" pitchFamily="34" charset="0"/>
            </a:endParaRPr>
          </a:p>
        </p:txBody>
      </p:sp>
      <p:sp>
        <p:nvSpPr>
          <p:cNvPr id="28679" name="Footer Placeholder 6"/>
          <p:cNvSpPr>
            <a:spLocks noGrp="1"/>
          </p:cNvSpPr>
          <p:nvPr>
            <p:ph type="ftr" sz="quarter" idx="4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sz="1200" smtClean="0">
                <a:cs typeface="Arial" pitchFamily="34" charset="0"/>
              </a:rPr>
              <a:t>© Ericsson AB 2014 </a:t>
            </a:r>
            <a:endParaRPr lang="en-US" sz="1200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3188" y="750888"/>
            <a:ext cx="6678612" cy="37576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0659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51AAB-C07C-4AAD-9E1C-A153F2FB4CB7}" type="slidenum">
              <a:rPr lang="en-US" smtClean="0"/>
              <a:t>6</a:t>
            </a:fld>
            <a:endParaRPr lang="en-US"/>
          </a:p>
        </p:txBody>
      </p:sp>
      <p:sp>
        <p:nvSpPr>
          <p:cNvPr id="3" name="Header Placeholder 2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smtClean="0"/>
              <a:t>Clouding The Networked Society 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smtClean="0"/>
              <a:t>© Ericsson AB 2014 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 smtClean="0"/>
              <a:t>2014-08-11 </a:t>
            </a:r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 noChangeArrowheads="1"/>
          </p:cNvSpPr>
          <p:nvPr>
            <p:ph type="hdr" sz="quarter"/>
          </p:nvPr>
        </p:nvSpPr>
        <p:spPr>
          <a:noFill/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56620" indent="-291008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64031" indent="-232806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29644" indent="-232806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95256" indent="-232806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60869" indent="-23280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3026481" indent="-23280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92094" indent="-23280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957706" indent="-23280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sz="1200" smtClean="0"/>
              <a:t>Clouding The Networked Society </a:t>
            </a:r>
            <a:endParaRPr lang="en-US" sz="1200"/>
          </a:p>
        </p:txBody>
      </p:sp>
      <p:sp>
        <p:nvSpPr>
          <p:cNvPr id="46083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56620" indent="-291008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64031" indent="-232806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29644" indent="-232806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95256" indent="-232806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60869" indent="-23280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3026481" indent="-23280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92094" indent="-23280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957706" indent="-23280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sz="1200" smtClean="0"/>
              <a:t>2014-08-11 </a:t>
            </a:r>
            <a:endParaRPr lang="en-US" sz="1200"/>
          </a:p>
        </p:txBody>
      </p:sp>
      <p:sp>
        <p:nvSpPr>
          <p:cNvPr id="46084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56620" indent="-291008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64031" indent="-232806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29644" indent="-232806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95256" indent="-232806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60869" indent="-23280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3026481" indent="-23280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92094" indent="-23280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957706" indent="-23280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sz="1200" smtClean="0"/>
              <a:t>© Ericsson AB 2014 </a:t>
            </a:r>
            <a:endParaRPr lang="en-US" sz="1200"/>
          </a:p>
        </p:txBody>
      </p:sp>
      <p:sp>
        <p:nvSpPr>
          <p:cNvPr id="4608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56620" indent="-291008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64031" indent="-232806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29644" indent="-232806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95256" indent="-232806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60869" indent="-23280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3026481" indent="-23280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92094" indent="-23280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957706" indent="-23280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1FD508F8-33D9-4FE5-85A1-EA43F2F613BC}" type="slidenum">
              <a:rPr lang="en-US" sz="1200" smtClean="0"/>
              <a:t>7</a:t>
            </a:fld>
            <a:endParaRPr lang="en-US" sz="1200"/>
          </a:p>
        </p:txBody>
      </p:sp>
      <p:sp>
        <p:nvSpPr>
          <p:cNvPr id="460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3188" y="750888"/>
            <a:ext cx="6678612" cy="3757612"/>
          </a:xfrm>
          <a:ln/>
        </p:spPr>
      </p:sp>
      <p:sp>
        <p:nvSpPr>
          <p:cNvPr id="46087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marL="232806" indent="-232806" eaLnBrk="1" hangingPunct="1"/>
            <a:endParaRPr lang="en-US" b="1" dirty="0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93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3188" y="750888"/>
            <a:ext cx="6678612" cy="37576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7939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4AC677-15A7-43B7-9BBF-F1881740D72F}" type="slidenum">
              <a:rPr lang="en-US" smtClean="0"/>
              <a:t>8</a:t>
            </a:fld>
            <a:endParaRPr lang="en-US"/>
          </a:p>
        </p:txBody>
      </p:sp>
      <p:sp>
        <p:nvSpPr>
          <p:cNvPr id="3" name="Header Placeholder 2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smtClean="0"/>
              <a:t>Clouding The Networked Society 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smtClean="0"/>
              <a:t>© Ericsson AB 2014 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 smtClean="0"/>
              <a:t>2014-08-11 </a:t>
            </a:r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3188" y="750888"/>
            <a:ext cx="6678612" cy="3757612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8975" y="4759325"/>
            <a:ext cx="5507038" cy="45085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46" tIns="46273" rIns="92546" bIns="46273"/>
          <a:lstStyle/>
          <a:p>
            <a:pPr lvl="0" rtl="0" fontAlgn="ctr"/>
            <a:endParaRPr lang="es-ES" sz="1200" b="0" i="0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30724" name="Date Placeholder 3"/>
          <p:cNvSpPr>
            <a:spLocks noGrp="1"/>
          </p:cNvSpPr>
          <p:nvPr>
            <p:ph type="dt" sz="quarter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sz="1200" smtClean="0">
                <a:cs typeface="Arial" pitchFamily="34" charset="0"/>
              </a:rPr>
              <a:t>2014-08-11 </a:t>
            </a:r>
            <a:endParaRPr lang="en-US" sz="1200" smtClean="0">
              <a:cs typeface="Arial" pitchFamily="34" charset="0"/>
            </a:endParaRPr>
          </a:p>
        </p:txBody>
      </p:sp>
      <p:sp>
        <p:nvSpPr>
          <p:cNvPr id="30725" name="Slide Number Placeholder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064BAFEF-2AA5-4007-A1AF-5437C909A834}" type="slidenum">
              <a:rPr lang="en-US" sz="1200" smtClean="0"/>
              <a:t>9</a:t>
            </a:fld>
            <a:endParaRPr lang="en-US" sz="1200" smtClean="0"/>
          </a:p>
        </p:txBody>
      </p:sp>
      <p:sp>
        <p:nvSpPr>
          <p:cNvPr id="30726" name="Header Placeholder 5"/>
          <p:cNvSpPr>
            <a:spLocks noGrp="1"/>
          </p:cNvSpPr>
          <p:nvPr>
            <p:ph type="hdr" sz="quarter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sz="1200" smtClean="0">
                <a:cs typeface="Arial" pitchFamily="34" charset="0"/>
              </a:rPr>
              <a:t>Clouding The Networked Society </a:t>
            </a:r>
            <a:endParaRPr lang="en-US" sz="1200" smtClean="0">
              <a:cs typeface="Arial" pitchFamily="34" charset="0"/>
            </a:endParaRPr>
          </a:p>
        </p:txBody>
      </p:sp>
      <p:sp>
        <p:nvSpPr>
          <p:cNvPr id="30727" name="Footer Placeholder 6"/>
          <p:cNvSpPr>
            <a:spLocks noGrp="1"/>
          </p:cNvSpPr>
          <p:nvPr>
            <p:ph type="ftr" sz="quarter" idx="4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sz="1200" smtClean="0">
                <a:cs typeface="Arial" pitchFamily="34" charset="0"/>
              </a:rPr>
              <a:t>© Ericsson AB 2014 </a:t>
            </a:r>
            <a:endParaRPr lang="en-US" sz="1200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eftInfo"/>
          <p:cNvSpPr txBox="1">
            <a:spLocks noChangeArrowheads="1"/>
          </p:cNvSpPr>
          <p:nvPr/>
        </p:nvSpPr>
        <p:spPr bwMode="auto">
          <a:xfrm>
            <a:off x="-2019298" y="2828925"/>
            <a:ext cx="1968500" cy="341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r>
              <a:rPr lang="en-US" sz="1200">
                <a:solidFill>
                  <a:srgbClr val="FFFFFF"/>
                </a:solidFill>
              </a:rPr>
              <a:t>Slide title</a:t>
            </a:r>
          </a:p>
          <a:p>
            <a:pPr algn="r" eaLnBrk="1" hangingPunct="1">
              <a:spcBef>
                <a:spcPct val="0"/>
              </a:spcBef>
            </a:pPr>
            <a:r>
              <a:rPr lang="en-US" sz="1200">
                <a:solidFill>
                  <a:srgbClr val="FFFFFF"/>
                </a:solidFill>
              </a:rPr>
              <a:t>70 pt</a:t>
            </a:r>
          </a:p>
          <a:p>
            <a:pPr algn="r" eaLnBrk="1" hangingPunct="1">
              <a:spcBef>
                <a:spcPct val="0"/>
              </a:spcBef>
            </a:pPr>
            <a:endParaRPr lang="en-US" sz="1200">
              <a:solidFill>
                <a:srgbClr val="FFFFFF"/>
              </a:solidFill>
            </a:endParaRPr>
          </a:p>
          <a:p>
            <a:pPr algn="r" eaLnBrk="1" hangingPunct="1">
              <a:spcBef>
                <a:spcPct val="0"/>
              </a:spcBef>
            </a:pPr>
            <a:endParaRPr lang="en-US" sz="1200">
              <a:solidFill>
                <a:srgbClr val="FFFFFF"/>
              </a:solidFill>
            </a:endParaRPr>
          </a:p>
          <a:p>
            <a:pPr algn="r" eaLnBrk="1" hangingPunct="1">
              <a:spcBef>
                <a:spcPct val="0"/>
              </a:spcBef>
            </a:pPr>
            <a:endParaRPr lang="en-US" sz="1200">
              <a:solidFill>
                <a:srgbClr val="FFFFFF"/>
              </a:solidFill>
            </a:endParaRPr>
          </a:p>
          <a:p>
            <a:pPr algn="r" eaLnBrk="1" hangingPunct="1">
              <a:spcBef>
                <a:spcPct val="0"/>
              </a:spcBef>
            </a:pPr>
            <a:r>
              <a:rPr lang="en-US" sz="1200">
                <a:solidFill>
                  <a:srgbClr val="9FB7D3"/>
                </a:solidFill>
              </a:rPr>
              <a:t>CAPITALS</a:t>
            </a:r>
          </a:p>
          <a:p>
            <a:pPr algn="r" eaLnBrk="1" hangingPunct="1">
              <a:spcBef>
                <a:spcPct val="0"/>
              </a:spcBef>
            </a:pPr>
            <a:endParaRPr lang="en-US" sz="1200">
              <a:solidFill>
                <a:srgbClr val="FFFFFF"/>
              </a:solidFill>
            </a:endParaRPr>
          </a:p>
          <a:p>
            <a:pPr algn="r" eaLnBrk="1" hangingPunct="1">
              <a:spcBef>
                <a:spcPct val="0"/>
              </a:spcBef>
            </a:pPr>
            <a:endParaRPr lang="en-US" sz="1200">
              <a:solidFill>
                <a:srgbClr val="FFFFFF"/>
              </a:solidFill>
            </a:endParaRPr>
          </a:p>
          <a:p>
            <a:pPr algn="r" eaLnBrk="1" hangingPunct="1">
              <a:spcBef>
                <a:spcPct val="0"/>
              </a:spcBef>
            </a:pPr>
            <a:endParaRPr lang="en-US" sz="1200">
              <a:solidFill>
                <a:srgbClr val="FFFFFF"/>
              </a:solidFill>
            </a:endParaRPr>
          </a:p>
          <a:p>
            <a:pPr algn="r" eaLnBrk="1" hangingPunct="1">
              <a:spcBef>
                <a:spcPct val="0"/>
              </a:spcBef>
            </a:pPr>
            <a:endParaRPr lang="en-US" sz="1200">
              <a:solidFill>
                <a:srgbClr val="FFFFFF"/>
              </a:solidFill>
            </a:endParaRPr>
          </a:p>
          <a:p>
            <a:pPr algn="r" eaLnBrk="1" hangingPunct="1">
              <a:spcBef>
                <a:spcPct val="0"/>
              </a:spcBef>
            </a:pPr>
            <a:endParaRPr lang="en-US" sz="1200">
              <a:solidFill>
                <a:srgbClr val="FFFFFF"/>
              </a:solidFill>
            </a:endParaRPr>
          </a:p>
          <a:p>
            <a:pPr algn="r" eaLnBrk="1" hangingPunct="1">
              <a:spcBef>
                <a:spcPct val="0"/>
              </a:spcBef>
            </a:pPr>
            <a:endParaRPr lang="en-US" sz="1200">
              <a:solidFill>
                <a:srgbClr val="FFFFFF"/>
              </a:solidFill>
            </a:endParaRPr>
          </a:p>
          <a:p>
            <a:pPr algn="r" eaLnBrk="1" hangingPunct="1">
              <a:spcBef>
                <a:spcPct val="0"/>
              </a:spcBef>
            </a:pPr>
            <a:endParaRPr lang="en-US" sz="1200">
              <a:solidFill>
                <a:srgbClr val="FFFFFF"/>
              </a:solidFill>
            </a:endParaRPr>
          </a:p>
          <a:p>
            <a:pPr algn="r" eaLnBrk="1" hangingPunct="1">
              <a:spcBef>
                <a:spcPct val="0"/>
              </a:spcBef>
            </a:pPr>
            <a:endParaRPr lang="en-US" sz="1200">
              <a:solidFill>
                <a:srgbClr val="FFFFFF"/>
              </a:solidFill>
            </a:endParaRPr>
          </a:p>
          <a:p>
            <a:pPr algn="r" eaLnBrk="1" hangingPunct="1">
              <a:spcBef>
                <a:spcPct val="0"/>
              </a:spcBef>
            </a:pPr>
            <a:endParaRPr lang="en-US" sz="1200">
              <a:solidFill>
                <a:srgbClr val="FFFFFF"/>
              </a:solidFill>
            </a:endParaRPr>
          </a:p>
          <a:p>
            <a:pPr algn="r" eaLnBrk="1" hangingPunct="1">
              <a:spcBef>
                <a:spcPct val="0"/>
              </a:spcBef>
            </a:pPr>
            <a:r>
              <a:rPr lang="en-US" sz="1200">
                <a:solidFill>
                  <a:srgbClr val="FFFFFF"/>
                </a:solidFill>
              </a:rPr>
              <a:t>Slide subtitle </a:t>
            </a:r>
          </a:p>
          <a:p>
            <a:pPr algn="r" eaLnBrk="1" hangingPunct="1">
              <a:spcBef>
                <a:spcPct val="0"/>
              </a:spcBef>
            </a:pPr>
            <a:r>
              <a:rPr lang="en-US" sz="1200">
                <a:solidFill>
                  <a:srgbClr val="FFFFFF"/>
                </a:solidFill>
              </a:rPr>
              <a:t>minimum 30 pt</a:t>
            </a:r>
          </a:p>
          <a:p>
            <a:pPr algn="r" eaLnBrk="1" hangingPunct="1">
              <a:spcBef>
                <a:spcPct val="0"/>
              </a:spcBef>
            </a:pPr>
            <a:endParaRPr lang="en-GB" sz="1200">
              <a:solidFill>
                <a:schemeClr val="bg1"/>
              </a:solidFill>
            </a:endParaRPr>
          </a:p>
        </p:txBody>
      </p:sp>
      <p:pic>
        <p:nvPicPr>
          <p:cNvPr id="5" name="Logo2011" descr="ERI_UF_rgb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8483" y="432004"/>
            <a:ext cx="1027112" cy="90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0" name="SubTitle_TM"/>
          <p:cNvSpPr>
            <a:spLocks noGrp="1" noChangeArrowheads="1"/>
          </p:cNvSpPr>
          <p:nvPr>
            <p:ph type="subTitle" idx="1"/>
          </p:nvPr>
        </p:nvSpPr>
        <p:spPr>
          <a:xfrm>
            <a:off x="524933" y="5137205"/>
            <a:ext cx="11140019" cy="1386001"/>
          </a:xfrm>
        </p:spPr>
        <p:txBody>
          <a:bodyPr anchor="b"/>
          <a:lstStyle>
            <a:lvl1pPr marL="0" indent="0">
              <a:lnSpc>
                <a:spcPct val="75000"/>
              </a:lnSpc>
              <a:spcBef>
                <a:spcPts val="0"/>
              </a:spcBef>
              <a:buFont typeface="Arial" charset="0"/>
              <a:buNone/>
              <a:defRPr sz="3000" baseline="0">
                <a:latin typeface="+mn-lt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sp>
        <p:nvSpPr>
          <p:cNvPr id="22531" name="Title_TM"/>
          <p:cNvSpPr>
            <a:spLocks noGrp="1" noChangeArrowheads="1"/>
          </p:cNvSpPr>
          <p:nvPr>
            <p:ph type="ctrTitle"/>
          </p:nvPr>
        </p:nvSpPr>
        <p:spPr>
          <a:xfrm>
            <a:off x="524937" y="1808713"/>
            <a:ext cx="11135785" cy="2839491"/>
          </a:xfrm>
        </p:spPr>
        <p:txBody>
          <a:bodyPr>
            <a:normAutofit/>
          </a:bodyPr>
          <a:lstStyle>
            <a:lvl1pPr>
              <a:lnSpc>
                <a:spcPct val="75000"/>
              </a:lnSpc>
              <a:defRPr sz="7000">
                <a:latin typeface="Ericsson Capital T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1078745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two horizontal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sz="quarter" idx="11"/>
          </p:nvPr>
        </p:nvSpPr>
        <p:spPr>
          <a:xfrm>
            <a:off x="524937" y="4010025"/>
            <a:ext cx="11140017" cy="2070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Content Placeholder 1"/>
          <p:cNvSpPr>
            <a:spLocks noGrp="1"/>
          </p:cNvSpPr>
          <p:nvPr>
            <p:ph sz="quarter" idx="10"/>
          </p:nvPr>
        </p:nvSpPr>
        <p:spPr>
          <a:xfrm>
            <a:off x="524935" y="1795463"/>
            <a:ext cx="11140016" cy="2070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24935" y="239718"/>
            <a:ext cx="9992784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59095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Content over two content p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3"/>
          <p:cNvSpPr>
            <a:spLocks noGrp="1"/>
          </p:cNvSpPr>
          <p:nvPr>
            <p:ph sz="quarter" idx="11"/>
          </p:nvPr>
        </p:nvSpPr>
        <p:spPr>
          <a:xfrm>
            <a:off x="6193367" y="4010025"/>
            <a:ext cx="5471584" cy="2070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2"/>
          </p:nvPr>
        </p:nvSpPr>
        <p:spPr>
          <a:xfrm>
            <a:off x="524935" y="4010025"/>
            <a:ext cx="5473700" cy="2070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529167" y="1795463"/>
            <a:ext cx="11135784" cy="2070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24935" y="239718"/>
            <a:ext cx="9992784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41222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two content parts over conten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2"/>
          </p:nvPr>
        </p:nvSpPr>
        <p:spPr>
          <a:xfrm>
            <a:off x="524937" y="4010025"/>
            <a:ext cx="11140017" cy="2070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Content Placeholder 2"/>
          <p:cNvSpPr>
            <a:spLocks noGrp="1"/>
          </p:cNvSpPr>
          <p:nvPr>
            <p:ph sz="quarter" idx="10"/>
          </p:nvPr>
        </p:nvSpPr>
        <p:spPr>
          <a:xfrm>
            <a:off x="6193367" y="1795463"/>
            <a:ext cx="5471584" cy="2070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529168" y="1795463"/>
            <a:ext cx="5469467" cy="2070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24935" y="239718"/>
            <a:ext cx="9992784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86377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3"/>
          <p:cNvSpPr>
            <a:spLocks noGrp="1"/>
          </p:cNvSpPr>
          <p:nvPr>
            <p:ph sz="quarter" idx="3"/>
          </p:nvPr>
        </p:nvSpPr>
        <p:spPr>
          <a:xfrm>
            <a:off x="6193370" y="4013205"/>
            <a:ext cx="5467351" cy="20669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sz="quarter" idx="2"/>
          </p:nvPr>
        </p:nvSpPr>
        <p:spPr>
          <a:xfrm>
            <a:off x="6193370" y="1795468"/>
            <a:ext cx="5467351" cy="20653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Content Placeholder 1"/>
          <p:cNvSpPr>
            <a:spLocks noGrp="1"/>
          </p:cNvSpPr>
          <p:nvPr>
            <p:ph sz="half" idx="1"/>
          </p:nvPr>
        </p:nvSpPr>
        <p:spPr>
          <a:xfrm>
            <a:off x="524937" y="1795463"/>
            <a:ext cx="5465233" cy="42846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4935" y="239718"/>
            <a:ext cx="9992784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67095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3"/>
          <p:cNvSpPr>
            <a:spLocks noGrp="1"/>
          </p:cNvSpPr>
          <p:nvPr>
            <p:ph sz="half" idx="3"/>
          </p:nvPr>
        </p:nvSpPr>
        <p:spPr>
          <a:xfrm>
            <a:off x="6197602" y="1795463"/>
            <a:ext cx="5467351" cy="42846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sz="quarter" idx="2"/>
          </p:nvPr>
        </p:nvSpPr>
        <p:spPr>
          <a:xfrm>
            <a:off x="529170" y="4013205"/>
            <a:ext cx="5465233" cy="20669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Content Placeholder 1"/>
          <p:cNvSpPr>
            <a:spLocks noGrp="1"/>
          </p:cNvSpPr>
          <p:nvPr>
            <p:ph sz="quarter" idx="1"/>
          </p:nvPr>
        </p:nvSpPr>
        <p:spPr>
          <a:xfrm>
            <a:off x="529170" y="1795468"/>
            <a:ext cx="5465233" cy="20653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4935" y="239718"/>
            <a:ext cx="9992784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25426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/>
          <p:cNvSpPr>
            <a:spLocks noGrp="1"/>
          </p:cNvSpPr>
          <p:nvPr>
            <p:ph sz="quarter" idx="4"/>
          </p:nvPr>
        </p:nvSpPr>
        <p:spPr>
          <a:xfrm>
            <a:off x="6197602" y="4022729"/>
            <a:ext cx="5467351" cy="20669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quarter" idx="3"/>
          </p:nvPr>
        </p:nvSpPr>
        <p:spPr>
          <a:xfrm>
            <a:off x="529170" y="4022729"/>
            <a:ext cx="5465233" cy="20669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sz="quarter" idx="2"/>
          </p:nvPr>
        </p:nvSpPr>
        <p:spPr>
          <a:xfrm>
            <a:off x="6197602" y="1804993"/>
            <a:ext cx="5467351" cy="20653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Content Placeholder 1"/>
          <p:cNvSpPr>
            <a:spLocks noGrp="1"/>
          </p:cNvSpPr>
          <p:nvPr>
            <p:ph sz="quarter" idx="1"/>
          </p:nvPr>
        </p:nvSpPr>
        <p:spPr>
          <a:xfrm>
            <a:off x="529170" y="1804993"/>
            <a:ext cx="5465233" cy="20653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524935" y="239718"/>
            <a:ext cx="9992784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3041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4935" y="239718"/>
            <a:ext cx="9992784" cy="108537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28481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75062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5464" y="239713"/>
            <a:ext cx="9991725" cy="10858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8637" y="1800231"/>
            <a:ext cx="11136312" cy="38512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7562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9170" y="1376363"/>
            <a:ext cx="5465233" cy="42846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3" y="1376363"/>
            <a:ext cx="5467351" cy="42846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57156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529170" y="1800000"/>
            <a:ext cx="11135785" cy="38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4935" y="239718"/>
            <a:ext cx="9992784" cy="108537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69188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eftInfo"/>
          <p:cNvSpPr txBox="1">
            <a:spLocks noChangeArrowheads="1"/>
          </p:cNvSpPr>
          <p:nvPr/>
        </p:nvSpPr>
        <p:spPr bwMode="auto">
          <a:xfrm>
            <a:off x="-2019298" y="2828925"/>
            <a:ext cx="1968500" cy="341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1200" smtClean="0">
                <a:solidFill>
                  <a:srgbClr val="FFFFFF"/>
                </a:solidFill>
              </a:rPr>
              <a:t>Slide title</a:t>
            </a:r>
          </a:p>
          <a:p>
            <a:pPr algn="r" eaLnBrk="1" hangingPunct="1">
              <a:defRPr/>
            </a:pPr>
            <a:r>
              <a:rPr lang="en-US" sz="1200" smtClean="0">
                <a:solidFill>
                  <a:srgbClr val="FFFFFF"/>
                </a:solidFill>
              </a:rPr>
              <a:t>70 pt</a:t>
            </a:r>
          </a:p>
          <a:p>
            <a:pPr algn="r" eaLnBrk="1" hangingPunct="1">
              <a:defRPr/>
            </a:pPr>
            <a:endParaRPr lang="en-US" sz="1200" smtClean="0">
              <a:solidFill>
                <a:srgbClr val="FFFFFF"/>
              </a:solidFill>
            </a:endParaRPr>
          </a:p>
          <a:p>
            <a:pPr algn="r" eaLnBrk="1" hangingPunct="1">
              <a:defRPr/>
            </a:pPr>
            <a:endParaRPr lang="en-US" sz="1200" smtClean="0">
              <a:solidFill>
                <a:srgbClr val="FFFFFF"/>
              </a:solidFill>
            </a:endParaRPr>
          </a:p>
          <a:p>
            <a:pPr algn="r" eaLnBrk="1" hangingPunct="1">
              <a:defRPr/>
            </a:pPr>
            <a:endParaRPr lang="en-US" sz="1200" smtClean="0">
              <a:solidFill>
                <a:srgbClr val="FFFFFF"/>
              </a:solidFill>
            </a:endParaRPr>
          </a:p>
          <a:p>
            <a:pPr algn="r" eaLnBrk="1" hangingPunct="1">
              <a:defRPr/>
            </a:pPr>
            <a:r>
              <a:rPr lang="en-US" sz="1200" smtClean="0">
                <a:solidFill>
                  <a:srgbClr val="9FB7D3"/>
                </a:solidFill>
              </a:rPr>
              <a:t>CAPITALS</a:t>
            </a:r>
          </a:p>
          <a:p>
            <a:pPr algn="r" eaLnBrk="1" hangingPunct="1">
              <a:defRPr/>
            </a:pPr>
            <a:endParaRPr lang="en-US" sz="1200" smtClean="0">
              <a:solidFill>
                <a:srgbClr val="FFFFFF"/>
              </a:solidFill>
            </a:endParaRPr>
          </a:p>
          <a:p>
            <a:pPr algn="r" eaLnBrk="1" hangingPunct="1">
              <a:defRPr/>
            </a:pPr>
            <a:endParaRPr lang="en-US" sz="1200" smtClean="0">
              <a:solidFill>
                <a:srgbClr val="FFFFFF"/>
              </a:solidFill>
            </a:endParaRPr>
          </a:p>
          <a:p>
            <a:pPr algn="r" eaLnBrk="1" hangingPunct="1">
              <a:defRPr/>
            </a:pPr>
            <a:endParaRPr lang="en-US" sz="1200" smtClean="0">
              <a:solidFill>
                <a:srgbClr val="FFFFFF"/>
              </a:solidFill>
            </a:endParaRPr>
          </a:p>
          <a:p>
            <a:pPr algn="r" eaLnBrk="1" hangingPunct="1">
              <a:defRPr/>
            </a:pPr>
            <a:endParaRPr lang="en-US" sz="1200" smtClean="0">
              <a:solidFill>
                <a:srgbClr val="FFFFFF"/>
              </a:solidFill>
            </a:endParaRPr>
          </a:p>
          <a:p>
            <a:pPr algn="r" eaLnBrk="1" hangingPunct="1">
              <a:defRPr/>
            </a:pPr>
            <a:endParaRPr lang="en-US" sz="1200" smtClean="0">
              <a:solidFill>
                <a:srgbClr val="FFFFFF"/>
              </a:solidFill>
            </a:endParaRPr>
          </a:p>
          <a:p>
            <a:pPr algn="r" eaLnBrk="1" hangingPunct="1">
              <a:defRPr/>
            </a:pPr>
            <a:endParaRPr lang="en-US" sz="1200" smtClean="0">
              <a:solidFill>
                <a:srgbClr val="FFFFFF"/>
              </a:solidFill>
            </a:endParaRPr>
          </a:p>
          <a:p>
            <a:pPr algn="r" eaLnBrk="1" hangingPunct="1">
              <a:defRPr/>
            </a:pPr>
            <a:endParaRPr lang="en-US" sz="1200" smtClean="0">
              <a:solidFill>
                <a:srgbClr val="FFFFFF"/>
              </a:solidFill>
            </a:endParaRPr>
          </a:p>
          <a:p>
            <a:pPr algn="r" eaLnBrk="1" hangingPunct="1">
              <a:defRPr/>
            </a:pPr>
            <a:endParaRPr lang="en-US" sz="1200" smtClean="0">
              <a:solidFill>
                <a:srgbClr val="FFFFFF"/>
              </a:solidFill>
            </a:endParaRPr>
          </a:p>
          <a:p>
            <a:pPr algn="r" eaLnBrk="1" hangingPunct="1">
              <a:defRPr/>
            </a:pPr>
            <a:endParaRPr lang="en-US" sz="1200" smtClean="0">
              <a:solidFill>
                <a:srgbClr val="FFFFFF"/>
              </a:solidFill>
            </a:endParaRPr>
          </a:p>
          <a:p>
            <a:pPr algn="r" eaLnBrk="1" hangingPunct="1">
              <a:defRPr/>
            </a:pPr>
            <a:r>
              <a:rPr lang="en-US" sz="1200" smtClean="0">
                <a:solidFill>
                  <a:srgbClr val="FFFFFF"/>
                </a:solidFill>
              </a:rPr>
              <a:t>Slide subtitle </a:t>
            </a:r>
          </a:p>
          <a:p>
            <a:pPr algn="r" eaLnBrk="1" hangingPunct="1">
              <a:defRPr/>
            </a:pPr>
            <a:r>
              <a:rPr lang="en-US" sz="1200" smtClean="0">
                <a:solidFill>
                  <a:srgbClr val="FFFFFF"/>
                </a:solidFill>
              </a:rPr>
              <a:t>minimum 30 pt</a:t>
            </a:r>
          </a:p>
          <a:p>
            <a:pPr algn="r" eaLnBrk="1" hangingPunct="1">
              <a:defRPr/>
            </a:pPr>
            <a:endParaRPr lang="en-GB" sz="1200" smtClean="0">
              <a:solidFill>
                <a:srgbClr val="FFFFFF"/>
              </a:solidFill>
            </a:endParaRPr>
          </a:p>
        </p:txBody>
      </p:sp>
      <p:pic>
        <p:nvPicPr>
          <p:cNvPr id="5" name="Logo2011" descr="Ericsson_Logo_Vertical_MSPowerPoint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95467" y="431802"/>
            <a:ext cx="1397000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707" name="Rectangle 11"/>
          <p:cNvSpPr>
            <a:spLocks noGrp="1" noChangeArrowheads="1"/>
          </p:cNvSpPr>
          <p:nvPr>
            <p:ph type="ctrTitle" sz="quarter"/>
          </p:nvPr>
        </p:nvSpPr>
        <p:spPr>
          <a:xfrm>
            <a:off x="524933" y="1808166"/>
            <a:ext cx="11135784" cy="284003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40" tIns="45720" rIns="91440" bIns="45720"/>
          <a:lstStyle>
            <a:lvl1pPr>
              <a:defRPr sz="7000" smtClean="0">
                <a:latin typeface="Ericsson Capital TT" pitchFamily="2" charset="0"/>
              </a:defRPr>
            </a:lvl1pPr>
          </a:lstStyle>
          <a:p>
            <a:pPr lvl="0"/>
            <a:r>
              <a:rPr lang="en-US" noProof="0" smtClean="0"/>
              <a:t>Click to add Title</a:t>
            </a:r>
          </a:p>
        </p:txBody>
      </p:sp>
      <p:sp>
        <p:nvSpPr>
          <p:cNvPr id="29708" name="Rectangle 12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24936" y="5137150"/>
            <a:ext cx="11140017" cy="1385888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40" tIns="45720" rIns="91440" bIns="45720" anchor="b"/>
          <a:lstStyle>
            <a:lvl1pPr marL="0" indent="0">
              <a:buFont typeface="Arial" charset="0"/>
              <a:buNone/>
              <a:defRPr sz="3000" smtClean="0"/>
            </a:lvl1pPr>
          </a:lstStyle>
          <a:p>
            <a:pPr lvl="0"/>
            <a:r>
              <a:rPr lang="en-US" noProof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868582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529169" y="1800000"/>
            <a:ext cx="11135785" cy="38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4935" y="239716"/>
            <a:ext cx="9992784" cy="108537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10039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3"/>
          <p:cNvSpPr>
            <a:spLocks noGrp="1"/>
          </p:cNvSpPr>
          <p:nvPr>
            <p:ph sz="quarter" idx="3"/>
          </p:nvPr>
        </p:nvSpPr>
        <p:spPr>
          <a:xfrm>
            <a:off x="6193369" y="1795464"/>
            <a:ext cx="5467351" cy="428466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Content Placeholder 1"/>
          <p:cNvSpPr>
            <a:spLocks noGrp="1"/>
          </p:cNvSpPr>
          <p:nvPr>
            <p:ph sz="half" idx="1"/>
          </p:nvPr>
        </p:nvSpPr>
        <p:spPr>
          <a:xfrm>
            <a:off x="524936" y="1795463"/>
            <a:ext cx="5465233" cy="42846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4935" y="239716"/>
            <a:ext cx="9992784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966327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2"/>
          </p:nvPr>
        </p:nvSpPr>
        <p:spPr>
          <a:xfrm>
            <a:off x="8081435" y="1800225"/>
            <a:ext cx="3583517" cy="4724399"/>
          </a:xfrm>
        </p:spPr>
        <p:txBody>
          <a:bodyPr/>
          <a:lstStyle/>
          <a:p>
            <a:pPr lvl="0"/>
            <a:r>
              <a:rPr lang="en-US" dirty="0" err="1" smtClean="0"/>
              <a:t>Click to edit Master text styles</a:t>
            </a:r>
          </a:p>
          <a:p>
            <a:pPr lvl="1"/>
            <a:r>
              <a:rPr lang="en-US" dirty="0" err="1" smtClean="0"/>
              <a:t>Second level</a:t>
            </a:r>
          </a:p>
          <a:p>
            <a:pPr lvl="2"/>
            <a:r>
              <a:rPr lang="en-US" dirty="0" err="1" smtClean="0"/>
              <a:t>Third level</a:t>
            </a:r>
          </a:p>
          <a:p>
            <a:pPr lvl="3"/>
            <a:r>
              <a:rPr lang="en-US" dirty="0" err="1" smtClean="0"/>
              <a:t>Fourth level</a:t>
            </a:r>
          </a:p>
          <a:p>
            <a:pPr lvl="4"/>
            <a:r>
              <a:rPr lang="en-US" dirty="0" err="1" smtClean="0"/>
              <a:t>Fifth level</a:t>
            </a:r>
            <a:endParaRPr lang="en-US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/>
          </p:nvPr>
        </p:nvSpPr>
        <p:spPr>
          <a:xfrm>
            <a:off x="4305300" y="1800225"/>
            <a:ext cx="3583517" cy="4724399"/>
          </a:xfrm>
        </p:spPr>
        <p:txBody>
          <a:bodyPr/>
          <a:lstStyle/>
          <a:p>
            <a:pPr lvl="0"/>
            <a:r>
              <a:rPr lang="en-US" dirty="0" err="1" smtClean="0"/>
              <a:t>Click to edit Master text styles</a:t>
            </a:r>
          </a:p>
          <a:p>
            <a:pPr lvl="1"/>
            <a:r>
              <a:rPr lang="en-US" dirty="0" err="1" smtClean="0"/>
              <a:t>Second level</a:t>
            </a:r>
          </a:p>
          <a:p>
            <a:pPr lvl="2"/>
            <a:r>
              <a:rPr lang="en-US" dirty="0" err="1" smtClean="0"/>
              <a:t>Third level</a:t>
            </a:r>
          </a:p>
          <a:p>
            <a:pPr lvl="3"/>
            <a:r>
              <a:rPr lang="en-US" dirty="0" err="1" smtClean="0"/>
              <a:t>Fourth level</a:t>
            </a:r>
          </a:p>
          <a:p>
            <a:pPr lvl="4"/>
            <a:r>
              <a:rPr lang="en-US" dirty="0" err="1" smtClean="0"/>
              <a:t>Fifth level</a:t>
            </a:r>
            <a:endParaRPr lang="en-US" dirty="0" smtClean="0"/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/>
          </p:nvPr>
        </p:nvSpPr>
        <p:spPr>
          <a:xfrm>
            <a:off x="524935" y="1800225"/>
            <a:ext cx="3583517" cy="4724399"/>
          </a:xfrm>
        </p:spPr>
        <p:txBody>
          <a:bodyPr/>
          <a:lstStyle/>
          <a:p>
            <a:pPr lvl="0"/>
            <a:r>
              <a:rPr lang="en-US" dirty="0" err="1" smtClean="0"/>
              <a:t>Click to edit Master text styles</a:t>
            </a:r>
          </a:p>
          <a:p>
            <a:pPr lvl="1"/>
            <a:r>
              <a:rPr lang="en-US" dirty="0" err="1" smtClean="0"/>
              <a:t>Second level</a:t>
            </a:r>
          </a:p>
          <a:p>
            <a:pPr lvl="2"/>
            <a:r>
              <a:rPr lang="en-US" dirty="0" err="1" smtClean="0"/>
              <a:t>Third level</a:t>
            </a:r>
          </a:p>
          <a:p>
            <a:pPr lvl="3"/>
            <a:r>
              <a:rPr lang="en-US" dirty="0" err="1" smtClean="0"/>
              <a:t>Fourth level</a:t>
            </a:r>
          </a:p>
          <a:p>
            <a:pPr lvl="4"/>
            <a:r>
              <a:rPr lang="en-US" dirty="0" err="1" smtClean="0"/>
              <a:t>Fifth level</a:t>
            </a:r>
            <a:endParaRPr lang="en-US" dirty="0" smtClean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524935" y="239716"/>
            <a:ext cx="9992784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990850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itle,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/>
          </p:nvPr>
        </p:nvSpPr>
        <p:spPr>
          <a:xfrm>
            <a:off x="524935" y="1800225"/>
            <a:ext cx="5473700" cy="4724400"/>
          </a:xfrm>
        </p:spPr>
        <p:txBody>
          <a:bodyPr/>
          <a:lstStyle/>
          <a:p>
            <a:pPr lvl="0"/>
            <a:r>
              <a:rPr lang="en-US" dirty="0" err="1" smtClean="0"/>
              <a:t>Click to edit Master text styles</a:t>
            </a:r>
          </a:p>
          <a:p>
            <a:pPr lvl="1"/>
            <a:r>
              <a:rPr lang="en-US" dirty="0" err="1" smtClean="0"/>
              <a:t>Second level</a:t>
            </a:r>
          </a:p>
          <a:p>
            <a:pPr lvl="2"/>
            <a:r>
              <a:rPr lang="en-US" dirty="0" err="1" smtClean="0"/>
              <a:t>Third level</a:t>
            </a:r>
          </a:p>
          <a:p>
            <a:pPr lvl="3"/>
            <a:r>
              <a:rPr lang="en-US" dirty="0" err="1" smtClean="0"/>
              <a:t>Fourth level</a:t>
            </a:r>
          </a:p>
          <a:p>
            <a:pPr lvl="4"/>
            <a:r>
              <a:rPr lang="en-US" dirty="0" err="1" smtClean="0"/>
              <a:t>Fifth level</a:t>
            </a:r>
            <a:endParaRPr lang="en-US" dirty="0" smtClean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524937" y="239716"/>
            <a:ext cx="9992783" cy="108537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3983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,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/>
          </p:nvPr>
        </p:nvSpPr>
        <p:spPr>
          <a:xfrm>
            <a:off x="524934" y="1800225"/>
            <a:ext cx="5139267" cy="4724400"/>
          </a:xfrm>
        </p:spPr>
        <p:txBody>
          <a:bodyPr/>
          <a:lstStyle/>
          <a:p>
            <a:pPr lvl="0"/>
            <a:r>
              <a:rPr lang="en-US" dirty="0" err="1" smtClean="0"/>
              <a:t>Click to edit Master text styles</a:t>
            </a:r>
          </a:p>
          <a:p>
            <a:pPr lvl="1"/>
            <a:r>
              <a:rPr lang="en-US" dirty="0" err="1" smtClean="0"/>
              <a:t>Second level</a:t>
            </a:r>
          </a:p>
          <a:p>
            <a:pPr lvl="2"/>
            <a:r>
              <a:rPr lang="en-US" dirty="0" err="1" smtClean="0"/>
              <a:t>Third level</a:t>
            </a:r>
          </a:p>
          <a:p>
            <a:pPr lvl="3"/>
            <a:r>
              <a:rPr lang="en-US" dirty="0" err="1" smtClean="0"/>
              <a:t>Fourth level</a:t>
            </a:r>
          </a:p>
          <a:p>
            <a:pPr lvl="4"/>
            <a:r>
              <a:rPr lang="en-US" dirty="0" err="1" smtClean="0"/>
              <a:t>Fifth level</a:t>
            </a:r>
            <a:endParaRPr lang="en-US" dirty="0" smtClean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524937" y="239716"/>
            <a:ext cx="5139265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58036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itle,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/>
          </p:nvPr>
        </p:nvSpPr>
        <p:spPr>
          <a:xfrm>
            <a:off x="6191251" y="1800225"/>
            <a:ext cx="5473700" cy="4724400"/>
          </a:xfrm>
        </p:spPr>
        <p:txBody>
          <a:bodyPr/>
          <a:lstStyle/>
          <a:p>
            <a:pPr lvl="0"/>
            <a:r>
              <a:rPr lang="en-US" dirty="0" err="1" smtClean="0"/>
              <a:t>Click to edit Master text styles</a:t>
            </a:r>
          </a:p>
          <a:p>
            <a:pPr lvl="1"/>
            <a:r>
              <a:rPr lang="en-US" dirty="0" err="1" smtClean="0"/>
              <a:t>Second level</a:t>
            </a:r>
          </a:p>
          <a:p>
            <a:pPr lvl="2"/>
            <a:r>
              <a:rPr lang="en-US" dirty="0" err="1" smtClean="0"/>
              <a:t>Third level</a:t>
            </a:r>
          </a:p>
          <a:p>
            <a:pPr lvl="3"/>
            <a:r>
              <a:rPr lang="en-US" dirty="0" err="1" smtClean="0"/>
              <a:t>Fourth level</a:t>
            </a:r>
          </a:p>
          <a:p>
            <a:pPr lvl="4"/>
            <a:r>
              <a:rPr lang="en-US" dirty="0" err="1" smtClean="0"/>
              <a:t>Fifth level</a:t>
            </a:r>
            <a:endParaRPr lang="en-US" dirty="0" smtClean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524935" y="239716"/>
            <a:ext cx="9992784" cy="108537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6664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,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/>
          </p:nvPr>
        </p:nvSpPr>
        <p:spPr>
          <a:xfrm>
            <a:off x="6191251" y="1800225"/>
            <a:ext cx="5473700" cy="4724400"/>
          </a:xfrm>
        </p:spPr>
        <p:txBody>
          <a:bodyPr/>
          <a:lstStyle/>
          <a:p>
            <a:pPr lvl="0"/>
            <a:r>
              <a:rPr lang="en-US" dirty="0" err="1" smtClean="0"/>
              <a:t>Click to edit Master text styles</a:t>
            </a:r>
          </a:p>
          <a:p>
            <a:pPr lvl="1"/>
            <a:r>
              <a:rPr lang="en-US" dirty="0" err="1" smtClean="0"/>
              <a:t>Second level</a:t>
            </a:r>
          </a:p>
          <a:p>
            <a:pPr lvl="2"/>
            <a:r>
              <a:rPr lang="en-US" dirty="0" err="1" smtClean="0"/>
              <a:t>Third level</a:t>
            </a:r>
          </a:p>
          <a:p>
            <a:pPr lvl="3"/>
            <a:r>
              <a:rPr lang="en-US" dirty="0" err="1" smtClean="0"/>
              <a:t>Fourth level</a:t>
            </a:r>
          </a:p>
          <a:p>
            <a:pPr lvl="4"/>
            <a:r>
              <a:rPr lang="en-US" dirty="0" err="1" smtClean="0"/>
              <a:t>Fifth level</a:t>
            </a:r>
            <a:endParaRPr lang="en-US" dirty="0" smtClean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6193369" y="239716"/>
            <a:ext cx="4324351" cy="108537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66062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w small title,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/>
          </p:nvPr>
        </p:nvSpPr>
        <p:spPr>
          <a:xfrm>
            <a:off x="6191251" y="3545843"/>
            <a:ext cx="5473700" cy="2978785"/>
          </a:xfrm>
        </p:spPr>
        <p:txBody>
          <a:bodyPr/>
          <a:lstStyle/>
          <a:p>
            <a:pPr lvl="0"/>
            <a:r>
              <a:rPr lang="en-US" dirty="0" err="1" smtClean="0"/>
              <a:t>Click to edit Master text styles</a:t>
            </a:r>
          </a:p>
          <a:p>
            <a:pPr lvl="1"/>
            <a:r>
              <a:rPr lang="en-US" dirty="0" err="1" smtClean="0"/>
              <a:t>Second level</a:t>
            </a:r>
          </a:p>
          <a:p>
            <a:pPr lvl="2"/>
            <a:r>
              <a:rPr lang="en-US" dirty="0" err="1" smtClean="0"/>
              <a:t>Third level</a:t>
            </a:r>
          </a:p>
          <a:p>
            <a:pPr lvl="3"/>
            <a:r>
              <a:rPr lang="en-US" dirty="0" err="1" smtClean="0"/>
              <a:t>Fourth level</a:t>
            </a:r>
          </a:p>
          <a:p>
            <a:pPr lvl="4"/>
            <a:r>
              <a:rPr lang="en-US" dirty="0" err="1" smtClean="0"/>
              <a:t>Fifth level</a:t>
            </a:r>
            <a:endParaRPr lang="en-US" dirty="0" smtClean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6191251" y="1797527"/>
            <a:ext cx="5473700" cy="108537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93185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two horizontal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sz="quarter" idx="11"/>
          </p:nvPr>
        </p:nvSpPr>
        <p:spPr>
          <a:xfrm>
            <a:off x="524936" y="4010025"/>
            <a:ext cx="11140017" cy="2070100"/>
          </a:xfrm>
        </p:spPr>
        <p:txBody>
          <a:bodyPr/>
          <a:lstStyle/>
          <a:p>
            <a:pPr lvl="0"/>
            <a:r>
              <a:rPr lang="en-US" dirty="0" err="1" smtClean="0"/>
              <a:t>Click to edit Master text styles</a:t>
            </a:r>
          </a:p>
          <a:p>
            <a:pPr lvl="1"/>
            <a:r>
              <a:rPr lang="en-US" dirty="0" err="1" smtClean="0"/>
              <a:t>Second level</a:t>
            </a:r>
          </a:p>
          <a:p>
            <a:pPr lvl="2"/>
            <a:r>
              <a:rPr lang="en-US" dirty="0" err="1" smtClean="0"/>
              <a:t>Third level</a:t>
            </a:r>
          </a:p>
          <a:p>
            <a:pPr lvl="3"/>
            <a:r>
              <a:rPr lang="en-US" dirty="0" err="1" smtClean="0"/>
              <a:t>Fourth level</a:t>
            </a:r>
          </a:p>
          <a:p>
            <a:pPr lvl="4"/>
            <a:r>
              <a:rPr lang="en-US" dirty="0" err="1" smtClean="0"/>
              <a:t>Fifth level</a:t>
            </a:r>
            <a:endParaRPr lang="en-US" dirty="0" smtClean="0"/>
          </a:p>
        </p:txBody>
      </p:sp>
      <p:sp>
        <p:nvSpPr>
          <p:cNvPr id="5" name="Content Placeholder 1"/>
          <p:cNvSpPr>
            <a:spLocks noGrp="1"/>
          </p:cNvSpPr>
          <p:nvPr>
            <p:ph sz="quarter" idx="10"/>
          </p:nvPr>
        </p:nvSpPr>
        <p:spPr>
          <a:xfrm>
            <a:off x="524935" y="1795463"/>
            <a:ext cx="11140016" cy="2070100"/>
          </a:xfrm>
        </p:spPr>
        <p:txBody>
          <a:bodyPr/>
          <a:lstStyle/>
          <a:p>
            <a:pPr lvl="0"/>
            <a:r>
              <a:rPr lang="en-US" dirty="0" err="1" smtClean="0"/>
              <a:t>Click to edit Master text styles</a:t>
            </a:r>
          </a:p>
          <a:p>
            <a:pPr lvl="1"/>
            <a:r>
              <a:rPr lang="en-US" dirty="0" err="1" smtClean="0"/>
              <a:t>Second level</a:t>
            </a:r>
          </a:p>
          <a:p>
            <a:pPr lvl="2"/>
            <a:r>
              <a:rPr lang="en-US" dirty="0" err="1" smtClean="0"/>
              <a:t>Third level</a:t>
            </a:r>
          </a:p>
          <a:p>
            <a:pPr lvl="3"/>
            <a:r>
              <a:rPr lang="en-US" dirty="0" err="1" smtClean="0"/>
              <a:t>Fourth level</a:t>
            </a:r>
          </a:p>
          <a:p>
            <a:pPr lvl="4"/>
            <a:r>
              <a:rPr lang="en-US" dirty="0" err="1" smtClean="0"/>
              <a:t>Fifth level</a:t>
            </a:r>
            <a:endParaRPr lang="en-U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24935" y="239716"/>
            <a:ext cx="9992784" cy="108537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57486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3"/>
          <p:cNvSpPr>
            <a:spLocks noGrp="1"/>
          </p:cNvSpPr>
          <p:nvPr>
            <p:ph sz="quarter" idx="3"/>
          </p:nvPr>
        </p:nvSpPr>
        <p:spPr>
          <a:xfrm>
            <a:off x="6193370" y="1795464"/>
            <a:ext cx="5467351" cy="428466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Content Placeholder 1"/>
          <p:cNvSpPr>
            <a:spLocks noGrp="1"/>
          </p:cNvSpPr>
          <p:nvPr>
            <p:ph sz="half" idx="1"/>
          </p:nvPr>
        </p:nvSpPr>
        <p:spPr>
          <a:xfrm>
            <a:off x="524937" y="1795463"/>
            <a:ext cx="5465233" cy="42846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4935" y="239718"/>
            <a:ext cx="9992784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55949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Content over two content p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3"/>
          <p:cNvSpPr>
            <a:spLocks noGrp="1"/>
          </p:cNvSpPr>
          <p:nvPr>
            <p:ph sz="quarter" idx="11"/>
          </p:nvPr>
        </p:nvSpPr>
        <p:spPr>
          <a:xfrm>
            <a:off x="6193367" y="4010025"/>
            <a:ext cx="5471584" cy="2070100"/>
          </a:xfrm>
        </p:spPr>
        <p:txBody>
          <a:bodyPr/>
          <a:lstStyle/>
          <a:p>
            <a:pPr lvl="0"/>
            <a:r>
              <a:rPr lang="en-US" dirty="0" err="1" smtClean="0"/>
              <a:t>Click to edit Master text styles</a:t>
            </a:r>
          </a:p>
          <a:p>
            <a:pPr lvl="1"/>
            <a:r>
              <a:rPr lang="en-US" dirty="0" err="1" smtClean="0"/>
              <a:t>Second level</a:t>
            </a:r>
          </a:p>
          <a:p>
            <a:pPr lvl="2"/>
            <a:r>
              <a:rPr lang="en-US" dirty="0" err="1" smtClean="0"/>
              <a:t>Third level</a:t>
            </a:r>
          </a:p>
          <a:p>
            <a:pPr lvl="3"/>
            <a:r>
              <a:rPr lang="en-US" dirty="0" err="1" smtClean="0"/>
              <a:t>Fourth level</a:t>
            </a:r>
          </a:p>
          <a:p>
            <a:pPr lvl="4"/>
            <a:r>
              <a:rPr lang="en-US" dirty="0" err="1" smtClean="0"/>
              <a:t>Fifth level</a:t>
            </a:r>
            <a:endParaRPr lang="en-US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2"/>
          </p:nvPr>
        </p:nvSpPr>
        <p:spPr>
          <a:xfrm>
            <a:off x="524935" y="4010025"/>
            <a:ext cx="5473700" cy="2070100"/>
          </a:xfrm>
        </p:spPr>
        <p:txBody>
          <a:bodyPr/>
          <a:lstStyle/>
          <a:p>
            <a:pPr lvl="0"/>
            <a:r>
              <a:rPr lang="en-US" dirty="0" err="1" smtClean="0"/>
              <a:t>Click to edit Master text styles</a:t>
            </a:r>
          </a:p>
          <a:p>
            <a:pPr lvl="1"/>
            <a:r>
              <a:rPr lang="en-US" dirty="0" err="1" smtClean="0"/>
              <a:t>Second level</a:t>
            </a:r>
          </a:p>
          <a:p>
            <a:pPr lvl="2"/>
            <a:r>
              <a:rPr lang="en-US" dirty="0" err="1" smtClean="0"/>
              <a:t>Third level</a:t>
            </a:r>
          </a:p>
          <a:p>
            <a:pPr lvl="3"/>
            <a:r>
              <a:rPr lang="en-US" dirty="0" err="1" smtClean="0"/>
              <a:t>Fourth level</a:t>
            </a:r>
          </a:p>
          <a:p>
            <a:pPr lvl="4"/>
            <a:r>
              <a:rPr lang="en-US" dirty="0" err="1" smtClean="0"/>
              <a:t>Fifth level</a:t>
            </a:r>
            <a:endParaRPr lang="en-US" dirty="0" smtClean="0"/>
          </a:p>
        </p:txBody>
      </p:sp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529167" y="1795463"/>
            <a:ext cx="11135784" cy="2070100"/>
          </a:xfrm>
        </p:spPr>
        <p:txBody>
          <a:bodyPr/>
          <a:lstStyle/>
          <a:p>
            <a:pPr lvl="0"/>
            <a:r>
              <a:rPr lang="en-US" dirty="0" err="1" smtClean="0"/>
              <a:t>Click to edit Master text styles</a:t>
            </a:r>
          </a:p>
          <a:p>
            <a:pPr lvl="1"/>
            <a:r>
              <a:rPr lang="en-US" dirty="0" err="1" smtClean="0"/>
              <a:t>Second level</a:t>
            </a:r>
          </a:p>
          <a:p>
            <a:pPr lvl="2"/>
            <a:r>
              <a:rPr lang="en-US" dirty="0" err="1" smtClean="0"/>
              <a:t>Third level</a:t>
            </a:r>
          </a:p>
          <a:p>
            <a:pPr lvl="3"/>
            <a:r>
              <a:rPr lang="en-US" dirty="0" err="1" smtClean="0"/>
              <a:t>Fourth level</a:t>
            </a:r>
          </a:p>
          <a:p>
            <a:pPr lvl="4"/>
            <a:r>
              <a:rPr lang="en-US" dirty="0" err="1" smtClean="0"/>
              <a:t>Fifth level</a:t>
            </a:r>
            <a:endParaRPr lang="en-US" dirty="0" smtClean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24935" y="239716"/>
            <a:ext cx="9992784" cy="108537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29860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two content parts over conten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2"/>
          </p:nvPr>
        </p:nvSpPr>
        <p:spPr>
          <a:xfrm>
            <a:off x="524936" y="4010025"/>
            <a:ext cx="11140017" cy="2070100"/>
          </a:xfrm>
        </p:spPr>
        <p:txBody>
          <a:bodyPr/>
          <a:lstStyle/>
          <a:p>
            <a:pPr lvl="0"/>
            <a:r>
              <a:rPr lang="en-US" dirty="0" err="1" smtClean="0"/>
              <a:t>Click to edit Master text styles</a:t>
            </a:r>
          </a:p>
          <a:p>
            <a:pPr lvl="1"/>
            <a:r>
              <a:rPr lang="en-US" dirty="0" err="1" smtClean="0"/>
              <a:t>Second level</a:t>
            </a:r>
          </a:p>
          <a:p>
            <a:pPr lvl="2"/>
            <a:r>
              <a:rPr lang="en-US" dirty="0" err="1" smtClean="0"/>
              <a:t>Third level</a:t>
            </a:r>
          </a:p>
          <a:p>
            <a:pPr lvl="3"/>
            <a:r>
              <a:rPr lang="en-US" dirty="0" err="1" smtClean="0"/>
              <a:t>Fourth level</a:t>
            </a:r>
          </a:p>
          <a:p>
            <a:pPr lvl="4"/>
            <a:r>
              <a:rPr lang="en-US" dirty="0" err="1" smtClean="0"/>
              <a:t>Fifth level</a:t>
            </a:r>
            <a:endParaRPr lang="en-US" dirty="0" smtClean="0"/>
          </a:p>
        </p:txBody>
      </p:sp>
      <p:sp>
        <p:nvSpPr>
          <p:cNvPr id="5" name="Content Placeholder 2"/>
          <p:cNvSpPr>
            <a:spLocks noGrp="1"/>
          </p:cNvSpPr>
          <p:nvPr>
            <p:ph sz="quarter" idx="10"/>
          </p:nvPr>
        </p:nvSpPr>
        <p:spPr>
          <a:xfrm>
            <a:off x="6193367" y="1795463"/>
            <a:ext cx="5471584" cy="2070100"/>
          </a:xfrm>
        </p:spPr>
        <p:txBody>
          <a:bodyPr/>
          <a:lstStyle/>
          <a:p>
            <a:pPr lvl="0"/>
            <a:r>
              <a:rPr lang="en-US" dirty="0" err="1" smtClean="0"/>
              <a:t>Click to edit Master text styles</a:t>
            </a:r>
          </a:p>
          <a:p>
            <a:pPr lvl="1"/>
            <a:r>
              <a:rPr lang="en-US" dirty="0" err="1" smtClean="0"/>
              <a:t>Second level</a:t>
            </a:r>
          </a:p>
          <a:p>
            <a:pPr lvl="2"/>
            <a:r>
              <a:rPr lang="en-US" dirty="0" err="1" smtClean="0"/>
              <a:t>Third level</a:t>
            </a:r>
          </a:p>
          <a:p>
            <a:pPr lvl="3"/>
            <a:r>
              <a:rPr lang="en-US" dirty="0" err="1" smtClean="0"/>
              <a:t>Fourth level</a:t>
            </a:r>
          </a:p>
          <a:p>
            <a:pPr lvl="4"/>
            <a:r>
              <a:rPr lang="en-US" dirty="0" err="1" smtClean="0"/>
              <a:t>Fifth level</a:t>
            </a:r>
            <a:endParaRPr lang="en-US" dirty="0" smtClean="0"/>
          </a:p>
        </p:txBody>
      </p:sp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529168" y="1795463"/>
            <a:ext cx="5469467" cy="2070100"/>
          </a:xfrm>
        </p:spPr>
        <p:txBody>
          <a:bodyPr/>
          <a:lstStyle/>
          <a:p>
            <a:pPr lvl="0"/>
            <a:r>
              <a:rPr lang="en-US" dirty="0" err="1" smtClean="0"/>
              <a:t>Click to edit Master text styles</a:t>
            </a:r>
          </a:p>
          <a:p>
            <a:pPr lvl="1"/>
            <a:r>
              <a:rPr lang="en-US" dirty="0" err="1" smtClean="0"/>
              <a:t>Second level</a:t>
            </a:r>
          </a:p>
          <a:p>
            <a:pPr lvl="2"/>
            <a:r>
              <a:rPr lang="en-US" dirty="0" err="1" smtClean="0"/>
              <a:t>Third level</a:t>
            </a:r>
          </a:p>
          <a:p>
            <a:pPr lvl="3"/>
            <a:r>
              <a:rPr lang="en-US" dirty="0" err="1" smtClean="0"/>
              <a:t>Fourth level</a:t>
            </a:r>
          </a:p>
          <a:p>
            <a:pPr lvl="4"/>
            <a:r>
              <a:rPr lang="en-US" dirty="0" err="1" smtClean="0"/>
              <a:t>Fifth level</a:t>
            </a:r>
            <a:endParaRPr lang="en-US" dirty="0" smtClean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24935" y="239716"/>
            <a:ext cx="9992784" cy="108537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39114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3"/>
          <p:cNvSpPr>
            <a:spLocks noGrp="1"/>
          </p:cNvSpPr>
          <p:nvPr>
            <p:ph sz="quarter" idx="3"/>
          </p:nvPr>
        </p:nvSpPr>
        <p:spPr>
          <a:xfrm>
            <a:off x="6193369" y="4013203"/>
            <a:ext cx="5467351" cy="20669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sz="quarter" idx="2"/>
          </p:nvPr>
        </p:nvSpPr>
        <p:spPr>
          <a:xfrm>
            <a:off x="6193369" y="1795466"/>
            <a:ext cx="5467351" cy="20653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Content Placeholder 1"/>
          <p:cNvSpPr>
            <a:spLocks noGrp="1"/>
          </p:cNvSpPr>
          <p:nvPr>
            <p:ph sz="half" idx="1"/>
          </p:nvPr>
        </p:nvSpPr>
        <p:spPr>
          <a:xfrm>
            <a:off x="524936" y="1795463"/>
            <a:ext cx="5465233" cy="42846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4935" y="239716"/>
            <a:ext cx="9992784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832138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3"/>
          <p:cNvSpPr>
            <a:spLocks noGrp="1"/>
          </p:cNvSpPr>
          <p:nvPr>
            <p:ph sz="half" idx="3"/>
          </p:nvPr>
        </p:nvSpPr>
        <p:spPr>
          <a:xfrm>
            <a:off x="6197602" y="1795463"/>
            <a:ext cx="5467351" cy="42846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sz="quarter" idx="2"/>
          </p:nvPr>
        </p:nvSpPr>
        <p:spPr>
          <a:xfrm>
            <a:off x="529169" y="4013203"/>
            <a:ext cx="5465233" cy="20669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Content Placeholder 1"/>
          <p:cNvSpPr>
            <a:spLocks noGrp="1"/>
          </p:cNvSpPr>
          <p:nvPr>
            <p:ph sz="quarter" idx="1"/>
          </p:nvPr>
        </p:nvSpPr>
        <p:spPr>
          <a:xfrm>
            <a:off x="529169" y="1795466"/>
            <a:ext cx="5465233" cy="20653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4935" y="239716"/>
            <a:ext cx="9992784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5184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/>
          <p:cNvSpPr>
            <a:spLocks noGrp="1"/>
          </p:cNvSpPr>
          <p:nvPr>
            <p:ph sz="quarter" idx="4"/>
          </p:nvPr>
        </p:nvSpPr>
        <p:spPr>
          <a:xfrm>
            <a:off x="6197602" y="4022728"/>
            <a:ext cx="5467351" cy="20669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quarter" idx="3"/>
          </p:nvPr>
        </p:nvSpPr>
        <p:spPr>
          <a:xfrm>
            <a:off x="529169" y="4022728"/>
            <a:ext cx="5465233" cy="20669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sz="quarter" idx="2"/>
          </p:nvPr>
        </p:nvSpPr>
        <p:spPr>
          <a:xfrm>
            <a:off x="6197602" y="1804991"/>
            <a:ext cx="5467351" cy="20653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Content Placeholder 1"/>
          <p:cNvSpPr>
            <a:spLocks noGrp="1"/>
          </p:cNvSpPr>
          <p:nvPr>
            <p:ph sz="quarter" idx="1"/>
          </p:nvPr>
        </p:nvSpPr>
        <p:spPr>
          <a:xfrm>
            <a:off x="529169" y="1804991"/>
            <a:ext cx="5465233" cy="20653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524935" y="239716"/>
            <a:ext cx="9992784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577606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4935" y="239716"/>
            <a:ext cx="9992784" cy="108537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667082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010489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4933" y="239713"/>
            <a:ext cx="9992784" cy="10858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9167" y="1800228"/>
            <a:ext cx="11135784" cy="38512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03216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lid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0"/>
          <p:cNvSpPr txBox="1">
            <a:spLocks noChangeArrowheads="1"/>
          </p:cNvSpPr>
          <p:nvPr/>
        </p:nvSpPr>
        <p:spPr bwMode="auto">
          <a:xfrm>
            <a:off x="4667251" y="6630988"/>
            <a:ext cx="284480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>
            <a:lvl1pPr algn="ctr">
              <a:defRPr sz="800">
                <a:solidFill>
                  <a:srgbClr val="000066"/>
                </a:solidFill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79DAE53B-88CF-43C8-8C07-2346FCCE3DC2}" type="slidenum">
              <a:rPr lang="en-US" smtClean="0"/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 smtClean="0"/>
          </a:p>
        </p:txBody>
      </p:sp>
      <p:pic>
        <p:nvPicPr>
          <p:cNvPr id="7" name="Picture 10" descr="inCode - no Telecom - two colo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2902" y="6407150"/>
            <a:ext cx="1553633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508124"/>
            <a:ext cx="11379200" cy="4851401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lIns="45720" rIns="45720">
            <a:normAutofit/>
          </a:bodyPr>
          <a:lstStyle>
            <a:lvl1pPr marL="287338" indent="-231775">
              <a:buClr>
                <a:schemeClr val="tx2"/>
              </a:buClr>
              <a:buFont typeface="Wingdings" pitchFamily="2" charset="2"/>
              <a:buChar char="§"/>
              <a:defRPr sz="1400"/>
            </a:lvl1pPr>
            <a:lvl2pPr marL="457200" indent="-169863">
              <a:buClr>
                <a:schemeClr val="tx2"/>
              </a:buClr>
              <a:buFont typeface="Wingdings" pitchFamily="2" charset="2"/>
              <a:buChar char="§"/>
              <a:defRPr sz="1200"/>
            </a:lvl2pPr>
            <a:lvl3pPr marL="690563" indent="-233363">
              <a:buClr>
                <a:schemeClr val="tx2"/>
              </a:buClr>
              <a:buFont typeface="Wingdings" pitchFamily="2" charset="2"/>
              <a:buChar char="§"/>
              <a:defRPr sz="1100"/>
            </a:lvl3pPr>
            <a:lvl4pPr marL="914400" indent="-223838">
              <a:buClr>
                <a:schemeClr val="tx2"/>
              </a:buClr>
              <a:buFont typeface="Wingdings" pitchFamily="2" charset="2"/>
              <a:buChar char="§"/>
              <a:defRPr sz="1050"/>
            </a:lvl4pPr>
            <a:lvl5pPr marL="1147763" indent="-233363">
              <a:buClr>
                <a:schemeClr val="tx2"/>
              </a:buClr>
              <a:buFont typeface="Wingdings" pitchFamily="2" charset="2"/>
              <a:buChar char="§"/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406400" y="795343"/>
            <a:ext cx="11379200" cy="534059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406403" y="6132794"/>
            <a:ext cx="10028519" cy="274356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800" b="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06400" y="242803"/>
            <a:ext cx="11379200" cy="38691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rIns="0" anchor="b">
            <a:noAutofit/>
          </a:bodyPr>
          <a:lstStyle>
            <a:lvl1pPr algn="l">
              <a:defRPr sz="2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164535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3" descr="grade3_MWC_1920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92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Econ20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401" y="360366"/>
            <a:ext cx="592667" cy="58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529172" y="1800000"/>
            <a:ext cx="11135785" cy="38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4937" y="239719"/>
            <a:ext cx="9992784" cy="108537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70287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2"/>
          </p:nvPr>
        </p:nvSpPr>
        <p:spPr>
          <a:xfrm>
            <a:off x="8081435" y="1800225"/>
            <a:ext cx="3583517" cy="47243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/>
          </p:nvPr>
        </p:nvSpPr>
        <p:spPr>
          <a:xfrm>
            <a:off x="4305300" y="1800225"/>
            <a:ext cx="3583517" cy="47243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/>
          </p:nvPr>
        </p:nvSpPr>
        <p:spPr>
          <a:xfrm>
            <a:off x="524935" y="1800225"/>
            <a:ext cx="3583517" cy="47243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524935" y="239718"/>
            <a:ext cx="9992784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540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itle,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/>
          </p:nvPr>
        </p:nvSpPr>
        <p:spPr>
          <a:xfrm>
            <a:off x="524935" y="1800225"/>
            <a:ext cx="5473700" cy="4724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524938" y="239718"/>
            <a:ext cx="9992783" cy="108537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3654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,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/>
          </p:nvPr>
        </p:nvSpPr>
        <p:spPr>
          <a:xfrm>
            <a:off x="524934" y="1800225"/>
            <a:ext cx="5139267" cy="4724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524938" y="239718"/>
            <a:ext cx="5139265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0042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itle,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/>
          </p:nvPr>
        </p:nvSpPr>
        <p:spPr>
          <a:xfrm>
            <a:off x="6191251" y="1800225"/>
            <a:ext cx="5473700" cy="4724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524935" y="239718"/>
            <a:ext cx="9992784" cy="108537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41831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,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/>
          </p:nvPr>
        </p:nvSpPr>
        <p:spPr>
          <a:xfrm>
            <a:off x="6191251" y="1800225"/>
            <a:ext cx="5473700" cy="4724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6193370" y="239718"/>
            <a:ext cx="4324351" cy="108537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61413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w small title,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/>
          </p:nvPr>
        </p:nvSpPr>
        <p:spPr>
          <a:xfrm>
            <a:off x="6191251" y="3545845"/>
            <a:ext cx="5473700" cy="297878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6191251" y="1797529"/>
            <a:ext cx="5473700" cy="108537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21126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2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"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LeftInfo"/>
          <p:cNvSpPr txBox="1">
            <a:spLocks noChangeArrowheads="1"/>
          </p:cNvSpPr>
          <p:nvPr/>
        </p:nvSpPr>
        <p:spPr bwMode="auto">
          <a:xfrm>
            <a:off x="-2516717" y="438152"/>
            <a:ext cx="2353733" cy="59708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r>
              <a:rPr lang="en-US" sz="1200">
                <a:solidFill>
                  <a:srgbClr val="FFFFFF"/>
                </a:solidFill>
              </a:rPr>
              <a:t>Slide title </a:t>
            </a:r>
          </a:p>
          <a:p>
            <a:pPr algn="r" eaLnBrk="1" hangingPunct="1">
              <a:spcBef>
                <a:spcPct val="0"/>
              </a:spcBef>
            </a:pPr>
            <a:r>
              <a:rPr lang="en-US" sz="1200">
                <a:solidFill>
                  <a:srgbClr val="FFFFFF"/>
                </a:solidFill>
              </a:rPr>
              <a:t>44 pt</a:t>
            </a:r>
          </a:p>
          <a:p>
            <a:pPr algn="r" eaLnBrk="1" hangingPunct="1">
              <a:spcBef>
                <a:spcPct val="0"/>
              </a:spcBef>
            </a:pPr>
            <a:endParaRPr lang="en-US" sz="1200">
              <a:solidFill>
                <a:srgbClr val="FFFFFF"/>
              </a:solidFill>
            </a:endParaRPr>
          </a:p>
          <a:p>
            <a:pPr algn="r" eaLnBrk="1" hangingPunct="1">
              <a:spcBef>
                <a:spcPct val="0"/>
              </a:spcBef>
            </a:pPr>
            <a:endParaRPr lang="en-US" sz="1200">
              <a:solidFill>
                <a:srgbClr val="FFFFFF"/>
              </a:solidFill>
            </a:endParaRPr>
          </a:p>
          <a:p>
            <a:pPr algn="r" eaLnBrk="1" hangingPunct="1">
              <a:spcBef>
                <a:spcPct val="0"/>
              </a:spcBef>
            </a:pPr>
            <a:endParaRPr lang="en-US" sz="1200">
              <a:solidFill>
                <a:srgbClr val="FFFFFF"/>
              </a:solidFill>
            </a:endParaRPr>
          </a:p>
          <a:p>
            <a:pPr algn="r" eaLnBrk="1" hangingPunct="1">
              <a:spcBef>
                <a:spcPct val="0"/>
              </a:spcBef>
            </a:pPr>
            <a:endParaRPr lang="en-US" sz="1200">
              <a:solidFill>
                <a:srgbClr val="FFFFFF"/>
              </a:solidFill>
            </a:endParaRPr>
          </a:p>
          <a:p>
            <a:pPr algn="r" eaLnBrk="1" hangingPunct="1">
              <a:spcBef>
                <a:spcPct val="0"/>
              </a:spcBef>
            </a:pPr>
            <a:endParaRPr lang="en-US" sz="1200">
              <a:solidFill>
                <a:srgbClr val="FFFFFF"/>
              </a:solidFill>
            </a:endParaRPr>
          </a:p>
          <a:p>
            <a:pPr algn="r" eaLnBrk="1" hangingPunct="1">
              <a:spcBef>
                <a:spcPct val="0"/>
              </a:spcBef>
            </a:pPr>
            <a:endParaRPr lang="en-US" sz="1200">
              <a:solidFill>
                <a:srgbClr val="FFFFFF"/>
              </a:solidFill>
            </a:endParaRPr>
          </a:p>
          <a:p>
            <a:pPr algn="r" eaLnBrk="1" hangingPunct="1">
              <a:spcBef>
                <a:spcPct val="0"/>
              </a:spcBef>
            </a:pPr>
            <a:r>
              <a:rPr lang="en-US" sz="1200">
                <a:solidFill>
                  <a:srgbClr val="FFFFFF"/>
                </a:solidFill>
              </a:rPr>
              <a:t>Text and bullet level 1</a:t>
            </a:r>
          </a:p>
          <a:p>
            <a:pPr algn="r" eaLnBrk="1" hangingPunct="1">
              <a:spcBef>
                <a:spcPct val="0"/>
              </a:spcBef>
            </a:pPr>
            <a:r>
              <a:rPr lang="en-US" sz="1200">
                <a:solidFill>
                  <a:srgbClr val="FFFFFF"/>
                </a:solidFill>
              </a:rPr>
              <a:t> minimum 24 pt</a:t>
            </a:r>
          </a:p>
          <a:p>
            <a:pPr algn="r" eaLnBrk="1" hangingPunct="1">
              <a:spcBef>
                <a:spcPct val="0"/>
              </a:spcBef>
            </a:pPr>
            <a:endParaRPr lang="en-US" sz="1200">
              <a:solidFill>
                <a:srgbClr val="FFFFFF"/>
              </a:solidFill>
            </a:endParaRPr>
          </a:p>
          <a:p>
            <a:pPr algn="r" eaLnBrk="1" hangingPunct="1">
              <a:spcBef>
                <a:spcPct val="0"/>
              </a:spcBef>
            </a:pPr>
            <a:r>
              <a:rPr lang="en-US" sz="1200">
                <a:solidFill>
                  <a:srgbClr val="FFFFFF"/>
                </a:solidFill>
              </a:rPr>
              <a:t>Bullets level 2-5</a:t>
            </a:r>
          </a:p>
          <a:p>
            <a:pPr algn="r" eaLnBrk="1" hangingPunct="1">
              <a:spcBef>
                <a:spcPct val="0"/>
              </a:spcBef>
            </a:pPr>
            <a:r>
              <a:rPr lang="en-US" sz="1200">
                <a:solidFill>
                  <a:srgbClr val="FFFFFF"/>
                </a:solidFill>
              </a:rPr>
              <a:t>minimum 20 pt</a:t>
            </a:r>
          </a:p>
          <a:p>
            <a:pPr algn="r" eaLnBrk="1" hangingPunct="1">
              <a:spcBef>
                <a:spcPct val="0"/>
              </a:spcBef>
            </a:pPr>
            <a:endParaRPr lang="en-US" sz="1200">
              <a:solidFill>
                <a:srgbClr val="FFFFFF"/>
              </a:solidFill>
            </a:endParaRPr>
          </a:p>
          <a:p>
            <a:pPr algn="r" eaLnBrk="1" hangingPunct="1"/>
            <a:endParaRPr lang="en-US" sz="800">
              <a:solidFill>
                <a:schemeClr val="bg1"/>
              </a:solidFill>
            </a:endParaRPr>
          </a:p>
          <a:p>
            <a:pPr algn="r" eaLnBrk="1" hangingPunct="1"/>
            <a:endParaRPr lang="en-US" sz="800">
              <a:solidFill>
                <a:schemeClr val="bg1"/>
              </a:solidFill>
            </a:endParaRPr>
          </a:p>
          <a:p>
            <a:pPr algn="r" eaLnBrk="1" hangingPunct="1"/>
            <a:endParaRPr lang="en-US" sz="800">
              <a:solidFill>
                <a:schemeClr val="bg1"/>
              </a:solidFill>
            </a:endParaRPr>
          </a:p>
          <a:p>
            <a:pPr eaLnBrk="1" hangingPunct="1"/>
            <a:r>
              <a:rPr lang="en-US" sz="500">
                <a:solidFill>
                  <a:srgbClr val="9FB7D3"/>
                </a:solidFill>
              </a:rPr>
              <a:t>Characters for Embedded font:</a:t>
            </a:r>
            <a:br>
              <a:rPr lang="en-US" sz="500">
                <a:solidFill>
                  <a:srgbClr val="9FB7D3"/>
                </a:solidFill>
              </a:rPr>
            </a:br>
            <a:r>
              <a:rPr lang="en-US" sz="500">
                <a:solidFill>
                  <a:srgbClr val="9FB7D3"/>
                </a:solidFill>
                <a:latin typeface="Ericsson Capital TT" pitchFamily="2" charset="0"/>
              </a:rPr>
              <a:t>!"#$%&amp;'()*+,-./0123456789:;&lt;=&gt;?@ABCDEFGHIJKLMNOPQRSTUVWXYZ[\]^_`abcdefghijklmnopqrstuvwxyz{|}~¡¢£¤¥¦§¨©ª«¬®¯°±²³´¶·¸¹º»¼½ÀÁÂÃÄÅÆÇÈËÌÍÎÏÐÑÒÓÔÕÖ×ØÙÚÛÜÝÞßàáâãäåæçèéêëìíîïðñòóôõö÷øùúûüýþÿĀāĂăąĆćĊċČĎďĐđĒĖėĘęĚěĞğĠġĢģĪīĮįİıĶķĹĺĻļĽľŁłŃńŅņŇňŌŐőŒœŔŕŖŗŘřŚśŞşŠšŢţŤťŪūŮůŰűŲųŴŵŶŷŸŹźŻżŽžƒȘșˆˇ˘˙˚˛˜˝ẀẁẃẄẅỲỳ–—‘’‚“”„†‡•…‰‹›⁄€™ĀĀĂĂĄĄĆĆĊĊČČĎĎĐĐĒĒĖĖĘĘĚĚĞĞĠĠĢĢĪĪĮĮİĶĶĹĹĻĻĽĽŃŃŅŅŇŇŌŌŐŐŔŔŖŖŘŘŚŚŞŞŢŢŤŤŪŪŮŮŰŰŲŲŴŴŶŶŹŹŻŻȘș−≤≥ﬁﬂ</a:t>
            </a:r>
            <a:endParaRPr lang="en-US" sz="500" i="1">
              <a:solidFill>
                <a:srgbClr val="9FB7D3"/>
              </a:solidFill>
              <a:latin typeface="Ericsson Capital TT" pitchFamily="2" charset="0"/>
            </a:endParaRPr>
          </a:p>
          <a:p>
            <a:pPr eaLnBrk="1" hangingPunct="1"/>
            <a:endParaRPr lang="en-US" sz="500" i="1">
              <a:solidFill>
                <a:srgbClr val="9FB7D3"/>
              </a:solidFill>
              <a:latin typeface="Ericsson Capital TT" pitchFamily="2" charset="0"/>
            </a:endParaRPr>
          </a:p>
          <a:p>
            <a:pPr eaLnBrk="1" hangingPunct="1"/>
            <a:r>
              <a:rPr lang="en-US" sz="500">
                <a:solidFill>
                  <a:srgbClr val="9FB7D3"/>
                </a:solidFill>
                <a:latin typeface="Ericsson Capital TT" pitchFamily="2" charset="0"/>
              </a:rPr>
              <a:t>ΆΈΉΊΌΎΏΐΑΒΓΕΖΗΘΙΚΛΜΝΞΟΠΡΣΤΥΦΧΨΪΫΆΈΉΊΰαβγδεζηθικλνξορςΣΤΥΦΧΨΩΪΫΌΎΏ</a:t>
            </a:r>
            <a:endParaRPr lang="en-US" sz="500" i="1">
              <a:solidFill>
                <a:srgbClr val="9FB7D3"/>
              </a:solidFill>
              <a:latin typeface="Ericsson Capital TT" pitchFamily="2" charset="0"/>
            </a:endParaRPr>
          </a:p>
          <a:p>
            <a:pPr eaLnBrk="1" hangingPunct="1"/>
            <a:r>
              <a:rPr lang="en-US" sz="500">
                <a:solidFill>
                  <a:srgbClr val="9FB7D3"/>
                </a:solidFill>
                <a:latin typeface="Ericsson Capital TT" pitchFamily="2" charset="0"/>
              </a:rPr>
              <a:t>ЁЂЃЄЅІЇЈЉЊЋЌЎЏАБВГДЕЖЗИЙКЛМНОПРСТУФХЦЧШЩЪЫЬЭЮЯАБВГДЕЖЗИЙКЛМНОПРСТУФХЦЧШЩЪЫЬЭЮЯЁЂЃЄЅІЇЈЉЊЋЌЎЏѢѢѲѲѴѴҐҐәǽẀẁẂẃẄẅỲỳ№</a:t>
            </a:r>
          </a:p>
          <a:p>
            <a:pPr eaLnBrk="1" hangingPunct="1">
              <a:lnSpc>
                <a:spcPct val="80000"/>
              </a:lnSpc>
              <a:spcBef>
                <a:spcPct val="20000"/>
              </a:spcBef>
            </a:pPr>
            <a:endParaRPr lang="en-US" sz="500">
              <a:solidFill>
                <a:srgbClr val="9FB7D3"/>
              </a:solidFill>
              <a:latin typeface="Ericsson Capital TT" pitchFamily="2" charset="0"/>
            </a:endParaRPr>
          </a:p>
          <a:p>
            <a:pPr algn="r" eaLnBrk="1" hangingPunct="1">
              <a:spcBef>
                <a:spcPct val="0"/>
              </a:spcBef>
            </a:pPr>
            <a:endParaRPr lang="en-US" sz="500">
              <a:solidFill>
                <a:schemeClr val="bg1"/>
              </a:solidFill>
              <a:latin typeface="Ericsson Capital TT" pitchFamily="2" charset="0"/>
            </a:endParaRPr>
          </a:p>
          <a:p>
            <a:pPr algn="r" eaLnBrk="1" hangingPunct="1">
              <a:spcBef>
                <a:spcPct val="0"/>
              </a:spcBef>
            </a:pPr>
            <a:endParaRPr lang="en-US" sz="800">
              <a:solidFill>
                <a:schemeClr val="bg1"/>
              </a:solidFill>
              <a:latin typeface="Ericsson Capital TT" pitchFamily="2" charset="0"/>
            </a:endParaRPr>
          </a:p>
          <a:p>
            <a:pPr algn="r" eaLnBrk="1" hangingPunct="1">
              <a:spcBef>
                <a:spcPct val="0"/>
              </a:spcBef>
            </a:pPr>
            <a:endParaRPr lang="en-US" sz="800">
              <a:solidFill>
                <a:schemeClr val="bg1"/>
              </a:solidFill>
              <a:latin typeface="Ericsson Capital TT" pitchFamily="2" charset="0"/>
            </a:endParaRPr>
          </a:p>
          <a:p>
            <a:pPr algn="r" eaLnBrk="1" hangingPunct="1">
              <a:spcBef>
                <a:spcPct val="0"/>
              </a:spcBef>
            </a:pPr>
            <a:endParaRPr lang="en-US" sz="800">
              <a:solidFill>
                <a:schemeClr val="bg1"/>
              </a:solidFill>
              <a:latin typeface="Ericsson Capital TT" pitchFamily="2" charset="0"/>
            </a:endParaRPr>
          </a:p>
          <a:p>
            <a:pPr algn="r" eaLnBrk="1" hangingPunct="1">
              <a:spcBef>
                <a:spcPct val="0"/>
              </a:spcBef>
            </a:pPr>
            <a:endParaRPr lang="en-US" sz="800">
              <a:solidFill>
                <a:schemeClr val="bg1"/>
              </a:solidFill>
              <a:latin typeface="Ericsson Capital TT" pitchFamily="2" charset="0"/>
            </a:endParaRPr>
          </a:p>
          <a:p>
            <a:pPr algn="r" eaLnBrk="1" hangingPunct="1">
              <a:spcBef>
                <a:spcPct val="0"/>
              </a:spcBef>
            </a:pPr>
            <a:endParaRPr lang="en-US" sz="800">
              <a:solidFill>
                <a:schemeClr val="bg1"/>
              </a:solidFill>
              <a:latin typeface="Ericsson Capital TT" pitchFamily="2" charset="0"/>
            </a:endParaRPr>
          </a:p>
          <a:p>
            <a:pPr algn="r" eaLnBrk="1" hangingPunct="1">
              <a:spcBef>
                <a:spcPct val="0"/>
              </a:spcBef>
            </a:pPr>
            <a:endParaRPr lang="en-US" sz="1400">
              <a:solidFill>
                <a:schemeClr val="bg1"/>
              </a:solidFill>
            </a:endParaRPr>
          </a:p>
          <a:p>
            <a:pPr algn="r" eaLnBrk="1" hangingPunct="1"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Do not add objects or text in the footer area</a:t>
            </a:r>
          </a:p>
        </p:txBody>
      </p:sp>
      <p:pic>
        <p:nvPicPr>
          <p:cNvPr id="1028" name="Econ2011" descr="ECON_RGB"/>
          <p:cNvPicPr>
            <a:picLocks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9566" y="360000"/>
            <a:ext cx="444500" cy="588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9" name="txtfooterCopy"/>
          <p:cNvSpPr txBox="1">
            <a:spLocks noChangeArrowheads="1"/>
          </p:cNvSpPr>
          <p:nvPr/>
        </p:nvSpPr>
        <p:spPr bwMode="auto">
          <a:xfrm>
            <a:off x="527050" y="6524625"/>
            <a:ext cx="986578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rIns="72000"/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/>
            <a:r>
              <a:rPr lang="en-US" sz="800" b="0" i="0" u="none" smtClean="0">
                <a:solidFill>
                  <a:srgbClr val="87888A"/>
                </a:solidFill>
              </a:rPr>
              <a:t>Clouding The Networked Society  |  Commercial in confidence  |  © Ericsson AB 2014  |  2014-08-11  |  Page </a:t>
            </a:r>
            <a:fld id="{7D95F63F-6119-4328-A241-CD5066469A98}" type="slidenum">
              <a:rPr lang="en-US" sz="800" b="0" i="0" u="none" smtClean="0">
                <a:solidFill>
                  <a:srgbClr val="87888A"/>
                </a:solidFill>
              </a:rPr>
              <a:t>‹#›</a:t>
            </a:fld>
            <a:endParaRPr lang="en-US" sz="800" b="0" i="0" u="none">
              <a:solidFill>
                <a:srgbClr val="87888A"/>
              </a:solidFill>
            </a:endParaRPr>
          </a:p>
        </p:txBody>
      </p:sp>
      <p:sp>
        <p:nvSpPr>
          <p:cNvPr id="1030" name="Content_SM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9167" y="1800230"/>
            <a:ext cx="11135784" cy="3851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add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31" name="Title_SM"/>
          <p:cNvSpPr>
            <a:spLocks noGrp="1" noChangeArrowheads="1"/>
          </p:cNvSpPr>
          <p:nvPr>
            <p:ph type="title"/>
          </p:nvPr>
        </p:nvSpPr>
        <p:spPr bwMode="auto">
          <a:xfrm>
            <a:off x="524933" y="239713"/>
            <a:ext cx="9992784" cy="1085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Add Header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9" r:id="rId18"/>
    <p:sldLayoutId id="2147483720" r:id="rId1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fontAlgn="base">
        <a:lnSpc>
          <a:spcPct val="75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Ericsson Capital TT"/>
          <a:ea typeface="+mj-ea"/>
          <a:cs typeface="+mj-cs"/>
        </a:defRPr>
      </a:lvl1pPr>
      <a:lvl2pPr algn="l" rtl="0" fontAlgn="base">
        <a:lnSpc>
          <a:spcPct val="75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Ericsson Capital TT" pitchFamily="2" charset="0"/>
        </a:defRPr>
      </a:lvl2pPr>
      <a:lvl3pPr algn="l" rtl="0" fontAlgn="base">
        <a:lnSpc>
          <a:spcPct val="75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Ericsson Capital TT" pitchFamily="2" charset="0"/>
        </a:defRPr>
      </a:lvl3pPr>
      <a:lvl4pPr algn="l" rtl="0" fontAlgn="base">
        <a:lnSpc>
          <a:spcPct val="75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Ericsson Capital TT" pitchFamily="2" charset="0"/>
        </a:defRPr>
      </a:lvl4pPr>
      <a:lvl5pPr algn="l" rtl="0" fontAlgn="base">
        <a:lnSpc>
          <a:spcPct val="75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Ericsson Capital TT" pitchFamily="2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Capital TT" pitchFamily="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Capital TT" pitchFamily="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Capital TT" pitchFamily="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Capital TT" pitchFamily="2" charset="0"/>
        </a:defRPr>
      </a:lvl9pPr>
    </p:titleStyle>
    <p:bodyStyle>
      <a:lvl1pPr marL="176213" indent="-176213" algn="l" rtl="0" fontAlgn="base">
        <a:spcBef>
          <a:spcPct val="20000"/>
        </a:spcBef>
        <a:spcAft>
          <a:spcPct val="0"/>
        </a:spcAft>
        <a:buClr>
          <a:srgbClr val="00A9D4"/>
        </a:buClr>
        <a:buFont typeface="Arial" charset="0"/>
        <a:buChar char="›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177800" algn="l" rtl="0" fontAlgn="base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–"/>
        <a:defRPr sz="2000">
          <a:solidFill>
            <a:schemeClr val="tx1"/>
          </a:solidFill>
          <a:latin typeface="+mn-lt"/>
        </a:defRPr>
      </a:lvl2pPr>
      <a:lvl3pPr marL="892175" indent="-179388" algn="l" rtl="0" fontAlgn="base">
        <a:spcBef>
          <a:spcPct val="20000"/>
        </a:spcBef>
        <a:spcAft>
          <a:spcPct val="0"/>
        </a:spcAft>
        <a:buClr>
          <a:srgbClr val="92CCE5"/>
        </a:buClr>
        <a:buFont typeface="Ericsson Capital TT" pitchFamily="2" charset="0"/>
        <a:buChar char="›"/>
        <a:defRPr sz="2000">
          <a:solidFill>
            <a:schemeClr val="tx1"/>
          </a:solidFill>
          <a:latin typeface="+mn-lt"/>
        </a:defRPr>
      </a:lvl3pPr>
      <a:lvl4pPr marL="1252538" indent="-180975" algn="l" rtl="0" fontAlgn="base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-"/>
        <a:defRPr sz="2000">
          <a:solidFill>
            <a:schemeClr val="tx1"/>
          </a:solidFill>
          <a:latin typeface="+mn-lt"/>
        </a:defRPr>
      </a:lvl4pPr>
      <a:lvl5pPr marL="1614488" indent="-180975" algn="l" rtl="0" fontAlgn="base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›"/>
        <a:defRPr sz="2000">
          <a:solidFill>
            <a:schemeClr val="tx1"/>
          </a:solidFill>
          <a:latin typeface="+mn-lt"/>
        </a:defRPr>
      </a:lvl5pPr>
      <a:lvl6pPr marL="2071688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›"/>
        <a:defRPr sz="2000">
          <a:solidFill>
            <a:schemeClr val="tx1"/>
          </a:solidFill>
          <a:latin typeface="+mn-lt"/>
        </a:defRPr>
      </a:lvl6pPr>
      <a:lvl7pPr marL="2528888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›"/>
        <a:defRPr sz="2000">
          <a:solidFill>
            <a:schemeClr val="tx1"/>
          </a:solidFill>
          <a:latin typeface="+mn-lt"/>
        </a:defRPr>
      </a:lvl7pPr>
      <a:lvl8pPr marL="2986088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›"/>
        <a:defRPr sz="2000">
          <a:solidFill>
            <a:schemeClr val="tx1"/>
          </a:solidFill>
          <a:latin typeface="+mn-lt"/>
        </a:defRPr>
      </a:lvl8pPr>
      <a:lvl9pPr marL="3443288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›"/>
        <a:defRPr sz="20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eftInfo"/>
          <p:cNvSpPr txBox="1">
            <a:spLocks noChangeArrowheads="1"/>
          </p:cNvSpPr>
          <p:nvPr/>
        </p:nvSpPr>
        <p:spPr bwMode="auto">
          <a:xfrm>
            <a:off x="-2516717" y="438151"/>
            <a:ext cx="2353733" cy="59708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1200" smtClean="0">
                <a:solidFill>
                  <a:srgbClr val="FFFFFF"/>
                </a:solidFill>
              </a:rPr>
              <a:t>Slide title </a:t>
            </a:r>
          </a:p>
          <a:p>
            <a:pPr algn="r" eaLnBrk="1" hangingPunct="1">
              <a:defRPr/>
            </a:pPr>
            <a:r>
              <a:rPr lang="en-US" sz="1200" smtClean="0">
                <a:solidFill>
                  <a:srgbClr val="FFFFFF"/>
                </a:solidFill>
              </a:rPr>
              <a:t>44 pt</a:t>
            </a:r>
          </a:p>
          <a:p>
            <a:pPr algn="r" eaLnBrk="1" hangingPunct="1">
              <a:defRPr/>
            </a:pPr>
            <a:endParaRPr lang="en-US" sz="1200" smtClean="0">
              <a:solidFill>
                <a:srgbClr val="FFFFFF"/>
              </a:solidFill>
            </a:endParaRPr>
          </a:p>
          <a:p>
            <a:pPr algn="r" eaLnBrk="1" hangingPunct="1">
              <a:defRPr/>
            </a:pPr>
            <a:endParaRPr lang="en-US" sz="1200" smtClean="0">
              <a:solidFill>
                <a:srgbClr val="FFFFFF"/>
              </a:solidFill>
            </a:endParaRPr>
          </a:p>
          <a:p>
            <a:pPr algn="r" eaLnBrk="1" hangingPunct="1">
              <a:defRPr/>
            </a:pPr>
            <a:endParaRPr lang="en-US" sz="1200" smtClean="0">
              <a:solidFill>
                <a:srgbClr val="FFFFFF"/>
              </a:solidFill>
            </a:endParaRPr>
          </a:p>
          <a:p>
            <a:pPr algn="r" eaLnBrk="1" hangingPunct="1">
              <a:defRPr/>
            </a:pPr>
            <a:endParaRPr lang="en-US" sz="1200" smtClean="0">
              <a:solidFill>
                <a:srgbClr val="FFFFFF"/>
              </a:solidFill>
            </a:endParaRPr>
          </a:p>
          <a:p>
            <a:pPr algn="r" eaLnBrk="1" hangingPunct="1">
              <a:defRPr/>
            </a:pPr>
            <a:endParaRPr lang="en-US" sz="1200" smtClean="0">
              <a:solidFill>
                <a:srgbClr val="FFFFFF"/>
              </a:solidFill>
            </a:endParaRPr>
          </a:p>
          <a:p>
            <a:pPr algn="r" eaLnBrk="1" hangingPunct="1">
              <a:defRPr/>
            </a:pPr>
            <a:endParaRPr lang="en-US" sz="1200" smtClean="0">
              <a:solidFill>
                <a:srgbClr val="FFFFFF"/>
              </a:solidFill>
            </a:endParaRPr>
          </a:p>
          <a:p>
            <a:pPr algn="r" eaLnBrk="1" hangingPunct="1">
              <a:defRPr/>
            </a:pPr>
            <a:r>
              <a:rPr lang="en-US" sz="1200" smtClean="0">
                <a:solidFill>
                  <a:srgbClr val="FFFFFF"/>
                </a:solidFill>
              </a:rPr>
              <a:t>Text and bullet level 1</a:t>
            </a:r>
          </a:p>
          <a:p>
            <a:pPr algn="r" eaLnBrk="1" hangingPunct="1">
              <a:defRPr/>
            </a:pPr>
            <a:r>
              <a:rPr lang="en-US" sz="1200" smtClean="0">
                <a:solidFill>
                  <a:srgbClr val="FFFFFF"/>
                </a:solidFill>
              </a:rPr>
              <a:t> minimum 24 pt</a:t>
            </a:r>
          </a:p>
          <a:p>
            <a:pPr algn="r" eaLnBrk="1" hangingPunct="1">
              <a:defRPr/>
            </a:pPr>
            <a:endParaRPr lang="en-US" sz="1200" smtClean="0">
              <a:solidFill>
                <a:srgbClr val="FFFFFF"/>
              </a:solidFill>
            </a:endParaRPr>
          </a:p>
          <a:p>
            <a:pPr algn="r" eaLnBrk="1" hangingPunct="1">
              <a:defRPr/>
            </a:pPr>
            <a:r>
              <a:rPr lang="en-US" sz="1200" smtClean="0">
                <a:solidFill>
                  <a:srgbClr val="FFFFFF"/>
                </a:solidFill>
              </a:rPr>
              <a:t>Bullets level 2-5</a:t>
            </a:r>
          </a:p>
          <a:p>
            <a:pPr algn="r" eaLnBrk="1" hangingPunct="1">
              <a:defRPr/>
            </a:pPr>
            <a:r>
              <a:rPr lang="en-US" sz="1200" smtClean="0">
                <a:solidFill>
                  <a:srgbClr val="FFFFFF"/>
                </a:solidFill>
              </a:rPr>
              <a:t>minimum 20 pt</a:t>
            </a:r>
          </a:p>
          <a:p>
            <a:pPr algn="r" eaLnBrk="1" hangingPunct="1">
              <a:defRPr/>
            </a:pPr>
            <a:endParaRPr lang="en-US" sz="1200" smtClean="0">
              <a:solidFill>
                <a:srgbClr val="FFFFFF"/>
              </a:solidFill>
            </a:endParaRPr>
          </a:p>
          <a:p>
            <a:pPr algn="r" eaLnBrk="1" hangingPunct="1">
              <a:spcBef>
                <a:spcPct val="50000"/>
              </a:spcBef>
              <a:defRPr/>
            </a:pPr>
            <a:endParaRPr lang="en-US" sz="800" smtClean="0">
              <a:solidFill>
                <a:srgbClr val="FFFFFF"/>
              </a:solidFill>
            </a:endParaRPr>
          </a:p>
          <a:p>
            <a:pPr algn="r" eaLnBrk="1" hangingPunct="1">
              <a:spcBef>
                <a:spcPct val="50000"/>
              </a:spcBef>
              <a:defRPr/>
            </a:pPr>
            <a:endParaRPr lang="en-US" sz="800" smtClean="0">
              <a:solidFill>
                <a:srgbClr val="FFFFFF"/>
              </a:solidFill>
            </a:endParaRPr>
          </a:p>
          <a:p>
            <a:pPr algn="r" eaLnBrk="1" hangingPunct="1">
              <a:spcBef>
                <a:spcPct val="50000"/>
              </a:spcBef>
              <a:defRPr/>
            </a:pPr>
            <a:endParaRPr lang="en-US" sz="800" smtClean="0">
              <a:solidFill>
                <a:srgbClr val="FFFFFF"/>
              </a:solidFill>
            </a:endParaRPr>
          </a:p>
          <a:p>
            <a:pPr eaLnBrk="1" hangingPunct="1">
              <a:spcBef>
                <a:spcPct val="50000"/>
              </a:spcBef>
              <a:defRPr/>
            </a:pPr>
            <a:r>
              <a:rPr lang="en-US" sz="500" smtClean="0">
                <a:solidFill>
                  <a:srgbClr val="9FB7D3"/>
                </a:solidFill>
              </a:rPr>
              <a:t>Characters for Embedded font:</a:t>
            </a:r>
            <a:br>
              <a:rPr lang="en-US" sz="500" smtClean="0">
                <a:solidFill>
                  <a:srgbClr val="9FB7D3"/>
                </a:solidFill>
              </a:rPr>
            </a:br>
            <a:r>
              <a:rPr lang="en-US" sz="500" smtClean="0">
                <a:solidFill>
                  <a:srgbClr val="9FB7D3"/>
                </a:solidFill>
                <a:latin typeface="Ericsson Capital TT" pitchFamily="2" charset="0"/>
              </a:rPr>
              <a:t>!"#$%&amp;'()*+,-./0123456789:;&lt;=&gt;?@ABCDEFGHIJKLMNOPQRSTUVWXYZ[\]^_`abcdefghijklmnopqrstuvwxyz{|}~¡¢£¤¥¦§¨©ª«¬®¯°±²³´¶·¸¹º»¼½ÀÁÂÃÄÅÆÇÈËÌÍÎÏÐÑÒÓÔÕÖ×ØÙÚÛÜÝÞßàáâãäåæçèéêëìíîïðñòóôõö÷øùúûüýþÿĀāĂăąĆćĊċČĎďĐđĒĖėĘęĚěĞğĠġĢģĪīĮįİıĶķĹĺĻļĽľŁłŃńŅņŇňŌŐőŒœŔŕŖŗŘřŚśŞşŠšŢţŤťŪūŮůŰűŲųŴŵŶŷŸŹźŻżŽžƒȘșˆˇ˘˙˚˛˜˝ẀẁẃẄẅỲỳ–—‘’‚“”„†‡•…‰‹›⁄€™ĀĀĂĂĄĄĆĆĊĊČČĎĎĐĐĒĒĖĖĘĘĚĚĞĞĠĠĢĢĪĪĮĮİĶĶĹĹĻĻĽĽŃŃŅŅŇŇŌŌŐŐŔŔŖŖŘŘŚŚŞŞŢŢŤŤŪŪŮŮŰŰŲŲŴŴŶŶŹŹŻŻȘș−≤≥ﬁﬂ</a:t>
            </a:r>
            <a:endParaRPr lang="en-US" sz="500" i="1" smtClean="0">
              <a:solidFill>
                <a:srgbClr val="9FB7D3"/>
              </a:solidFill>
              <a:latin typeface="Ericsson Capital TT" pitchFamily="2" charset="0"/>
            </a:endParaRPr>
          </a:p>
          <a:p>
            <a:pPr eaLnBrk="1" hangingPunct="1">
              <a:spcBef>
                <a:spcPct val="50000"/>
              </a:spcBef>
              <a:defRPr/>
            </a:pPr>
            <a:endParaRPr lang="en-US" sz="500" i="1" smtClean="0">
              <a:solidFill>
                <a:srgbClr val="9FB7D3"/>
              </a:solidFill>
              <a:latin typeface="Ericsson Capital TT" pitchFamily="2" charset="0"/>
            </a:endParaRPr>
          </a:p>
          <a:p>
            <a:pPr eaLnBrk="1" hangingPunct="1">
              <a:spcBef>
                <a:spcPct val="50000"/>
              </a:spcBef>
              <a:defRPr/>
            </a:pPr>
            <a:r>
              <a:rPr lang="en-US" sz="500" smtClean="0">
                <a:solidFill>
                  <a:srgbClr val="9FB7D3"/>
                </a:solidFill>
                <a:latin typeface="Ericsson Capital TT" pitchFamily="2" charset="0"/>
              </a:rPr>
              <a:t>ΆΈΉΊΌΎΏΐΑΒΓΕΖΗΘΙΚΛΜΝΞΟΠΡΣΤΥΦΧΨΪΫΆΈΉΊΰαβγδεζηθικλνξορςΣΤΥΦΧΨΩΪΫΌΎΏ</a:t>
            </a:r>
            <a:endParaRPr lang="en-US" sz="500" i="1" smtClean="0">
              <a:solidFill>
                <a:srgbClr val="9FB7D3"/>
              </a:solidFill>
              <a:latin typeface="Ericsson Capital TT" pitchFamily="2" charset="0"/>
            </a:endParaRPr>
          </a:p>
          <a:p>
            <a:pPr eaLnBrk="1" hangingPunct="1">
              <a:spcBef>
                <a:spcPct val="50000"/>
              </a:spcBef>
              <a:defRPr/>
            </a:pPr>
            <a:r>
              <a:rPr lang="en-US" sz="500" smtClean="0">
                <a:solidFill>
                  <a:srgbClr val="9FB7D3"/>
                </a:solidFill>
                <a:latin typeface="Ericsson Capital TT" pitchFamily="2" charset="0"/>
              </a:rPr>
              <a:t>ЁЂЃЄЅІЇЈЉЊЋЌЎЏАБВГДЕЖЗИЙКЛМНОПРСТУФХЦЧШЩЪЫЬЭЮЯАБВГДЕЖЗИЙКЛМНОПРСТУФХЦЧШЩЪЫЬЭЮЯЁЂЃЄЅІЇЈЉЊЋЌЎЏѢѢѲѲѴѴҐҐәǽẀẁẂẃẄẅỲỳ№</a:t>
            </a:r>
          </a:p>
          <a:p>
            <a:pPr eaLnBrk="1" hangingPunct="1">
              <a:lnSpc>
                <a:spcPct val="80000"/>
              </a:lnSpc>
              <a:spcBef>
                <a:spcPct val="20000"/>
              </a:spcBef>
              <a:defRPr/>
            </a:pPr>
            <a:endParaRPr lang="en-US" sz="500" smtClean="0">
              <a:solidFill>
                <a:srgbClr val="9FB7D3"/>
              </a:solidFill>
              <a:latin typeface="Ericsson Capital TT" pitchFamily="2" charset="0"/>
            </a:endParaRPr>
          </a:p>
          <a:p>
            <a:pPr algn="r" eaLnBrk="1" hangingPunct="1">
              <a:defRPr/>
            </a:pPr>
            <a:endParaRPr lang="en-US" sz="500" smtClean="0">
              <a:solidFill>
                <a:srgbClr val="FFFFFF"/>
              </a:solidFill>
              <a:latin typeface="Ericsson Capital TT" pitchFamily="2" charset="0"/>
            </a:endParaRPr>
          </a:p>
          <a:p>
            <a:pPr algn="r" eaLnBrk="1" hangingPunct="1">
              <a:defRPr/>
            </a:pPr>
            <a:endParaRPr lang="en-US" sz="800" smtClean="0">
              <a:solidFill>
                <a:srgbClr val="FFFFFF"/>
              </a:solidFill>
              <a:latin typeface="Ericsson Capital TT" pitchFamily="2" charset="0"/>
            </a:endParaRPr>
          </a:p>
          <a:p>
            <a:pPr algn="r" eaLnBrk="1" hangingPunct="1">
              <a:defRPr/>
            </a:pPr>
            <a:endParaRPr lang="en-US" sz="800" smtClean="0">
              <a:solidFill>
                <a:srgbClr val="FFFFFF"/>
              </a:solidFill>
              <a:latin typeface="Ericsson Capital TT" pitchFamily="2" charset="0"/>
            </a:endParaRPr>
          </a:p>
          <a:p>
            <a:pPr algn="r" eaLnBrk="1" hangingPunct="1">
              <a:defRPr/>
            </a:pPr>
            <a:endParaRPr lang="en-US" sz="800" smtClean="0">
              <a:solidFill>
                <a:srgbClr val="FFFFFF"/>
              </a:solidFill>
              <a:latin typeface="Ericsson Capital TT" pitchFamily="2" charset="0"/>
            </a:endParaRPr>
          </a:p>
          <a:p>
            <a:pPr algn="r" eaLnBrk="1" hangingPunct="1">
              <a:defRPr/>
            </a:pPr>
            <a:endParaRPr lang="en-US" sz="800" smtClean="0">
              <a:solidFill>
                <a:srgbClr val="FFFFFF"/>
              </a:solidFill>
              <a:latin typeface="Ericsson Capital TT" pitchFamily="2" charset="0"/>
            </a:endParaRPr>
          </a:p>
          <a:p>
            <a:pPr algn="r" eaLnBrk="1" hangingPunct="1">
              <a:defRPr/>
            </a:pPr>
            <a:endParaRPr lang="en-US" sz="800" smtClean="0">
              <a:solidFill>
                <a:srgbClr val="FFFFFF"/>
              </a:solidFill>
              <a:latin typeface="Ericsson Capital TT" pitchFamily="2" charset="0"/>
            </a:endParaRPr>
          </a:p>
          <a:p>
            <a:pPr algn="r" eaLnBrk="1" hangingPunct="1">
              <a:defRPr/>
            </a:pPr>
            <a:endParaRPr lang="en-US" sz="1400" smtClean="0">
              <a:solidFill>
                <a:srgbClr val="FFFFFF"/>
              </a:solidFill>
            </a:endParaRPr>
          </a:p>
          <a:p>
            <a:pPr algn="r" eaLnBrk="1" hangingPunct="1">
              <a:defRPr/>
            </a:pPr>
            <a:r>
              <a:rPr lang="en-US" sz="1200" smtClean="0">
                <a:solidFill>
                  <a:srgbClr val="FFFFFF"/>
                </a:solidFill>
              </a:rPr>
              <a:t>Do not add objects or text in the footer area</a:t>
            </a:r>
          </a:p>
        </p:txBody>
      </p:sp>
      <p:pic>
        <p:nvPicPr>
          <p:cNvPr id="1027" name="Econ2011" descr="ECON_RGB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87101" y="360363"/>
            <a:ext cx="592667" cy="588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523" name="txtfooterCopy"/>
          <p:cNvSpPr txBox="1">
            <a:spLocks noChangeArrowheads="1"/>
          </p:cNvSpPr>
          <p:nvPr/>
        </p:nvSpPr>
        <p:spPr bwMode="auto">
          <a:xfrm>
            <a:off x="527050" y="6524625"/>
            <a:ext cx="9865783" cy="2159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72000" rIns="72000"/>
          <a:lstStyle>
            <a:lvl1pPr algn="l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>
              <a:defRPr/>
            </a:pPr>
            <a:r>
              <a:rPr lang="en-US" sz="800" b="0" i="0" u="none" smtClean="0">
                <a:solidFill>
                  <a:srgbClr val="87888A"/>
                </a:solidFill>
              </a:rPr>
              <a:t>Clouding The Networked Society  |  Commercial in confidence  |  © Ericsson AB 2014  |  2014-08-11  |  Page </a:t>
            </a:r>
            <a:fld id="{EA8F1CB4-AE40-4EB4-B84D-C43458325CC8}" type="slidenum">
              <a:rPr lang="en-US" sz="800" b="0" i="0" u="none" smtClean="0">
                <a:solidFill>
                  <a:srgbClr val="87888A"/>
                </a:solidFill>
              </a:rPr>
              <a:t>‹#›</a:t>
            </a:fld>
            <a:endParaRPr lang="en-US" sz="800" b="0" i="0" u="none" smtClean="0">
              <a:solidFill>
                <a:srgbClr val="87888A"/>
              </a:solidFill>
            </a:endParaRPr>
          </a:p>
        </p:txBody>
      </p:sp>
      <p:sp>
        <p:nvSpPr>
          <p:cNvPr id="1029" name="Content_SM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9167" y="1800228"/>
            <a:ext cx="11135784" cy="3851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add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30" name="Title_SM"/>
          <p:cNvSpPr>
            <a:spLocks noGrp="1" noChangeArrowheads="1"/>
          </p:cNvSpPr>
          <p:nvPr>
            <p:ph type="title"/>
          </p:nvPr>
        </p:nvSpPr>
        <p:spPr bwMode="auto">
          <a:xfrm>
            <a:off x="524933" y="239713"/>
            <a:ext cx="9992784" cy="1085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29820515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37" r:id="rId16"/>
    <p:sldLayoutId id="2147483738" r:id="rId17"/>
    <p:sldLayoutId id="2147483739" r:id="rId18"/>
    <p:sldLayoutId id="2147483740" r:id="rId19"/>
    <p:sldLayoutId id="2147483741" r:id="rId2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Ericsson Capital TT"/>
          <a:ea typeface="+mj-ea"/>
          <a:cs typeface="+mj-cs"/>
        </a:defRPr>
      </a:lvl1pPr>
      <a:lvl2pPr algn="l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Ericsson Capital TT" pitchFamily="2" charset="0"/>
        </a:defRPr>
      </a:lvl2pPr>
      <a:lvl3pPr algn="l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Ericsson Capital TT" pitchFamily="2" charset="0"/>
        </a:defRPr>
      </a:lvl3pPr>
      <a:lvl4pPr algn="l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Ericsson Capital TT" pitchFamily="2" charset="0"/>
        </a:defRPr>
      </a:lvl4pPr>
      <a:lvl5pPr algn="l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Ericsson Capital TT" pitchFamily="2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Capital TT" pitchFamily="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Capital TT" pitchFamily="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Capital TT" pitchFamily="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Capital TT" pitchFamily="2" charset="0"/>
        </a:defRPr>
      </a:lvl9pPr>
    </p:titleStyle>
    <p:bodyStyle>
      <a:lvl1pPr marL="176213" indent="-176213" algn="l" rtl="0" eaLnBrk="0" fontAlgn="base" hangingPunct="0">
        <a:spcBef>
          <a:spcPct val="20000"/>
        </a:spcBef>
        <a:spcAft>
          <a:spcPct val="0"/>
        </a:spcAft>
        <a:buClr>
          <a:srgbClr val="00A9D4"/>
        </a:buClr>
        <a:buFont typeface="Arial" pitchFamily="34" charset="0"/>
        <a:buChar char="›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–"/>
        <a:defRPr sz="2000">
          <a:solidFill>
            <a:schemeClr val="tx1"/>
          </a:solidFill>
          <a:latin typeface="+mn-lt"/>
        </a:defRPr>
      </a:lvl2pPr>
      <a:lvl3pPr marL="892175" indent="-179388" algn="l" rtl="0" eaLnBrk="0" fontAlgn="base" hangingPunct="0">
        <a:spcBef>
          <a:spcPct val="20000"/>
        </a:spcBef>
        <a:spcAft>
          <a:spcPct val="0"/>
        </a:spcAft>
        <a:buClr>
          <a:srgbClr val="92CCE5"/>
        </a:buClr>
        <a:buFont typeface="Ericsson Capital TT" pitchFamily="2" charset="0"/>
        <a:buChar char="›"/>
        <a:defRPr sz="2000">
          <a:solidFill>
            <a:schemeClr val="tx1"/>
          </a:solidFill>
          <a:latin typeface="+mn-lt"/>
        </a:defRPr>
      </a:lvl3pPr>
      <a:lvl4pPr marL="1252538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-"/>
        <a:defRPr sz="2000">
          <a:solidFill>
            <a:schemeClr val="tx1"/>
          </a:solidFill>
          <a:latin typeface="+mn-lt"/>
        </a:defRPr>
      </a:lvl4pPr>
      <a:lvl5pPr marL="1614488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›"/>
        <a:defRPr sz="2000">
          <a:solidFill>
            <a:schemeClr val="tx1"/>
          </a:solidFill>
          <a:latin typeface="+mn-lt"/>
        </a:defRPr>
      </a:lvl5pPr>
      <a:lvl6pPr marL="2071688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›"/>
        <a:defRPr sz="2000">
          <a:solidFill>
            <a:schemeClr val="tx1"/>
          </a:solidFill>
          <a:latin typeface="+mn-lt"/>
        </a:defRPr>
      </a:lvl6pPr>
      <a:lvl7pPr marL="2528888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›"/>
        <a:defRPr sz="2000">
          <a:solidFill>
            <a:schemeClr val="tx1"/>
          </a:solidFill>
          <a:latin typeface="+mn-lt"/>
        </a:defRPr>
      </a:lvl7pPr>
      <a:lvl8pPr marL="2986088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›"/>
        <a:defRPr sz="2000">
          <a:solidFill>
            <a:schemeClr val="tx1"/>
          </a:solidFill>
          <a:latin typeface="+mn-lt"/>
        </a:defRPr>
      </a:lvl8pPr>
      <a:lvl9pPr marL="3443288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›"/>
        <a:defRPr sz="20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9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13" Type="http://schemas.openxmlformats.org/officeDocument/2006/relationships/image" Target="../media/image42.png"/><Relationship Id="rId3" Type="http://schemas.openxmlformats.org/officeDocument/2006/relationships/image" Target="../media/image33.png"/><Relationship Id="rId7" Type="http://schemas.openxmlformats.org/officeDocument/2006/relationships/image" Target="../media/image36.jpeg"/><Relationship Id="rId12" Type="http://schemas.openxmlformats.org/officeDocument/2006/relationships/image" Target="../media/image4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5.png"/><Relationship Id="rId11" Type="http://schemas.openxmlformats.org/officeDocument/2006/relationships/image" Target="../media/image40.jpeg"/><Relationship Id="rId5" Type="http://schemas.openxmlformats.org/officeDocument/2006/relationships/image" Target="../media/image34.jpeg"/><Relationship Id="rId10" Type="http://schemas.openxmlformats.org/officeDocument/2006/relationships/image" Target="../media/image39.png"/><Relationship Id="rId4" Type="http://schemas.openxmlformats.org/officeDocument/2006/relationships/hyperlink" Target="http://www.google.se/imgres?imgurl=http://m2m.gemalto.com/tl_files/cinterion/content/main/Partner/Logo%20etsi.jpg&amp;imgrefurl=http://m2m.gemalto.com/support-and-downloads/partners/standardization-strategic-alliances.html&amp;usg=__dz2nth0ZLEY66w0cbW2Z-qLR6sI=&amp;h=248&amp;w=823&amp;sz=29&amp;hl=sv&amp;start=1&amp;zoom=1&amp;tbnid=XIivGFcU769KKM:&amp;tbnh=43&amp;tbnw=144&amp;ei=eREhUfWnFoTcsgav54HABg&amp;prev=/images?q=logo+etsi&amp;hl=sv&amp;sa=X&amp;gbv=2&amp;tbm=isch&amp;itbs=1&amp;sa=X&amp;ved=0CCkQrQMwAA" TargetMode="External"/><Relationship Id="rId9" Type="http://schemas.openxmlformats.org/officeDocument/2006/relationships/image" Target="../media/image3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5.xml"/><Relationship Id="rId4" Type="http://schemas.openxmlformats.org/officeDocument/2006/relationships/image" Target="../media/image4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3" Type="http://schemas.openxmlformats.org/officeDocument/2006/relationships/image" Target="../media/image24.png"/><Relationship Id="rId7" Type="http://schemas.openxmlformats.org/officeDocument/2006/relationships/hyperlink" Target="http://www.google.se/imgres?imgurl=http://upload.wikimedia.org/wikipedia/en/9/96/DMTF_logo.png&amp;imgrefurl=http://en.wikipedia.org/wiki/File:DMTF_logo.png&amp;usg=__32zSh2BQdWWr-WzPpSVtDV21axQ=&amp;h=43&amp;w=128&amp;sz=3&amp;hl=sv&amp;start=5&amp;zoom=1&amp;tbnid=AyZ9fbYC3o4X1M:&amp;tbnh=31&amp;tbnw=91&amp;ei=_xw9UOPRJcvjtQav-oG4BQ&amp;prev=/images?q=DMTF+logo&amp;hl=sv&amp;gbv=2&amp;tbm=isch&amp;itbs=1" TargetMode="External"/><Relationship Id="rId12" Type="http://schemas.openxmlformats.org/officeDocument/2006/relationships/image" Target="../media/image4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5.jpeg"/><Relationship Id="rId11" Type="http://schemas.openxmlformats.org/officeDocument/2006/relationships/hyperlink" Target="http://www.ietf.org/" TargetMode="External"/><Relationship Id="rId5" Type="http://schemas.openxmlformats.org/officeDocument/2006/relationships/image" Target="../media/image44.jpeg"/><Relationship Id="rId10" Type="http://schemas.openxmlformats.org/officeDocument/2006/relationships/image" Target="../media/image47.png"/><Relationship Id="rId4" Type="http://schemas.openxmlformats.org/officeDocument/2006/relationships/hyperlink" Target="http://www.google.se/imgres?imgurl=http://blog.zenoss.com/wp-content/uploads/2011/08/openstack-logo512.png&amp;imgrefurl=http://blog.zenoss.com/2012/01/learning-experiences-in-openstack-deployment/&amp;usg=__2tgcNAhv3VAXEX43dRafa0tKtm4=&amp;h=432&amp;w=432&amp;sz=13&amp;hl=sv&amp;start=1&amp;zoom=1&amp;tbnid=s7KAugSB1vvgcM:&amp;tbnh=126&amp;tbnw=126&amp;ei=iRw9UNjvJMqLswbMsoGYDw&amp;prev=/images?q=openstack+logo&amp;hl=sv&amp;gbv=2&amp;tbm=isch&amp;itbs=1" TargetMode="External"/><Relationship Id="rId9" Type="http://schemas.openxmlformats.org/officeDocument/2006/relationships/hyperlink" Target="https://www.opennetworking.org/index.php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emf"/><Relationship Id="rId4" Type="http://schemas.openxmlformats.org/officeDocument/2006/relationships/image" Target="../media/image4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3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7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4.png"/><Relationship Id="rId11" Type="http://schemas.openxmlformats.org/officeDocument/2006/relationships/image" Target="../media/image18.png"/><Relationship Id="rId5" Type="http://schemas.openxmlformats.org/officeDocument/2006/relationships/image" Target="../media/image13.png"/><Relationship Id="rId10" Type="http://schemas.openxmlformats.org/officeDocument/2006/relationships/hyperlink" Target="http://www.microsoft.com/en-us/office365/online-software.aspx" TargetMode="External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9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image" Target="../media/image20.png"/><Relationship Id="rId9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25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14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8.png"/><Relationship Id="rId5" Type="http://schemas.openxmlformats.org/officeDocument/2006/relationships/image" Target="../media/image22.png"/><Relationship Id="rId4" Type="http://schemas.openxmlformats.org/officeDocument/2006/relationships/image" Target="../media/image19.png"/><Relationship Id="rId9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5" name="Picture 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52" r="2148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6" name="Title 3"/>
          <p:cNvSpPr>
            <a:spLocks noGrp="1"/>
          </p:cNvSpPr>
          <p:nvPr>
            <p:ph type="ctrTitle"/>
          </p:nvPr>
        </p:nvSpPr>
        <p:spPr>
          <a:xfrm>
            <a:off x="186614" y="1808168"/>
            <a:ext cx="11893419" cy="2840037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bg1"/>
                </a:solidFill>
                <a:latin typeface="Ericsson Capital TT" pitchFamily="2" charset="0"/>
              </a:rPr>
              <a:t>Clouding </a:t>
            </a:r>
            <a:br>
              <a:rPr lang="en-US" dirty="0" smtClean="0">
                <a:solidFill>
                  <a:schemeClr val="bg1"/>
                </a:solidFill>
                <a:latin typeface="Ericsson Capital TT" pitchFamily="2" charset="0"/>
              </a:rPr>
            </a:br>
            <a:r>
              <a:rPr lang="en-US" dirty="0" smtClean="0">
                <a:solidFill>
                  <a:schemeClr val="bg1"/>
                </a:solidFill>
                <a:latin typeface="Ericsson Capital TT" pitchFamily="2" charset="0"/>
              </a:rPr>
              <a:t>the networked society</a:t>
            </a:r>
          </a:p>
        </p:txBody>
      </p:sp>
      <p:pic>
        <p:nvPicPr>
          <p:cNvPr id="3078" name="Logo201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7081" y="317500"/>
            <a:ext cx="1051559" cy="901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" descr="bpct-blend5"/>
          <p:cNvSpPr>
            <a:spLocks noChangeArrowheads="1"/>
          </p:cNvSpPr>
          <p:nvPr/>
        </p:nvSpPr>
        <p:spPr bwMode="auto">
          <a:xfrm>
            <a:off x="0" y="0"/>
            <a:ext cx="6248400" cy="68580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lIns="91436" tIns="45719" rIns="91436" bIns="45719" anchor="ctr"/>
          <a:lstStyle/>
          <a:p>
            <a:pPr defTabSz="914377">
              <a:spcBef>
                <a:spcPct val="50000"/>
              </a:spcBef>
              <a:defRPr/>
            </a:pPr>
            <a:endParaRPr lang="sv-SE">
              <a:solidFill>
                <a:srgbClr val="58585A"/>
              </a:solidFill>
              <a:latin typeface="Arial"/>
              <a:cs typeface="Arial" charset="0"/>
            </a:endParaRPr>
          </a:p>
        </p:txBody>
      </p:sp>
      <p:sp>
        <p:nvSpPr>
          <p:cNvPr id="10243" name="Title 1"/>
          <p:cNvSpPr>
            <a:spLocks noGrp="1"/>
          </p:cNvSpPr>
          <p:nvPr>
            <p:ph type="title" idx="4294967295"/>
          </p:nvPr>
        </p:nvSpPr>
        <p:spPr>
          <a:xfrm>
            <a:off x="25403" y="55563"/>
            <a:ext cx="10386484" cy="1085850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  <a:latin typeface="Ericsson Capital TT" pitchFamily="2" charset="0"/>
              </a:rPr>
              <a:t>Network Func</a:t>
            </a:r>
            <a:r>
              <a:rPr lang="en-US" dirty="0">
                <a:solidFill>
                  <a:schemeClr val="bg1"/>
                </a:solidFill>
                <a:latin typeface="Ericsson Capital TT" pitchFamily="2" charset="0"/>
              </a:rPr>
              <a:t>tion </a:t>
            </a:r>
            <a:r>
              <a:rPr lang="en-US" dirty="0" smtClean="0">
                <a:solidFill>
                  <a:schemeClr val="bg1"/>
                </a:solidFill>
                <a:latin typeface="Ericsson Capital TT" pitchFamily="2" charset="0"/>
              </a:rPr>
              <a:t>Virtualization</a:t>
            </a:r>
          </a:p>
        </p:txBody>
      </p:sp>
      <p:sp>
        <p:nvSpPr>
          <p:cNvPr id="16387" name="Content Placeholder 2"/>
          <p:cNvSpPr>
            <a:spLocks noGrp="1"/>
          </p:cNvSpPr>
          <p:nvPr>
            <p:ph idx="4294967295"/>
          </p:nvPr>
        </p:nvSpPr>
        <p:spPr>
          <a:xfrm>
            <a:off x="10589" y="1539880"/>
            <a:ext cx="6142567" cy="4964113"/>
          </a:xfrm>
        </p:spPr>
        <p:txBody>
          <a:bodyPr/>
          <a:lstStyle/>
          <a:p>
            <a:pPr marL="234945" indent="-234945">
              <a:lnSpc>
                <a:spcPct val="80000"/>
              </a:lnSpc>
              <a:buFont typeface="Arial" charset="0"/>
              <a:buChar char="›"/>
              <a:defRPr/>
            </a:pPr>
            <a:r>
              <a:rPr lang="en-US" sz="2000" dirty="0" smtClean="0">
                <a:solidFill>
                  <a:srgbClr val="FFFFFF"/>
                </a:solidFill>
              </a:rPr>
              <a:t>Initiated December 2012</a:t>
            </a:r>
          </a:p>
          <a:p>
            <a:pPr marL="711182" lvl="1" indent="-237061">
              <a:lnSpc>
                <a:spcPct val="80000"/>
              </a:lnSpc>
              <a:defRPr/>
            </a:pPr>
            <a:r>
              <a:rPr lang="en-US" sz="1600" dirty="0">
                <a:solidFill>
                  <a:srgbClr val="FFFFFF"/>
                </a:solidFill>
              </a:rPr>
              <a:t>1</a:t>
            </a:r>
            <a:r>
              <a:rPr lang="en-US" sz="1600" baseline="30000" dirty="0">
                <a:solidFill>
                  <a:srgbClr val="FFFFFF"/>
                </a:solidFill>
              </a:rPr>
              <a:t>st</a:t>
            </a:r>
            <a:r>
              <a:rPr lang="en-US" sz="1600" dirty="0">
                <a:solidFill>
                  <a:srgbClr val="FFFFFF"/>
                </a:solidFill>
              </a:rPr>
              <a:t> meeting January 2013</a:t>
            </a:r>
          </a:p>
          <a:p>
            <a:pPr marL="711182" lvl="1" indent="-237061">
              <a:lnSpc>
                <a:spcPct val="80000"/>
              </a:lnSpc>
              <a:defRPr/>
            </a:pPr>
            <a:endParaRPr lang="en-US" sz="1600" dirty="0">
              <a:solidFill>
                <a:srgbClr val="FFFFFF"/>
              </a:solidFill>
            </a:endParaRPr>
          </a:p>
          <a:p>
            <a:pPr marL="711182" lvl="1" indent="-237061">
              <a:lnSpc>
                <a:spcPct val="80000"/>
              </a:lnSpc>
              <a:defRPr/>
            </a:pPr>
            <a:r>
              <a:rPr lang="en-US" sz="1600" dirty="0">
                <a:solidFill>
                  <a:srgbClr val="FFFFFF"/>
                </a:solidFill>
              </a:rPr>
              <a:t>Hosted by</a:t>
            </a:r>
          </a:p>
          <a:p>
            <a:pPr marL="234945" indent="-234945">
              <a:lnSpc>
                <a:spcPct val="80000"/>
              </a:lnSpc>
              <a:buFont typeface="Arial" charset="0"/>
              <a:buChar char="›"/>
              <a:defRPr/>
            </a:pPr>
            <a:endParaRPr lang="en-US" sz="2000" dirty="0" smtClean="0">
              <a:solidFill>
                <a:srgbClr val="FFFFFF"/>
              </a:solidFill>
            </a:endParaRPr>
          </a:p>
          <a:p>
            <a:pPr marL="234945" indent="-234945">
              <a:lnSpc>
                <a:spcPct val="80000"/>
              </a:lnSpc>
              <a:buFont typeface="Arial" charset="0"/>
              <a:buChar char="›"/>
              <a:defRPr/>
            </a:pPr>
            <a:r>
              <a:rPr lang="en-US" sz="2000" dirty="0" smtClean="0">
                <a:solidFill>
                  <a:srgbClr val="FFFFFF"/>
                </a:solidFill>
              </a:rPr>
              <a:t>Objective</a:t>
            </a:r>
          </a:p>
          <a:p>
            <a:pPr marL="711182" lvl="1" indent="-237061">
              <a:lnSpc>
                <a:spcPct val="80000"/>
              </a:lnSpc>
              <a:defRPr/>
            </a:pPr>
            <a:r>
              <a:rPr lang="en-US" sz="1800" dirty="0" smtClean="0">
                <a:solidFill>
                  <a:schemeClr val="bg1"/>
                </a:solidFill>
              </a:rPr>
              <a:t>Virtualization</a:t>
            </a:r>
            <a:r>
              <a:rPr lang="en-US" sz="1800" dirty="0" smtClean="0">
                <a:solidFill>
                  <a:srgbClr val="FFFFFF"/>
                </a:solidFill>
              </a:rPr>
              <a:t> as part of operators network transformation</a:t>
            </a:r>
          </a:p>
          <a:p>
            <a:pPr marL="711182" lvl="1" indent="-237061">
              <a:lnSpc>
                <a:spcPct val="80000"/>
              </a:lnSpc>
              <a:defRPr/>
            </a:pPr>
            <a:r>
              <a:rPr lang="en-US" sz="1800" dirty="0" smtClean="0">
                <a:solidFill>
                  <a:srgbClr val="FFFFFF"/>
                </a:solidFill>
              </a:rPr>
              <a:t>CAPEX/OPEX reductions</a:t>
            </a:r>
          </a:p>
          <a:p>
            <a:pPr marL="234945" indent="-234945">
              <a:lnSpc>
                <a:spcPct val="80000"/>
              </a:lnSpc>
              <a:buFont typeface="Arial" charset="0"/>
              <a:buChar char="›"/>
              <a:defRPr/>
            </a:pPr>
            <a:endParaRPr lang="en-US" sz="2000" dirty="0" smtClean="0">
              <a:solidFill>
                <a:srgbClr val="FFFFFF"/>
              </a:solidFill>
            </a:endParaRPr>
          </a:p>
          <a:p>
            <a:pPr marL="175680" indent="-175680">
              <a:lnSpc>
                <a:spcPct val="80000"/>
              </a:lnSpc>
              <a:buFont typeface="Arial" charset="0"/>
              <a:buChar char="›"/>
              <a:defRPr/>
            </a:pPr>
            <a:r>
              <a:rPr lang="en-US" sz="2000" dirty="0" smtClean="0">
                <a:solidFill>
                  <a:schemeClr val="bg1"/>
                </a:solidFill>
              </a:rPr>
              <a:t>Currently 172 members in total</a:t>
            </a:r>
          </a:p>
          <a:p>
            <a:pPr marL="533387" lvl="1" indent="-177796">
              <a:lnSpc>
                <a:spcPct val="80000"/>
              </a:lnSpc>
              <a:defRPr/>
            </a:pPr>
            <a:r>
              <a:rPr lang="en-US" sz="1800" dirty="0" smtClean="0">
                <a:solidFill>
                  <a:schemeClr val="bg1"/>
                </a:solidFill>
              </a:rPr>
              <a:t>28 operators; 144 vendors, integrators, </a:t>
            </a:r>
            <a:r>
              <a:rPr lang="en-US" sz="1800" dirty="0" err="1" smtClean="0">
                <a:solidFill>
                  <a:schemeClr val="bg1"/>
                </a:solidFill>
              </a:rPr>
              <a:t>etc</a:t>
            </a:r>
            <a:endParaRPr lang="en-US" sz="1800" dirty="0" smtClean="0">
              <a:solidFill>
                <a:schemeClr val="bg1"/>
              </a:solidFill>
            </a:endParaRPr>
          </a:p>
          <a:p>
            <a:pPr marL="533387" lvl="1" indent="-177796">
              <a:lnSpc>
                <a:spcPct val="80000"/>
              </a:lnSpc>
              <a:defRPr/>
            </a:pPr>
            <a:r>
              <a:rPr lang="en-US" sz="1800" dirty="0" smtClean="0">
                <a:solidFill>
                  <a:schemeClr val="bg1"/>
                </a:solidFill>
              </a:rPr>
              <a:t>Broad participation from the ICT industry</a:t>
            </a:r>
          </a:p>
          <a:p>
            <a:pPr marL="234945" indent="-234945">
              <a:lnSpc>
                <a:spcPct val="80000"/>
              </a:lnSpc>
              <a:buFont typeface="Arial" charset="0"/>
              <a:buChar char="›"/>
              <a:defRPr/>
            </a:pPr>
            <a:endParaRPr lang="en-US" sz="2000" dirty="0" smtClean="0">
              <a:solidFill>
                <a:srgbClr val="FFFFFF"/>
              </a:solidFill>
            </a:endParaRPr>
          </a:p>
          <a:p>
            <a:pPr marL="234945" indent="-234945">
              <a:lnSpc>
                <a:spcPct val="80000"/>
              </a:lnSpc>
              <a:buFont typeface="Arial" charset="0"/>
              <a:buChar char="›"/>
              <a:defRPr/>
            </a:pPr>
            <a:r>
              <a:rPr lang="en-US" sz="2000" dirty="0" smtClean="0">
                <a:solidFill>
                  <a:srgbClr val="FFFFFF"/>
                </a:solidFill>
              </a:rPr>
              <a:t>Target completion date: Q1 2015</a:t>
            </a:r>
          </a:p>
          <a:p>
            <a:pPr marL="711182" lvl="1" indent="-237061">
              <a:lnSpc>
                <a:spcPct val="80000"/>
              </a:lnSpc>
              <a:defRPr/>
            </a:pPr>
            <a:r>
              <a:rPr lang="en-US" sz="1800" dirty="0" smtClean="0">
                <a:solidFill>
                  <a:srgbClr val="FFFFFF"/>
                </a:solidFill>
              </a:rPr>
              <a:t>Will deliver requirements to standards bodies.</a:t>
            </a:r>
          </a:p>
          <a:p>
            <a:pPr marL="711182" lvl="1" indent="-237061">
              <a:lnSpc>
                <a:spcPct val="80000"/>
              </a:lnSpc>
              <a:defRPr/>
            </a:pPr>
            <a:endParaRPr lang="en-US" sz="1800" dirty="0" smtClean="0">
              <a:solidFill>
                <a:srgbClr val="FFFFFF"/>
              </a:solidFill>
            </a:endParaRPr>
          </a:p>
          <a:p>
            <a:pPr marL="234945" indent="-234945">
              <a:lnSpc>
                <a:spcPct val="80000"/>
              </a:lnSpc>
              <a:buFont typeface="Arial" charset="0"/>
              <a:buChar char="›"/>
              <a:defRPr/>
            </a:pPr>
            <a:endParaRPr lang="en-US" sz="2000" dirty="0" smtClean="0">
              <a:solidFill>
                <a:srgbClr val="FFFFFF"/>
              </a:solidFill>
            </a:endParaRPr>
          </a:p>
        </p:txBody>
      </p:sp>
      <p:pic>
        <p:nvPicPr>
          <p:cNvPr id="10248" name="Picture 66" descr="ANd9GcQVJvjyRr0OBqsODlLqy--SHgQJAz9rs4PP-ZeBKBYFE8Fr7ArleWZYXmQ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73" y="2133600"/>
            <a:ext cx="1037167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66" descr="Deutsche-Telekom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5402" y="748608"/>
            <a:ext cx="684213" cy="893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7" name="Group 11"/>
          <p:cNvGrpSpPr>
            <a:grpSpLocks/>
          </p:cNvGrpSpPr>
          <p:nvPr/>
        </p:nvGrpSpPr>
        <p:grpSpPr bwMode="auto">
          <a:xfrm>
            <a:off x="7072912" y="848615"/>
            <a:ext cx="3599143" cy="1079500"/>
            <a:chOff x="6266320" y="1069808"/>
            <a:chExt cx="4800261" cy="1078298"/>
          </a:xfrm>
        </p:grpSpPr>
        <p:pic>
          <p:nvPicPr>
            <p:cNvPr id="18" name="Picture 64" descr="ANd9GcSKB3LTHws5579L98MsqFASWuIT1F3caanRQv-zZpyTp_0AvrZKuw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79286" y="1126450"/>
              <a:ext cx="379956" cy="4965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Picture 61" descr="ANd9GcQH0yQUmThquLplFLYNavbJEOUYKuiTKcTpvMsmo6m2iYAWyRmR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05952" y="1208586"/>
              <a:ext cx="790285" cy="3677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Picture 69" descr="france-telecom-logo-vector-01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865" y="1069808"/>
              <a:ext cx="564752" cy="5535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Picture 70" descr="telecom_logo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22095" y="1769056"/>
              <a:ext cx="1079686" cy="3094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Picture 71" descr="ANd9GcROZSGLa5aZMaKL5Va4WY3sEHLSv-3o0MFk-UmDfrH4cNhsP9ob1A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41351" y="1759206"/>
              <a:ext cx="766337" cy="3136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73" descr="VerizonLogo1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96146" y="1655845"/>
              <a:ext cx="870435" cy="4922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" name="TextBox 10"/>
            <p:cNvSpPr txBox="1">
              <a:spLocks noChangeArrowheads="1"/>
            </p:cNvSpPr>
            <p:nvPr/>
          </p:nvSpPr>
          <p:spPr bwMode="auto">
            <a:xfrm>
              <a:off x="6266320" y="1172880"/>
              <a:ext cx="1785615" cy="379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36" tIns="45719" rIns="91436" bIns="45719">
              <a:spAutoFit/>
            </a:bodyPr>
            <a:lstStyle>
              <a:lvl1pPr defTabSz="685800" eaLnBrk="0" hangingPunct="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685800" eaLnBrk="0" hangingPunct="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685800" eaLnBrk="0" hangingPunct="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685800" eaLnBrk="0" hangingPunct="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685800" eaLnBrk="0" hangingPunct="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>
                <a:defRPr/>
              </a:pPr>
              <a:r>
                <a:rPr lang="en-US" sz="1867" b="1">
                  <a:solidFill>
                    <a:srgbClr val="58585A"/>
                  </a:solidFill>
                  <a:cs typeface="Arial" charset="0"/>
                </a:rPr>
                <a:t>Founders</a:t>
              </a:r>
              <a:r>
                <a:rPr lang="en-US" sz="1867">
                  <a:solidFill>
                    <a:srgbClr val="58585A"/>
                  </a:solidFill>
                  <a:cs typeface="Arial" charset="0"/>
                </a:rPr>
                <a:t>:</a:t>
              </a:r>
            </a:p>
          </p:txBody>
        </p:sp>
      </p:grpSp>
      <p:pic>
        <p:nvPicPr>
          <p:cNvPr id="26" name="Picture 4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4938" y="1993208"/>
            <a:ext cx="3921125" cy="4659313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68550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1" name="Rectangle 18"/>
          <p:cNvSpPr>
            <a:spLocks noChangeArrowheads="1"/>
          </p:cNvSpPr>
          <p:nvPr/>
        </p:nvSpPr>
        <p:spPr bwMode="auto">
          <a:xfrm>
            <a:off x="-4229" y="-4763"/>
            <a:ext cx="6405033" cy="6861176"/>
          </a:xfrm>
          <a:prstGeom prst="rect">
            <a:avLst/>
          </a:prstGeom>
          <a:blipFill dpi="0" rotWithShape="1">
            <a:blip r:embed="rId4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6" tIns="45719" rIns="91436" bIns="45719" anchor="ctr"/>
          <a:lstStyle/>
          <a:p>
            <a:pPr marL="342900" indent="-342900" defTabSz="685800">
              <a:buFont typeface="Ericsson Capital TT" pitchFamily="2" charset="0"/>
              <a:buAutoNum type="arabicPeriod"/>
            </a:pPr>
            <a:endParaRPr lang="pt-BR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272" name="Content Placeholder 2"/>
          <p:cNvSpPr txBox="1">
            <a:spLocks/>
          </p:cNvSpPr>
          <p:nvPr/>
        </p:nvSpPr>
        <p:spPr bwMode="auto">
          <a:xfrm>
            <a:off x="459317" y="1611313"/>
            <a:ext cx="5780616" cy="472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6" tIns="45719" rIns="91436" bIns="45719"/>
          <a:lstStyle>
            <a:lvl1pPr marL="131763" indent="-131763" defTabSz="6858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6858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6858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6858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6858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ts val="1200"/>
              </a:spcBef>
              <a:buClr>
                <a:srgbClr val="FFFFFF"/>
              </a:buClr>
              <a:buFont typeface="Wingdings" pitchFamily="2" charset="2"/>
              <a:buChar char="§"/>
            </a:pPr>
            <a:endParaRPr lang="en-US" sz="1600">
              <a:solidFill>
                <a:srgbClr val="FFFFFF"/>
              </a:solidFill>
            </a:endParaRPr>
          </a:p>
          <a:p>
            <a:pPr>
              <a:spcBef>
                <a:spcPts val="1200"/>
              </a:spcBef>
              <a:buClr>
                <a:srgbClr val="FFFFFF"/>
              </a:buClr>
              <a:buFont typeface="Wingdings" pitchFamily="2" charset="2"/>
              <a:buChar char="§"/>
            </a:pPr>
            <a:endParaRPr lang="en-US" sz="1600">
              <a:solidFill>
                <a:srgbClr val="FFFFFF"/>
              </a:solidFill>
            </a:endParaRPr>
          </a:p>
          <a:p>
            <a:pPr>
              <a:spcBef>
                <a:spcPts val="1200"/>
              </a:spcBef>
              <a:buClr>
                <a:srgbClr val="FFFFFF"/>
              </a:buClr>
              <a:buFont typeface="Wingdings" pitchFamily="2" charset="2"/>
              <a:buChar char="§"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1273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14302" y="239713"/>
            <a:ext cx="11126127" cy="1085850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  <a:latin typeface="Ericsson Capital TT" pitchFamily="2" charset="0"/>
              </a:rPr>
              <a:t>Service Provider </a:t>
            </a:r>
            <a:br>
              <a:rPr lang="en-US" dirty="0" smtClean="0">
                <a:solidFill>
                  <a:schemeClr val="bg1"/>
                </a:solidFill>
                <a:latin typeface="Ericsson Capital TT" pitchFamily="2" charset="0"/>
              </a:rPr>
            </a:b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Ericsson Capital TT" pitchFamily="2" charset="0"/>
              </a:rPr>
              <a:t>Software Defined Networks</a:t>
            </a:r>
            <a:endParaRPr lang="en-US" sz="6600" dirty="0" smtClean="0">
              <a:solidFill>
                <a:schemeClr val="tx1">
                  <a:lumMod val="50000"/>
                </a:schemeClr>
              </a:solidFill>
              <a:latin typeface="Ericsson Capital TT" pitchFamily="2" charset="0"/>
            </a:endParaRPr>
          </a:p>
        </p:txBody>
      </p:sp>
      <p:sp>
        <p:nvSpPr>
          <p:cNvPr id="11288" name="Freeform 6"/>
          <p:cNvSpPr>
            <a:spLocks noChangeAspect="1" noEditPoints="1"/>
          </p:cNvSpPr>
          <p:nvPr/>
        </p:nvSpPr>
        <p:spPr bwMode="auto">
          <a:xfrm rot="16200000" flipV="1">
            <a:off x="2339452" y="702734"/>
            <a:ext cx="1774825" cy="5700184"/>
          </a:xfrm>
          <a:custGeom>
            <a:avLst/>
            <a:gdLst>
              <a:gd name="T0" fmla="*/ 0 w 666"/>
              <a:gd name="T1" fmla="*/ 2147483647 h 1140"/>
              <a:gd name="T2" fmla="*/ 0 w 666"/>
              <a:gd name="T3" fmla="*/ 2147483647 h 1140"/>
              <a:gd name="T4" fmla="*/ 2147483647 w 666"/>
              <a:gd name="T5" fmla="*/ 2147483647 h 1140"/>
              <a:gd name="T6" fmla="*/ 2147483647 w 666"/>
              <a:gd name="T7" fmla="*/ 2147483647 h 1140"/>
              <a:gd name="T8" fmla="*/ 2147483647 w 666"/>
              <a:gd name="T9" fmla="*/ 2147483647 h 1140"/>
              <a:gd name="T10" fmla="*/ 0 w 666"/>
              <a:gd name="T11" fmla="*/ 2147483647 h 1140"/>
              <a:gd name="T12" fmla="*/ 0 w 666"/>
              <a:gd name="T13" fmla="*/ 2147483647 h 1140"/>
              <a:gd name="T14" fmla="*/ 2147483647 w 666"/>
              <a:gd name="T15" fmla="*/ 0 h 1140"/>
              <a:gd name="T16" fmla="*/ 2147483647 w 666"/>
              <a:gd name="T17" fmla="*/ 2147483647 h 1140"/>
              <a:gd name="T18" fmla="*/ 2147483647 w 666"/>
              <a:gd name="T19" fmla="*/ 2147483647 h 1140"/>
              <a:gd name="T20" fmla="*/ 2147483647 w 666"/>
              <a:gd name="T21" fmla="*/ 2147483647 h 1140"/>
              <a:gd name="T22" fmla="*/ 2147483647 w 666"/>
              <a:gd name="T23" fmla="*/ 2147483647 h 1140"/>
              <a:gd name="T24" fmla="*/ 2147483647 w 666"/>
              <a:gd name="T25" fmla="*/ 2147483647 h 1140"/>
              <a:gd name="T26" fmla="*/ 2147483647 w 666"/>
              <a:gd name="T27" fmla="*/ 2147483647 h 1140"/>
              <a:gd name="T28" fmla="*/ 2147483647 w 666"/>
              <a:gd name="T29" fmla="*/ 2147483647 h 1140"/>
              <a:gd name="T30" fmla="*/ 2147483647 w 666"/>
              <a:gd name="T31" fmla="*/ 2147483647 h 1140"/>
              <a:gd name="T32" fmla="*/ 2147483647 w 666"/>
              <a:gd name="T33" fmla="*/ 2147483647 h 1140"/>
              <a:gd name="T34" fmla="*/ 2147483647 w 666"/>
              <a:gd name="T35" fmla="*/ 2147483647 h 1140"/>
              <a:gd name="T36" fmla="*/ 2147483647 w 666"/>
              <a:gd name="T37" fmla="*/ 2147483647 h 1140"/>
              <a:gd name="T38" fmla="*/ 2147483647 w 666"/>
              <a:gd name="T39" fmla="*/ 2147483647 h 1140"/>
              <a:gd name="T40" fmla="*/ 2147483647 w 666"/>
              <a:gd name="T41" fmla="*/ 2147483647 h 1140"/>
              <a:gd name="T42" fmla="*/ 2147483647 w 666"/>
              <a:gd name="T43" fmla="*/ 2147483647 h 1140"/>
              <a:gd name="T44" fmla="*/ 2147483647 w 666"/>
              <a:gd name="T45" fmla="*/ 2147483647 h 1140"/>
              <a:gd name="T46" fmla="*/ 2147483647 w 666"/>
              <a:gd name="T47" fmla="*/ 2147483647 h 1140"/>
              <a:gd name="T48" fmla="*/ 2147483647 w 666"/>
              <a:gd name="T49" fmla="*/ 2147483647 h 1140"/>
              <a:gd name="T50" fmla="*/ 2147483647 w 666"/>
              <a:gd name="T51" fmla="*/ 2147483647 h 1140"/>
              <a:gd name="T52" fmla="*/ 2147483647 w 666"/>
              <a:gd name="T53" fmla="*/ 2147483647 h 1140"/>
              <a:gd name="T54" fmla="*/ 2147483647 w 666"/>
              <a:gd name="T55" fmla="*/ 2147483647 h 1140"/>
              <a:gd name="T56" fmla="*/ 2147483647 w 666"/>
              <a:gd name="T57" fmla="*/ 2147483647 h 1140"/>
              <a:gd name="T58" fmla="*/ 2147483647 w 666"/>
              <a:gd name="T59" fmla="*/ 2147483647 h 1140"/>
              <a:gd name="T60" fmla="*/ 2147483647 w 666"/>
              <a:gd name="T61" fmla="*/ 2147483647 h 1140"/>
              <a:gd name="T62" fmla="*/ 2147483647 w 666"/>
              <a:gd name="T63" fmla="*/ 2147483647 h 1140"/>
              <a:gd name="T64" fmla="*/ 2147483647 w 666"/>
              <a:gd name="T65" fmla="*/ 2147483647 h 1140"/>
              <a:gd name="T66" fmla="*/ 2147483647 w 666"/>
              <a:gd name="T67" fmla="*/ 2147483647 h 1140"/>
              <a:gd name="T68" fmla="*/ 2147483647 w 666"/>
              <a:gd name="T69" fmla="*/ 2147483647 h 1140"/>
              <a:gd name="T70" fmla="*/ 2147483647 w 666"/>
              <a:gd name="T71" fmla="*/ 2147483647 h 1140"/>
              <a:gd name="T72" fmla="*/ 2147483647 w 666"/>
              <a:gd name="T73" fmla="*/ 2147483647 h 1140"/>
              <a:gd name="T74" fmla="*/ 2147483647 w 666"/>
              <a:gd name="T75" fmla="*/ 2147483647 h 1140"/>
              <a:gd name="T76" fmla="*/ 2147483647 w 666"/>
              <a:gd name="T77" fmla="*/ 2147483647 h 1140"/>
              <a:gd name="T78" fmla="*/ 2147483647 w 666"/>
              <a:gd name="T79" fmla="*/ 2147483647 h 1140"/>
              <a:gd name="T80" fmla="*/ 2147483647 w 666"/>
              <a:gd name="T81" fmla="*/ 2147483647 h 1140"/>
              <a:gd name="T82" fmla="*/ 2147483647 w 666"/>
              <a:gd name="T83" fmla="*/ 2147483647 h 1140"/>
              <a:gd name="T84" fmla="*/ 2147483647 w 666"/>
              <a:gd name="T85" fmla="*/ 2147483647 h 114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666"/>
              <a:gd name="T130" fmla="*/ 0 h 1140"/>
              <a:gd name="T131" fmla="*/ 666 w 666"/>
              <a:gd name="T132" fmla="*/ 1140 h 1140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666" h="1140">
                <a:moveTo>
                  <a:pt x="337" y="1140"/>
                </a:moveTo>
                <a:cubicBezTo>
                  <a:pt x="32" y="1140"/>
                  <a:pt x="32" y="1140"/>
                  <a:pt x="32" y="1140"/>
                </a:cubicBezTo>
                <a:cubicBezTo>
                  <a:pt x="15" y="1140"/>
                  <a:pt x="0" y="1126"/>
                  <a:pt x="0" y="1108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814"/>
                  <a:pt x="0" y="814"/>
                  <a:pt x="0" y="814"/>
                </a:cubicBezTo>
                <a:cubicBezTo>
                  <a:pt x="0" y="682"/>
                  <a:pt x="0" y="682"/>
                  <a:pt x="0" y="682"/>
                </a:cubicBezTo>
                <a:cubicBezTo>
                  <a:pt x="0" y="679"/>
                  <a:pt x="2" y="677"/>
                  <a:pt x="3" y="675"/>
                </a:cubicBezTo>
                <a:cubicBezTo>
                  <a:pt x="3" y="675"/>
                  <a:pt x="3" y="675"/>
                  <a:pt x="3" y="675"/>
                </a:cubicBezTo>
                <a:cubicBezTo>
                  <a:pt x="17" y="665"/>
                  <a:pt x="72" y="621"/>
                  <a:pt x="82" y="613"/>
                </a:cubicBezTo>
                <a:cubicBezTo>
                  <a:pt x="82" y="613"/>
                  <a:pt x="82" y="613"/>
                  <a:pt x="82" y="613"/>
                </a:cubicBezTo>
                <a:cubicBezTo>
                  <a:pt x="98" y="600"/>
                  <a:pt x="101" y="585"/>
                  <a:pt x="102" y="574"/>
                </a:cubicBezTo>
                <a:cubicBezTo>
                  <a:pt x="102" y="574"/>
                  <a:pt x="102" y="574"/>
                  <a:pt x="102" y="574"/>
                </a:cubicBezTo>
                <a:cubicBezTo>
                  <a:pt x="101" y="563"/>
                  <a:pt x="98" y="548"/>
                  <a:pt x="82" y="535"/>
                </a:cubicBezTo>
                <a:cubicBezTo>
                  <a:pt x="82" y="535"/>
                  <a:pt x="82" y="535"/>
                  <a:pt x="82" y="535"/>
                </a:cubicBezTo>
                <a:cubicBezTo>
                  <a:pt x="72" y="527"/>
                  <a:pt x="4" y="471"/>
                  <a:pt x="3" y="471"/>
                </a:cubicBezTo>
                <a:cubicBezTo>
                  <a:pt x="3" y="471"/>
                  <a:pt x="3" y="471"/>
                  <a:pt x="3" y="471"/>
                </a:cubicBezTo>
                <a:cubicBezTo>
                  <a:pt x="2" y="470"/>
                  <a:pt x="0" y="467"/>
                  <a:pt x="0" y="465"/>
                </a:cubicBezTo>
                <a:cubicBezTo>
                  <a:pt x="0" y="465"/>
                  <a:pt x="0" y="465"/>
                  <a:pt x="0" y="465"/>
                </a:cubicBezTo>
                <a:cubicBezTo>
                  <a:pt x="0" y="324"/>
                  <a:pt x="0" y="324"/>
                  <a:pt x="0" y="324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14"/>
                  <a:pt x="15" y="0"/>
                  <a:pt x="32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37" y="0"/>
                  <a:pt x="337" y="0"/>
                  <a:pt x="337" y="0"/>
                </a:cubicBezTo>
                <a:cubicBezTo>
                  <a:pt x="451" y="0"/>
                  <a:pt x="451" y="0"/>
                  <a:pt x="451" y="0"/>
                </a:cubicBezTo>
                <a:cubicBezTo>
                  <a:pt x="469" y="0"/>
                  <a:pt x="483" y="14"/>
                  <a:pt x="483" y="32"/>
                </a:cubicBezTo>
                <a:cubicBezTo>
                  <a:pt x="483" y="32"/>
                  <a:pt x="483" y="32"/>
                  <a:pt x="483" y="32"/>
                </a:cubicBezTo>
                <a:cubicBezTo>
                  <a:pt x="483" y="505"/>
                  <a:pt x="483" y="505"/>
                  <a:pt x="483" y="505"/>
                </a:cubicBezTo>
                <a:cubicBezTo>
                  <a:pt x="530" y="505"/>
                  <a:pt x="530" y="505"/>
                  <a:pt x="530" y="505"/>
                </a:cubicBezTo>
                <a:cubicBezTo>
                  <a:pt x="530" y="503"/>
                  <a:pt x="530" y="501"/>
                  <a:pt x="530" y="499"/>
                </a:cubicBezTo>
                <a:cubicBezTo>
                  <a:pt x="530" y="499"/>
                  <a:pt x="530" y="499"/>
                  <a:pt x="530" y="499"/>
                </a:cubicBezTo>
                <a:cubicBezTo>
                  <a:pt x="530" y="492"/>
                  <a:pt x="531" y="487"/>
                  <a:pt x="534" y="482"/>
                </a:cubicBezTo>
                <a:cubicBezTo>
                  <a:pt x="534" y="482"/>
                  <a:pt x="534" y="482"/>
                  <a:pt x="534" y="482"/>
                </a:cubicBezTo>
                <a:cubicBezTo>
                  <a:pt x="537" y="477"/>
                  <a:pt x="543" y="474"/>
                  <a:pt x="548" y="474"/>
                </a:cubicBezTo>
                <a:cubicBezTo>
                  <a:pt x="548" y="474"/>
                  <a:pt x="548" y="474"/>
                  <a:pt x="548" y="474"/>
                </a:cubicBezTo>
                <a:cubicBezTo>
                  <a:pt x="554" y="475"/>
                  <a:pt x="560" y="477"/>
                  <a:pt x="565" y="481"/>
                </a:cubicBezTo>
                <a:cubicBezTo>
                  <a:pt x="565" y="481"/>
                  <a:pt x="565" y="481"/>
                  <a:pt x="565" y="481"/>
                </a:cubicBezTo>
                <a:cubicBezTo>
                  <a:pt x="570" y="486"/>
                  <a:pt x="645" y="545"/>
                  <a:pt x="655" y="553"/>
                </a:cubicBezTo>
                <a:cubicBezTo>
                  <a:pt x="655" y="553"/>
                  <a:pt x="655" y="553"/>
                  <a:pt x="655" y="553"/>
                </a:cubicBezTo>
                <a:cubicBezTo>
                  <a:pt x="655" y="553"/>
                  <a:pt x="655" y="553"/>
                  <a:pt x="655" y="553"/>
                </a:cubicBezTo>
                <a:cubicBezTo>
                  <a:pt x="661" y="558"/>
                  <a:pt x="666" y="566"/>
                  <a:pt x="666" y="574"/>
                </a:cubicBezTo>
                <a:cubicBezTo>
                  <a:pt x="666" y="574"/>
                  <a:pt x="666" y="574"/>
                  <a:pt x="666" y="574"/>
                </a:cubicBezTo>
                <a:cubicBezTo>
                  <a:pt x="666" y="582"/>
                  <a:pt x="661" y="590"/>
                  <a:pt x="655" y="595"/>
                </a:cubicBezTo>
                <a:cubicBezTo>
                  <a:pt x="655" y="595"/>
                  <a:pt x="655" y="595"/>
                  <a:pt x="655" y="595"/>
                </a:cubicBezTo>
                <a:cubicBezTo>
                  <a:pt x="645" y="603"/>
                  <a:pt x="575" y="658"/>
                  <a:pt x="565" y="667"/>
                </a:cubicBezTo>
                <a:cubicBezTo>
                  <a:pt x="565" y="667"/>
                  <a:pt x="565" y="667"/>
                  <a:pt x="565" y="667"/>
                </a:cubicBezTo>
                <a:cubicBezTo>
                  <a:pt x="560" y="671"/>
                  <a:pt x="554" y="673"/>
                  <a:pt x="548" y="673"/>
                </a:cubicBezTo>
                <a:cubicBezTo>
                  <a:pt x="548" y="673"/>
                  <a:pt x="548" y="673"/>
                  <a:pt x="548" y="673"/>
                </a:cubicBezTo>
                <a:cubicBezTo>
                  <a:pt x="543" y="673"/>
                  <a:pt x="537" y="671"/>
                  <a:pt x="534" y="666"/>
                </a:cubicBezTo>
                <a:cubicBezTo>
                  <a:pt x="534" y="666"/>
                  <a:pt x="534" y="666"/>
                  <a:pt x="534" y="666"/>
                </a:cubicBezTo>
                <a:cubicBezTo>
                  <a:pt x="531" y="661"/>
                  <a:pt x="530" y="656"/>
                  <a:pt x="530" y="649"/>
                </a:cubicBezTo>
                <a:cubicBezTo>
                  <a:pt x="530" y="649"/>
                  <a:pt x="530" y="649"/>
                  <a:pt x="530" y="649"/>
                </a:cubicBezTo>
                <a:cubicBezTo>
                  <a:pt x="530" y="647"/>
                  <a:pt x="530" y="645"/>
                  <a:pt x="530" y="643"/>
                </a:cubicBezTo>
                <a:cubicBezTo>
                  <a:pt x="530" y="643"/>
                  <a:pt x="530" y="643"/>
                  <a:pt x="530" y="643"/>
                </a:cubicBezTo>
                <a:cubicBezTo>
                  <a:pt x="483" y="643"/>
                  <a:pt x="483" y="643"/>
                  <a:pt x="483" y="643"/>
                </a:cubicBezTo>
                <a:cubicBezTo>
                  <a:pt x="483" y="1108"/>
                  <a:pt x="483" y="1108"/>
                  <a:pt x="483" y="1108"/>
                </a:cubicBezTo>
                <a:cubicBezTo>
                  <a:pt x="483" y="1126"/>
                  <a:pt x="469" y="1140"/>
                  <a:pt x="451" y="1140"/>
                </a:cubicBezTo>
                <a:cubicBezTo>
                  <a:pt x="451" y="1140"/>
                  <a:pt x="451" y="1140"/>
                  <a:pt x="451" y="1140"/>
                </a:cubicBezTo>
                <a:cubicBezTo>
                  <a:pt x="337" y="1140"/>
                  <a:pt x="337" y="1140"/>
                  <a:pt x="337" y="1140"/>
                </a:cubicBezTo>
                <a:close/>
                <a:moveTo>
                  <a:pt x="16" y="814"/>
                </a:moveTo>
                <a:cubicBezTo>
                  <a:pt x="16" y="1108"/>
                  <a:pt x="16" y="1108"/>
                  <a:pt x="16" y="1108"/>
                </a:cubicBezTo>
                <a:cubicBezTo>
                  <a:pt x="16" y="1108"/>
                  <a:pt x="16" y="1108"/>
                  <a:pt x="16" y="1108"/>
                </a:cubicBezTo>
                <a:cubicBezTo>
                  <a:pt x="16" y="1117"/>
                  <a:pt x="24" y="1124"/>
                  <a:pt x="32" y="1124"/>
                </a:cubicBezTo>
                <a:cubicBezTo>
                  <a:pt x="32" y="1124"/>
                  <a:pt x="32" y="1124"/>
                  <a:pt x="32" y="1124"/>
                </a:cubicBezTo>
                <a:cubicBezTo>
                  <a:pt x="337" y="1124"/>
                  <a:pt x="337" y="1124"/>
                  <a:pt x="337" y="1124"/>
                </a:cubicBezTo>
                <a:cubicBezTo>
                  <a:pt x="451" y="1124"/>
                  <a:pt x="451" y="1124"/>
                  <a:pt x="451" y="1124"/>
                </a:cubicBezTo>
                <a:cubicBezTo>
                  <a:pt x="460" y="1124"/>
                  <a:pt x="467" y="1117"/>
                  <a:pt x="467" y="1108"/>
                </a:cubicBezTo>
                <a:cubicBezTo>
                  <a:pt x="467" y="1108"/>
                  <a:pt x="467" y="1108"/>
                  <a:pt x="467" y="1108"/>
                </a:cubicBezTo>
                <a:cubicBezTo>
                  <a:pt x="467" y="635"/>
                  <a:pt x="467" y="635"/>
                  <a:pt x="467" y="635"/>
                </a:cubicBezTo>
                <a:cubicBezTo>
                  <a:pt x="467" y="632"/>
                  <a:pt x="468" y="630"/>
                  <a:pt x="469" y="629"/>
                </a:cubicBezTo>
                <a:cubicBezTo>
                  <a:pt x="469" y="629"/>
                  <a:pt x="469" y="629"/>
                  <a:pt x="469" y="629"/>
                </a:cubicBezTo>
                <a:cubicBezTo>
                  <a:pt x="471" y="627"/>
                  <a:pt x="473" y="627"/>
                  <a:pt x="475" y="627"/>
                </a:cubicBezTo>
                <a:cubicBezTo>
                  <a:pt x="475" y="627"/>
                  <a:pt x="475" y="627"/>
                  <a:pt x="475" y="627"/>
                </a:cubicBezTo>
                <a:cubicBezTo>
                  <a:pt x="538" y="627"/>
                  <a:pt x="538" y="627"/>
                  <a:pt x="538" y="627"/>
                </a:cubicBezTo>
                <a:cubicBezTo>
                  <a:pt x="542" y="627"/>
                  <a:pt x="546" y="630"/>
                  <a:pt x="546" y="635"/>
                </a:cubicBezTo>
                <a:cubicBezTo>
                  <a:pt x="546" y="635"/>
                  <a:pt x="546" y="635"/>
                  <a:pt x="546" y="635"/>
                </a:cubicBezTo>
                <a:cubicBezTo>
                  <a:pt x="546" y="640"/>
                  <a:pt x="546" y="646"/>
                  <a:pt x="546" y="649"/>
                </a:cubicBezTo>
                <a:cubicBezTo>
                  <a:pt x="546" y="649"/>
                  <a:pt x="546" y="649"/>
                  <a:pt x="546" y="649"/>
                </a:cubicBezTo>
                <a:cubicBezTo>
                  <a:pt x="546" y="654"/>
                  <a:pt x="547" y="656"/>
                  <a:pt x="547" y="657"/>
                </a:cubicBezTo>
                <a:cubicBezTo>
                  <a:pt x="547" y="657"/>
                  <a:pt x="547" y="657"/>
                  <a:pt x="547" y="657"/>
                </a:cubicBezTo>
                <a:cubicBezTo>
                  <a:pt x="548" y="657"/>
                  <a:pt x="548" y="657"/>
                  <a:pt x="548" y="657"/>
                </a:cubicBezTo>
                <a:cubicBezTo>
                  <a:pt x="548" y="657"/>
                  <a:pt x="548" y="657"/>
                  <a:pt x="548" y="657"/>
                </a:cubicBezTo>
                <a:cubicBezTo>
                  <a:pt x="549" y="657"/>
                  <a:pt x="552" y="657"/>
                  <a:pt x="554" y="654"/>
                </a:cubicBezTo>
                <a:cubicBezTo>
                  <a:pt x="554" y="654"/>
                  <a:pt x="554" y="654"/>
                  <a:pt x="554" y="654"/>
                </a:cubicBezTo>
                <a:cubicBezTo>
                  <a:pt x="565" y="645"/>
                  <a:pt x="635" y="590"/>
                  <a:pt x="645" y="582"/>
                </a:cubicBezTo>
                <a:cubicBezTo>
                  <a:pt x="645" y="582"/>
                  <a:pt x="645" y="582"/>
                  <a:pt x="645" y="582"/>
                </a:cubicBezTo>
                <a:cubicBezTo>
                  <a:pt x="649" y="579"/>
                  <a:pt x="650" y="577"/>
                  <a:pt x="650" y="574"/>
                </a:cubicBezTo>
                <a:cubicBezTo>
                  <a:pt x="650" y="574"/>
                  <a:pt x="650" y="574"/>
                  <a:pt x="650" y="574"/>
                </a:cubicBezTo>
                <a:cubicBezTo>
                  <a:pt x="650" y="571"/>
                  <a:pt x="649" y="569"/>
                  <a:pt x="645" y="566"/>
                </a:cubicBezTo>
                <a:cubicBezTo>
                  <a:pt x="645" y="566"/>
                  <a:pt x="645" y="566"/>
                  <a:pt x="645" y="566"/>
                </a:cubicBezTo>
                <a:cubicBezTo>
                  <a:pt x="650" y="560"/>
                  <a:pt x="650" y="560"/>
                  <a:pt x="650" y="560"/>
                </a:cubicBezTo>
                <a:cubicBezTo>
                  <a:pt x="645" y="566"/>
                  <a:pt x="645" y="566"/>
                  <a:pt x="645" y="566"/>
                </a:cubicBezTo>
                <a:cubicBezTo>
                  <a:pt x="635" y="558"/>
                  <a:pt x="560" y="498"/>
                  <a:pt x="554" y="494"/>
                </a:cubicBezTo>
                <a:cubicBezTo>
                  <a:pt x="554" y="494"/>
                  <a:pt x="554" y="494"/>
                  <a:pt x="554" y="494"/>
                </a:cubicBezTo>
                <a:cubicBezTo>
                  <a:pt x="551" y="491"/>
                  <a:pt x="549" y="490"/>
                  <a:pt x="548" y="490"/>
                </a:cubicBezTo>
                <a:cubicBezTo>
                  <a:pt x="548" y="490"/>
                  <a:pt x="548" y="490"/>
                  <a:pt x="548" y="490"/>
                </a:cubicBezTo>
                <a:cubicBezTo>
                  <a:pt x="548" y="491"/>
                  <a:pt x="548" y="491"/>
                  <a:pt x="548" y="491"/>
                </a:cubicBezTo>
                <a:cubicBezTo>
                  <a:pt x="548" y="491"/>
                  <a:pt x="548" y="491"/>
                  <a:pt x="548" y="491"/>
                </a:cubicBezTo>
                <a:cubicBezTo>
                  <a:pt x="548" y="491"/>
                  <a:pt x="548" y="491"/>
                  <a:pt x="547" y="491"/>
                </a:cubicBezTo>
                <a:cubicBezTo>
                  <a:pt x="547" y="491"/>
                  <a:pt x="547" y="491"/>
                  <a:pt x="547" y="491"/>
                </a:cubicBezTo>
                <a:cubicBezTo>
                  <a:pt x="547" y="492"/>
                  <a:pt x="546" y="494"/>
                  <a:pt x="546" y="499"/>
                </a:cubicBezTo>
                <a:cubicBezTo>
                  <a:pt x="546" y="499"/>
                  <a:pt x="546" y="499"/>
                  <a:pt x="546" y="499"/>
                </a:cubicBezTo>
                <a:cubicBezTo>
                  <a:pt x="546" y="502"/>
                  <a:pt x="546" y="507"/>
                  <a:pt x="546" y="513"/>
                </a:cubicBezTo>
                <a:cubicBezTo>
                  <a:pt x="546" y="513"/>
                  <a:pt x="546" y="513"/>
                  <a:pt x="546" y="513"/>
                </a:cubicBezTo>
                <a:cubicBezTo>
                  <a:pt x="546" y="518"/>
                  <a:pt x="542" y="521"/>
                  <a:pt x="538" y="521"/>
                </a:cubicBezTo>
                <a:cubicBezTo>
                  <a:pt x="538" y="521"/>
                  <a:pt x="538" y="521"/>
                  <a:pt x="538" y="521"/>
                </a:cubicBezTo>
                <a:cubicBezTo>
                  <a:pt x="475" y="521"/>
                  <a:pt x="475" y="521"/>
                  <a:pt x="475" y="521"/>
                </a:cubicBezTo>
                <a:cubicBezTo>
                  <a:pt x="473" y="521"/>
                  <a:pt x="471" y="520"/>
                  <a:pt x="469" y="519"/>
                </a:cubicBezTo>
                <a:cubicBezTo>
                  <a:pt x="469" y="519"/>
                  <a:pt x="469" y="519"/>
                  <a:pt x="469" y="519"/>
                </a:cubicBezTo>
                <a:cubicBezTo>
                  <a:pt x="468" y="517"/>
                  <a:pt x="467" y="515"/>
                  <a:pt x="467" y="513"/>
                </a:cubicBezTo>
                <a:cubicBezTo>
                  <a:pt x="467" y="513"/>
                  <a:pt x="467" y="513"/>
                  <a:pt x="467" y="513"/>
                </a:cubicBezTo>
                <a:cubicBezTo>
                  <a:pt x="467" y="32"/>
                  <a:pt x="467" y="32"/>
                  <a:pt x="467" y="32"/>
                </a:cubicBezTo>
                <a:cubicBezTo>
                  <a:pt x="467" y="23"/>
                  <a:pt x="460" y="16"/>
                  <a:pt x="451" y="16"/>
                </a:cubicBezTo>
                <a:cubicBezTo>
                  <a:pt x="451" y="16"/>
                  <a:pt x="451" y="16"/>
                  <a:pt x="451" y="16"/>
                </a:cubicBezTo>
                <a:cubicBezTo>
                  <a:pt x="337" y="16"/>
                  <a:pt x="337" y="16"/>
                  <a:pt x="337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24" y="16"/>
                  <a:pt x="16" y="23"/>
                  <a:pt x="16" y="32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324"/>
                  <a:pt x="16" y="324"/>
                  <a:pt x="16" y="324"/>
                </a:cubicBezTo>
                <a:cubicBezTo>
                  <a:pt x="16" y="461"/>
                  <a:pt x="16" y="461"/>
                  <a:pt x="16" y="461"/>
                </a:cubicBezTo>
                <a:cubicBezTo>
                  <a:pt x="30" y="472"/>
                  <a:pt x="83" y="515"/>
                  <a:pt x="92" y="523"/>
                </a:cubicBezTo>
                <a:cubicBezTo>
                  <a:pt x="92" y="523"/>
                  <a:pt x="92" y="523"/>
                  <a:pt x="92" y="523"/>
                </a:cubicBezTo>
                <a:cubicBezTo>
                  <a:pt x="113" y="539"/>
                  <a:pt x="118" y="560"/>
                  <a:pt x="118" y="574"/>
                </a:cubicBezTo>
                <a:cubicBezTo>
                  <a:pt x="118" y="574"/>
                  <a:pt x="118" y="574"/>
                  <a:pt x="118" y="574"/>
                </a:cubicBezTo>
                <a:cubicBezTo>
                  <a:pt x="118" y="588"/>
                  <a:pt x="113" y="609"/>
                  <a:pt x="92" y="625"/>
                </a:cubicBezTo>
                <a:cubicBezTo>
                  <a:pt x="92" y="625"/>
                  <a:pt x="92" y="625"/>
                  <a:pt x="92" y="625"/>
                </a:cubicBezTo>
                <a:cubicBezTo>
                  <a:pt x="83" y="633"/>
                  <a:pt x="34" y="672"/>
                  <a:pt x="16" y="685"/>
                </a:cubicBezTo>
                <a:cubicBezTo>
                  <a:pt x="16" y="685"/>
                  <a:pt x="16" y="685"/>
                  <a:pt x="16" y="685"/>
                </a:cubicBezTo>
                <a:cubicBezTo>
                  <a:pt x="16" y="814"/>
                  <a:pt x="16" y="814"/>
                  <a:pt x="16" y="81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10800000" vert="eaVert" lIns="168000" tIns="158400"/>
          <a:lstStyle/>
          <a:p>
            <a:endParaRPr lang="en-US">
              <a:solidFill>
                <a:srgbClr val="58585A"/>
              </a:solidFill>
              <a:cs typeface="Arial" pitchFamily="34" charset="0"/>
            </a:endParaRPr>
          </a:p>
        </p:txBody>
      </p:sp>
      <p:sp>
        <p:nvSpPr>
          <p:cNvPr id="11289" name="Content Placeholder 3"/>
          <p:cNvSpPr>
            <a:spLocks/>
          </p:cNvSpPr>
          <p:nvPr/>
        </p:nvSpPr>
        <p:spPr bwMode="auto">
          <a:xfrm rot="10800000" flipV="1">
            <a:off x="721790" y="5238759"/>
            <a:ext cx="4870449" cy="709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1997" tIns="0" rIns="71997" bIns="0"/>
          <a:lstStyle/>
          <a:p>
            <a:pPr marL="131763" indent="-131763" algn="ctr" defTabSz="685800" eaLnBrk="0" hangingPunct="0">
              <a:spcBef>
                <a:spcPct val="20000"/>
              </a:spcBef>
              <a:buClr>
                <a:srgbClr val="FFFFFF"/>
              </a:buClr>
              <a:buFont typeface="Arial" pitchFamily="34" charset="0"/>
              <a:buNone/>
            </a:pPr>
            <a:r>
              <a:rPr lang="en-US" sz="1800">
                <a:solidFill>
                  <a:srgbClr val="FFFFFF"/>
                </a:solidFill>
                <a:cs typeface="Arial" pitchFamily="34" charset="0"/>
              </a:rPr>
              <a:t>Separation of data plane and network control</a:t>
            </a:r>
          </a:p>
          <a:p>
            <a:pPr marL="131763" indent="-131763" algn="ctr" defTabSz="685800" eaLnBrk="0" hangingPunct="0">
              <a:spcBef>
                <a:spcPct val="20000"/>
              </a:spcBef>
              <a:buClr>
                <a:srgbClr val="FFFFFF"/>
              </a:buClr>
              <a:buFont typeface="Arial" pitchFamily="34" charset="0"/>
              <a:buNone/>
            </a:pPr>
            <a:r>
              <a:rPr lang="en-US" sz="1800">
                <a:solidFill>
                  <a:srgbClr val="FFFFFF"/>
                </a:solidFill>
                <a:cs typeface="Arial" pitchFamily="34" charset="0"/>
              </a:rPr>
              <a:t>Network services on demand</a:t>
            </a:r>
          </a:p>
          <a:p>
            <a:pPr marL="131763" indent="-131763" algn="ctr" defTabSz="685800" eaLnBrk="0" hangingPunct="0">
              <a:spcBef>
                <a:spcPct val="20000"/>
              </a:spcBef>
              <a:buClr>
                <a:srgbClr val="FFFFFF"/>
              </a:buClr>
              <a:buFont typeface="Arial" pitchFamily="34" charset="0"/>
              <a:buChar char="›"/>
            </a:pPr>
            <a:endParaRPr lang="en-US" sz="18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290" name="Content Placeholder 3"/>
          <p:cNvSpPr>
            <a:spLocks/>
          </p:cNvSpPr>
          <p:nvPr/>
        </p:nvSpPr>
        <p:spPr bwMode="auto">
          <a:xfrm rot="10800000" flipV="1">
            <a:off x="613835" y="3367088"/>
            <a:ext cx="5230284" cy="703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1997" tIns="0" rIns="71997" bIns="0"/>
          <a:lstStyle/>
          <a:p>
            <a:pPr marL="131763" indent="-131763" algn="ctr" defTabSz="685800" eaLnBrk="0" hangingPunct="0">
              <a:spcBef>
                <a:spcPct val="20000"/>
              </a:spcBef>
              <a:buClr>
                <a:srgbClr val="FFFFFF"/>
              </a:buClr>
              <a:buFont typeface="Arial" pitchFamily="34" charset="0"/>
              <a:buNone/>
            </a:pPr>
            <a:r>
              <a:rPr lang="en-GB" sz="1800">
                <a:solidFill>
                  <a:srgbClr val="FFFFFF"/>
                </a:solidFill>
                <a:cs typeface="Arial" pitchFamily="34" charset="0"/>
              </a:rPr>
              <a:t>Location agnostic network identities</a:t>
            </a:r>
          </a:p>
          <a:p>
            <a:pPr marL="131763" indent="-131763" algn="ctr" defTabSz="685800" eaLnBrk="0" hangingPunct="0">
              <a:spcBef>
                <a:spcPct val="20000"/>
              </a:spcBef>
              <a:buClr>
                <a:srgbClr val="FFFFFF"/>
              </a:buClr>
              <a:buFont typeface="Arial" pitchFamily="34" charset="0"/>
              <a:buNone/>
            </a:pPr>
            <a:r>
              <a:rPr lang="en-GB" sz="1800">
                <a:solidFill>
                  <a:srgbClr val="FFFFFF"/>
                </a:solidFill>
                <a:cs typeface="Arial" pitchFamily="34" charset="0"/>
              </a:rPr>
              <a:t>Seamless application elasticity</a:t>
            </a:r>
          </a:p>
        </p:txBody>
      </p:sp>
      <p:sp>
        <p:nvSpPr>
          <p:cNvPr id="11291" name="Freeform 3"/>
          <p:cNvSpPr>
            <a:spLocks noChangeAspect="1"/>
          </p:cNvSpPr>
          <p:nvPr/>
        </p:nvSpPr>
        <p:spPr bwMode="auto">
          <a:xfrm rot="16200000" flipV="1">
            <a:off x="2248436" y="2550591"/>
            <a:ext cx="1927225" cy="5700183"/>
          </a:xfrm>
          <a:custGeom>
            <a:avLst/>
            <a:gdLst>
              <a:gd name="T0" fmla="*/ 2147483647 w 666"/>
              <a:gd name="T1" fmla="*/ 2147483647 h 1140"/>
              <a:gd name="T2" fmla="*/ 2147483647 w 666"/>
              <a:gd name="T3" fmla="*/ 2147483647 h 1140"/>
              <a:gd name="T4" fmla="*/ 2147483647 w 666"/>
              <a:gd name="T5" fmla="*/ 2147483647 h 1140"/>
              <a:gd name="T6" fmla="*/ 2147483647 w 666"/>
              <a:gd name="T7" fmla="*/ 2147483647 h 1140"/>
              <a:gd name="T8" fmla="*/ 2147483647 w 666"/>
              <a:gd name="T9" fmla="*/ 2147483647 h 1140"/>
              <a:gd name="T10" fmla="*/ 2147483647 w 666"/>
              <a:gd name="T11" fmla="*/ 2147483647 h 1140"/>
              <a:gd name="T12" fmla="*/ 2147483647 w 666"/>
              <a:gd name="T13" fmla="*/ 2147483647 h 1140"/>
              <a:gd name="T14" fmla="*/ 2147483647 w 666"/>
              <a:gd name="T15" fmla="*/ 2147483647 h 1140"/>
              <a:gd name="T16" fmla="*/ 2147483647 w 666"/>
              <a:gd name="T17" fmla="*/ 2147483647 h 1140"/>
              <a:gd name="T18" fmla="*/ 2147483647 w 666"/>
              <a:gd name="T19" fmla="*/ 2147483647 h 1140"/>
              <a:gd name="T20" fmla="*/ 2147483647 w 666"/>
              <a:gd name="T21" fmla="*/ 2147483647 h 1140"/>
              <a:gd name="T22" fmla="*/ 2147483647 w 666"/>
              <a:gd name="T23" fmla="*/ 2147483647 h 1140"/>
              <a:gd name="T24" fmla="*/ 2147483647 w 666"/>
              <a:gd name="T25" fmla="*/ 2147483647 h 1140"/>
              <a:gd name="T26" fmla="*/ 2147483647 w 666"/>
              <a:gd name="T27" fmla="*/ 2147483647 h 1140"/>
              <a:gd name="T28" fmla="*/ 2147483647 w 666"/>
              <a:gd name="T29" fmla="*/ 2147483647 h 1140"/>
              <a:gd name="T30" fmla="*/ 2147483647 w 666"/>
              <a:gd name="T31" fmla="*/ 2147483647 h 1140"/>
              <a:gd name="T32" fmla="*/ 2147483647 w 666"/>
              <a:gd name="T33" fmla="*/ 2147483647 h 1140"/>
              <a:gd name="T34" fmla="*/ 2147483647 w 666"/>
              <a:gd name="T35" fmla="*/ 2147483647 h 1140"/>
              <a:gd name="T36" fmla="*/ 2147483647 w 666"/>
              <a:gd name="T37" fmla="*/ 2147483647 h 1140"/>
              <a:gd name="T38" fmla="*/ 2147483647 w 666"/>
              <a:gd name="T39" fmla="*/ 2147483647 h 1140"/>
              <a:gd name="T40" fmla="*/ 2147483647 w 666"/>
              <a:gd name="T41" fmla="*/ 2147483647 h 1140"/>
              <a:gd name="T42" fmla="*/ 2147483647 w 666"/>
              <a:gd name="T43" fmla="*/ 2147483647 h 1140"/>
              <a:gd name="T44" fmla="*/ 2147483647 w 666"/>
              <a:gd name="T45" fmla="*/ 2147483647 h 1140"/>
              <a:gd name="T46" fmla="*/ 2147483647 w 666"/>
              <a:gd name="T47" fmla="*/ 2147483647 h 1140"/>
              <a:gd name="T48" fmla="*/ 0 w 666"/>
              <a:gd name="T49" fmla="*/ 2147483647 h 1140"/>
              <a:gd name="T50" fmla="*/ 2147483647 w 666"/>
              <a:gd name="T51" fmla="*/ 0 h 1140"/>
              <a:gd name="T52" fmla="*/ 2147483647 w 666"/>
              <a:gd name="T53" fmla="*/ 0 h 1140"/>
              <a:gd name="T54" fmla="*/ 2147483647 w 666"/>
              <a:gd name="T55" fmla="*/ 2147483647 h 1140"/>
              <a:gd name="T56" fmla="*/ 2147483647 w 666"/>
              <a:gd name="T57" fmla="*/ 2147483647 h 1140"/>
              <a:gd name="T58" fmla="*/ 2147483647 w 666"/>
              <a:gd name="T59" fmla="*/ 2147483647 h 1140"/>
              <a:gd name="T60" fmla="*/ 2147483647 w 666"/>
              <a:gd name="T61" fmla="*/ 2147483647 h 1140"/>
              <a:gd name="T62" fmla="*/ 2147483647 w 666"/>
              <a:gd name="T63" fmla="*/ 2147483647 h 1140"/>
              <a:gd name="T64" fmla="*/ 2147483647 w 666"/>
              <a:gd name="T65" fmla="*/ 2147483647 h 1140"/>
              <a:gd name="T66" fmla="*/ 2147483647 w 666"/>
              <a:gd name="T67" fmla="*/ 2147483647 h 1140"/>
              <a:gd name="T68" fmla="*/ 2147483647 w 666"/>
              <a:gd name="T69" fmla="*/ 2147483647 h 1140"/>
              <a:gd name="T70" fmla="*/ 2147483647 w 666"/>
              <a:gd name="T71" fmla="*/ 2147483647 h 1140"/>
              <a:gd name="T72" fmla="*/ 2147483647 w 666"/>
              <a:gd name="T73" fmla="*/ 2147483647 h 1140"/>
              <a:gd name="T74" fmla="*/ 2147483647 w 666"/>
              <a:gd name="T75" fmla="*/ 2147483647 h 1140"/>
              <a:gd name="T76" fmla="*/ 2147483647 w 666"/>
              <a:gd name="T77" fmla="*/ 2147483647 h 1140"/>
              <a:gd name="T78" fmla="*/ 2147483647 w 666"/>
              <a:gd name="T79" fmla="*/ 2147483647 h 1140"/>
              <a:gd name="T80" fmla="*/ 2147483647 w 666"/>
              <a:gd name="T81" fmla="*/ 2147483647 h 1140"/>
              <a:gd name="T82" fmla="*/ 2147483647 w 666"/>
              <a:gd name="T83" fmla="*/ 2147483647 h 1140"/>
              <a:gd name="T84" fmla="*/ 2147483647 w 666"/>
              <a:gd name="T85" fmla="*/ 2147483647 h 114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666"/>
              <a:gd name="T130" fmla="*/ 0 h 1140"/>
              <a:gd name="T131" fmla="*/ 666 w 666"/>
              <a:gd name="T132" fmla="*/ 1140 h 1140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666" h="1140">
                <a:moveTo>
                  <a:pt x="32" y="1140"/>
                </a:moveTo>
                <a:cubicBezTo>
                  <a:pt x="32" y="1132"/>
                  <a:pt x="32" y="1132"/>
                  <a:pt x="32" y="1132"/>
                </a:cubicBezTo>
                <a:cubicBezTo>
                  <a:pt x="32" y="1124"/>
                  <a:pt x="32" y="1124"/>
                  <a:pt x="32" y="1124"/>
                </a:cubicBezTo>
                <a:cubicBezTo>
                  <a:pt x="451" y="1124"/>
                  <a:pt x="451" y="1124"/>
                  <a:pt x="451" y="1124"/>
                </a:cubicBezTo>
                <a:cubicBezTo>
                  <a:pt x="459" y="1124"/>
                  <a:pt x="467" y="1117"/>
                  <a:pt x="467" y="1108"/>
                </a:cubicBezTo>
                <a:cubicBezTo>
                  <a:pt x="467" y="1108"/>
                  <a:pt x="467" y="1108"/>
                  <a:pt x="467" y="1108"/>
                </a:cubicBezTo>
                <a:cubicBezTo>
                  <a:pt x="467" y="627"/>
                  <a:pt x="467" y="627"/>
                  <a:pt x="467" y="627"/>
                </a:cubicBezTo>
                <a:cubicBezTo>
                  <a:pt x="545" y="627"/>
                  <a:pt x="545" y="627"/>
                  <a:pt x="545" y="627"/>
                </a:cubicBezTo>
                <a:cubicBezTo>
                  <a:pt x="545" y="635"/>
                  <a:pt x="545" y="635"/>
                  <a:pt x="545" y="635"/>
                </a:cubicBezTo>
                <a:cubicBezTo>
                  <a:pt x="545" y="640"/>
                  <a:pt x="545" y="646"/>
                  <a:pt x="545" y="649"/>
                </a:cubicBezTo>
                <a:cubicBezTo>
                  <a:pt x="545" y="649"/>
                  <a:pt x="545" y="649"/>
                  <a:pt x="545" y="649"/>
                </a:cubicBezTo>
                <a:cubicBezTo>
                  <a:pt x="545" y="654"/>
                  <a:pt x="546" y="656"/>
                  <a:pt x="547" y="657"/>
                </a:cubicBezTo>
                <a:cubicBezTo>
                  <a:pt x="547" y="657"/>
                  <a:pt x="547" y="657"/>
                  <a:pt x="547" y="657"/>
                </a:cubicBezTo>
                <a:cubicBezTo>
                  <a:pt x="547" y="657"/>
                  <a:pt x="547" y="657"/>
                  <a:pt x="548" y="657"/>
                </a:cubicBezTo>
                <a:cubicBezTo>
                  <a:pt x="548" y="657"/>
                  <a:pt x="548" y="657"/>
                  <a:pt x="548" y="657"/>
                </a:cubicBezTo>
                <a:cubicBezTo>
                  <a:pt x="549" y="657"/>
                  <a:pt x="551" y="657"/>
                  <a:pt x="554" y="654"/>
                </a:cubicBezTo>
                <a:cubicBezTo>
                  <a:pt x="554" y="654"/>
                  <a:pt x="554" y="654"/>
                  <a:pt x="554" y="654"/>
                </a:cubicBezTo>
                <a:cubicBezTo>
                  <a:pt x="565" y="645"/>
                  <a:pt x="635" y="590"/>
                  <a:pt x="645" y="582"/>
                </a:cubicBezTo>
                <a:cubicBezTo>
                  <a:pt x="645" y="582"/>
                  <a:pt x="645" y="582"/>
                  <a:pt x="645" y="582"/>
                </a:cubicBezTo>
                <a:cubicBezTo>
                  <a:pt x="649" y="579"/>
                  <a:pt x="649" y="577"/>
                  <a:pt x="649" y="574"/>
                </a:cubicBezTo>
                <a:cubicBezTo>
                  <a:pt x="649" y="574"/>
                  <a:pt x="649" y="574"/>
                  <a:pt x="649" y="574"/>
                </a:cubicBezTo>
                <a:cubicBezTo>
                  <a:pt x="649" y="571"/>
                  <a:pt x="649" y="569"/>
                  <a:pt x="645" y="566"/>
                </a:cubicBezTo>
                <a:cubicBezTo>
                  <a:pt x="645" y="566"/>
                  <a:pt x="645" y="566"/>
                  <a:pt x="645" y="566"/>
                </a:cubicBezTo>
                <a:cubicBezTo>
                  <a:pt x="635" y="558"/>
                  <a:pt x="560" y="498"/>
                  <a:pt x="554" y="494"/>
                </a:cubicBezTo>
                <a:cubicBezTo>
                  <a:pt x="554" y="494"/>
                  <a:pt x="554" y="494"/>
                  <a:pt x="554" y="494"/>
                </a:cubicBezTo>
                <a:cubicBezTo>
                  <a:pt x="551" y="491"/>
                  <a:pt x="548" y="490"/>
                  <a:pt x="548" y="490"/>
                </a:cubicBezTo>
                <a:cubicBezTo>
                  <a:pt x="548" y="490"/>
                  <a:pt x="548" y="490"/>
                  <a:pt x="548" y="490"/>
                </a:cubicBezTo>
                <a:cubicBezTo>
                  <a:pt x="547" y="491"/>
                  <a:pt x="547" y="491"/>
                  <a:pt x="547" y="491"/>
                </a:cubicBezTo>
                <a:cubicBezTo>
                  <a:pt x="547" y="491"/>
                  <a:pt x="547" y="491"/>
                  <a:pt x="547" y="491"/>
                </a:cubicBezTo>
                <a:cubicBezTo>
                  <a:pt x="547" y="491"/>
                  <a:pt x="547" y="490"/>
                  <a:pt x="547" y="491"/>
                </a:cubicBezTo>
                <a:cubicBezTo>
                  <a:pt x="547" y="491"/>
                  <a:pt x="547" y="491"/>
                  <a:pt x="547" y="491"/>
                </a:cubicBezTo>
                <a:cubicBezTo>
                  <a:pt x="546" y="492"/>
                  <a:pt x="545" y="494"/>
                  <a:pt x="545" y="499"/>
                </a:cubicBezTo>
                <a:cubicBezTo>
                  <a:pt x="545" y="499"/>
                  <a:pt x="545" y="499"/>
                  <a:pt x="545" y="499"/>
                </a:cubicBezTo>
                <a:cubicBezTo>
                  <a:pt x="545" y="502"/>
                  <a:pt x="545" y="507"/>
                  <a:pt x="545" y="513"/>
                </a:cubicBezTo>
                <a:cubicBezTo>
                  <a:pt x="545" y="513"/>
                  <a:pt x="545" y="513"/>
                  <a:pt x="545" y="513"/>
                </a:cubicBezTo>
                <a:cubicBezTo>
                  <a:pt x="545" y="521"/>
                  <a:pt x="545" y="521"/>
                  <a:pt x="545" y="521"/>
                </a:cubicBezTo>
                <a:cubicBezTo>
                  <a:pt x="467" y="521"/>
                  <a:pt x="467" y="521"/>
                  <a:pt x="467" y="521"/>
                </a:cubicBezTo>
                <a:cubicBezTo>
                  <a:pt x="467" y="32"/>
                  <a:pt x="467" y="32"/>
                  <a:pt x="467" y="32"/>
                </a:cubicBezTo>
                <a:cubicBezTo>
                  <a:pt x="467" y="23"/>
                  <a:pt x="459" y="16"/>
                  <a:pt x="451" y="16"/>
                </a:cubicBezTo>
                <a:cubicBezTo>
                  <a:pt x="451" y="16"/>
                  <a:pt x="451" y="16"/>
                  <a:pt x="451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23" y="16"/>
                  <a:pt x="16" y="23"/>
                  <a:pt x="16" y="32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1108"/>
                  <a:pt x="16" y="1108"/>
                  <a:pt x="16" y="1108"/>
                </a:cubicBezTo>
                <a:cubicBezTo>
                  <a:pt x="16" y="1117"/>
                  <a:pt x="23" y="1124"/>
                  <a:pt x="32" y="1124"/>
                </a:cubicBezTo>
                <a:cubicBezTo>
                  <a:pt x="32" y="1124"/>
                  <a:pt x="32" y="1124"/>
                  <a:pt x="32" y="1124"/>
                </a:cubicBezTo>
                <a:cubicBezTo>
                  <a:pt x="32" y="1132"/>
                  <a:pt x="32" y="1132"/>
                  <a:pt x="32" y="1132"/>
                </a:cubicBezTo>
                <a:cubicBezTo>
                  <a:pt x="32" y="1140"/>
                  <a:pt x="32" y="1140"/>
                  <a:pt x="32" y="1140"/>
                </a:cubicBezTo>
                <a:cubicBezTo>
                  <a:pt x="14" y="1140"/>
                  <a:pt x="0" y="1126"/>
                  <a:pt x="0" y="1108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14"/>
                  <a:pt x="14" y="0"/>
                  <a:pt x="32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451" y="0"/>
                  <a:pt x="451" y="0"/>
                  <a:pt x="451" y="0"/>
                </a:cubicBezTo>
                <a:cubicBezTo>
                  <a:pt x="468" y="0"/>
                  <a:pt x="483" y="14"/>
                  <a:pt x="483" y="32"/>
                </a:cubicBezTo>
                <a:cubicBezTo>
                  <a:pt x="483" y="32"/>
                  <a:pt x="483" y="32"/>
                  <a:pt x="483" y="32"/>
                </a:cubicBezTo>
                <a:cubicBezTo>
                  <a:pt x="483" y="505"/>
                  <a:pt x="483" y="505"/>
                  <a:pt x="483" y="505"/>
                </a:cubicBezTo>
                <a:cubicBezTo>
                  <a:pt x="529" y="505"/>
                  <a:pt x="529" y="505"/>
                  <a:pt x="529" y="505"/>
                </a:cubicBezTo>
                <a:cubicBezTo>
                  <a:pt x="529" y="503"/>
                  <a:pt x="529" y="501"/>
                  <a:pt x="529" y="499"/>
                </a:cubicBezTo>
                <a:cubicBezTo>
                  <a:pt x="529" y="499"/>
                  <a:pt x="529" y="499"/>
                  <a:pt x="529" y="499"/>
                </a:cubicBezTo>
                <a:cubicBezTo>
                  <a:pt x="529" y="492"/>
                  <a:pt x="530" y="487"/>
                  <a:pt x="534" y="482"/>
                </a:cubicBezTo>
                <a:cubicBezTo>
                  <a:pt x="534" y="482"/>
                  <a:pt x="534" y="482"/>
                  <a:pt x="534" y="482"/>
                </a:cubicBezTo>
                <a:cubicBezTo>
                  <a:pt x="537" y="477"/>
                  <a:pt x="542" y="474"/>
                  <a:pt x="548" y="474"/>
                </a:cubicBezTo>
                <a:cubicBezTo>
                  <a:pt x="548" y="474"/>
                  <a:pt x="548" y="474"/>
                  <a:pt x="548" y="474"/>
                </a:cubicBezTo>
                <a:cubicBezTo>
                  <a:pt x="554" y="475"/>
                  <a:pt x="559" y="477"/>
                  <a:pt x="564" y="481"/>
                </a:cubicBezTo>
                <a:cubicBezTo>
                  <a:pt x="564" y="481"/>
                  <a:pt x="564" y="481"/>
                  <a:pt x="564" y="481"/>
                </a:cubicBezTo>
                <a:cubicBezTo>
                  <a:pt x="569" y="486"/>
                  <a:pt x="645" y="545"/>
                  <a:pt x="655" y="553"/>
                </a:cubicBezTo>
                <a:cubicBezTo>
                  <a:pt x="655" y="553"/>
                  <a:pt x="655" y="553"/>
                  <a:pt x="655" y="553"/>
                </a:cubicBezTo>
                <a:cubicBezTo>
                  <a:pt x="661" y="558"/>
                  <a:pt x="666" y="566"/>
                  <a:pt x="665" y="574"/>
                </a:cubicBezTo>
                <a:cubicBezTo>
                  <a:pt x="665" y="574"/>
                  <a:pt x="665" y="574"/>
                  <a:pt x="665" y="574"/>
                </a:cubicBezTo>
                <a:cubicBezTo>
                  <a:pt x="666" y="582"/>
                  <a:pt x="661" y="590"/>
                  <a:pt x="655" y="595"/>
                </a:cubicBezTo>
                <a:cubicBezTo>
                  <a:pt x="655" y="595"/>
                  <a:pt x="655" y="595"/>
                  <a:pt x="655" y="595"/>
                </a:cubicBezTo>
                <a:cubicBezTo>
                  <a:pt x="645" y="603"/>
                  <a:pt x="574" y="658"/>
                  <a:pt x="564" y="667"/>
                </a:cubicBezTo>
                <a:cubicBezTo>
                  <a:pt x="564" y="667"/>
                  <a:pt x="564" y="667"/>
                  <a:pt x="564" y="667"/>
                </a:cubicBezTo>
                <a:cubicBezTo>
                  <a:pt x="559" y="671"/>
                  <a:pt x="554" y="673"/>
                  <a:pt x="548" y="673"/>
                </a:cubicBezTo>
                <a:cubicBezTo>
                  <a:pt x="548" y="673"/>
                  <a:pt x="548" y="673"/>
                  <a:pt x="548" y="673"/>
                </a:cubicBezTo>
                <a:cubicBezTo>
                  <a:pt x="543" y="673"/>
                  <a:pt x="537" y="671"/>
                  <a:pt x="534" y="666"/>
                </a:cubicBezTo>
                <a:cubicBezTo>
                  <a:pt x="534" y="666"/>
                  <a:pt x="534" y="666"/>
                  <a:pt x="534" y="666"/>
                </a:cubicBezTo>
                <a:cubicBezTo>
                  <a:pt x="531" y="661"/>
                  <a:pt x="529" y="656"/>
                  <a:pt x="529" y="649"/>
                </a:cubicBezTo>
                <a:cubicBezTo>
                  <a:pt x="529" y="649"/>
                  <a:pt x="529" y="649"/>
                  <a:pt x="529" y="649"/>
                </a:cubicBezTo>
                <a:cubicBezTo>
                  <a:pt x="529" y="647"/>
                  <a:pt x="529" y="645"/>
                  <a:pt x="529" y="643"/>
                </a:cubicBezTo>
                <a:cubicBezTo>
                  <a:pt x="529" y="643"/>
                  <a:pt x="529" y="643"/>
                  <a:pt x="529" y="643"/>
                </a:cubicBezTo>
                <a:cubicBezTo>
                  <a:pt x="483" y="643"/>
                  <a:pt x="483" y="643"/>
                  <a:pt x="483" y="643"/>
                </a:cubicBezTo>
                <a:cubicBezTo>
                  <a:pt x="483" y="1108"/>
                  <a:pt x="483" y="1108"/>
                  <a:pt x="483" y="1108"/>
                </a:cubicBezTo>
                <a:cubicBezTo>
                  <a:pt x="483" y="1126"/>
                  <a:pt x="468" y="1140"/>
                  <a:pt x="451" y="1140"/>
                </a:cubicBezTo>
                <a:cubicBezTo>
                  <a:pt x="451" y="1140"/>
                  <a:pt x="451" y="1140"/>
                  <a:pt x="451" y="1140"/>
                </a:cubicBezTo>
                <a:cubicBezTo>
                  <a:pt x="32" y="1140"/>
                  <a:pt x="32" y="1140"/>
                  <a:pt x="32" y="114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10800000" vert="eaVert" lIns="168000" tIns="158400"/>
          <a:lstStyle/>
          <a:p>
            <a:endParaRPr lang="en-US">
              <a:solidFill>
                <a:srgbClr val="58585A"/>
              </a:solidFill>
              <a:cs typeface="Arial" pitchFamily="34" charset="0"/>
            </a:endParaRPr>
          </a:p>
        </p:txBody>
      </p:sp>
      <p:sp>
        <p:nvSpPr>
          <p:cNvPr id="11292" name="Content Placeholder 3"/>
          <p:cNvSpPr>
            <a:spLocks/>
          </p:cNvSpPr>
          <p:nvPr/>
        </p:nvSpPr>
        <p:spPr bwMode="auto">
          <a:xfrm rot="10800000" flipV="1">
            <a:off x="821269" y="1709747"/>
            <a:ext cx="4707467" cy="81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1997" tIns="0" rIns="71997" bIns="0"/>
          <a:lstStyle/>
          <a:p>
            <a:pPr marL="131763" indent="-131763" algn="ctr" defTabSz="685800" eaLnBrk="0" hangingPunct="0">
              <a:spcBef>
                <a:spcPct val="20000"/>
              </a:spcBef>
              <a:buClr>
                <a:srgbClr val="FFFFFF"/>
              </a:buClr>
              <a:buFont typeface="Arial" pitchFamily="34" charset="0"/>
              <a:buNone/>
            </a:pPr>
            <a:r>
              <a:rPr lang="en-GB" sz="1800">
                <a:solidFill>
                  <a:srgbClr val="FFFFFF"/>
                </a:solidFill>
                <a:cs typeface="Arial" pitchFamily="34" charset="0"/>
              </a:rPr>
              <a:t>Automated cloud and network orchestration</a:t>
            </a:r>
            <a:endParaRPr lang="en-US" sz="18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293" name="Freeform 4"/>
          <p:cNvSpPr>
            <a:spLocks noChangeAspect="1"/>
          </p:cNvSpPr>
          <p:nvPr/>
        </p:nvSpPr>
        <p:spPr bwMode="auto">
          <a:xfrm rot="16200000" flipV="1">
            <a:off x="2595828" y="-782373"/>
            <a:ext cx="1236662" cy="5700184"/>
          </a:xfrm>
          <a:custGeom>
            <a:avLst/>
            <a:gdLst>
              <a:gd name="T0" fmla="*/ 2147483647 w 484"/>
              <a:gd name="T1" fmla="*/ 2147483647 h 1140"/>
              <a:gd name="T2" fmla="*/ 2147483647 w 484"/>
              <a:gd name="T3" fmla="*/ 2147483647 h 1140"/>
              <a:gd name="T4" fmla="*/ 2147483647 w 484"/>
              <a:gd name="T5" fmla="*/ 2147483647 h 1140"/>
              <a:gd name="T6" fmla="*/ 2147483647 w 484"/>
              <a:gd name="T7" fmla="*/ 2147483647 h 1140"/>
              <a:gd name="T8" fmla="*/ 2147483647 w 484"/>
              <a:gd name="T9" fmla="*/ 2147483647 h 1140"/>
              <a:gd name="T10" fmla="*/ 2147483647 w 484"/>
              <a:gd name="T11" fmla="*/ 2147483647 h 1140"/>
              <a:gd name="T12" fmla="*/ 2147483647 w 484"/>
              <a:gd name="T13" fmla="*/ 2147483647 h 1140"/>
              <a:gd name="T14" fmla="*/ 2147483647 w 484"/>
              <a:gd name="T15" fmla="*/ 2147483647 h 1140"/>
              <a:gd name="T16" fmla="*/ 2147483647 w 484"/>
              <a:gd name="T17" fmla="*/ 2147483647 h 1140"/>
              <a:gd name="T18" fmla="*/ 2147483647 w 484"/>
              <a:gd name="T19" fmla="*/ 2147483647 h 1140"/>
              <a:gd name="T20" fmla="*/ 2147483647 w 484"/>
              <a:gd name="T21" fmla="*/ 2147483647 h 1140"/>
              <a:gd name="T22" fmla="*/ 2147483647 w 484"/>
              <a:gd name="T23" fmla="*/ 2147483647 h 1140"/>
              <a:gd name="T24" fmla="*/ 2147483647 w 484"/>
              <a:gd name="T25" fmla="*/ 2147483647 h 1140"/>
              <a:gd name="T26" fmla="*/ 2147483647 w 484"/>
              <a:gd name="T27" fmla="*/ 2147483647 h 1140"/>
              <a:gd name="T28" fmla="*/ 2147483647 w 484"/>
              <a:gd name="T29" fmla="*/ 2147483647 h 1140"/>
              <a:gd name="T30" fmla="*/ 2147483647 w 484"/>
              <a:gd name="T31" fmla="*/ 2147483647 h 1140"/>
              <a:gd name="T32" fmla="*/ 2147483647 w 484"/>
              <a:gd name="T33" fmla="*/ 2147483647 h 1140"/>
              <a:gd name="T34" fmla="*/ 2147483647 w 484"/>
              <a:gd name="T35" fmla="*/ 2147483647 h 1140"/>
              <a:gd name="T36" fmla="*/ 2147483647 w 484"/>
              <a:gd name="T37" fmla="*/ 2147483647 h 1140"/>
              <a:gd name="T38" fmla="*/ 2147483647 w 484"/>
              <a:gd name="T39" fmla="*/ 2147483647 h 1140"/>
              <a:gd name="T40" fmla="*/ 2147483647 w 484"/>
              <a:gd name="T41" fmla="*/ 2147483647 h 1140"/>
              <a:gd name="T42" fmla="*/ 2147483647 w 484"/>
              <a:gd name="T43" fmla="*/ 2147483647 h 1140"/>
              <a:gd name="T44" fmla="*/ 2147483647 w 484"/>
              <a:gd name="T45" fmla="*/ 2147483647 h 1140"/>
              <a:gd name="T46" fmla="*/ 2147483647 w 484"/>
              <a:gd name="T47" fmla="*/ 2147483647 h 1140"/>
              <a:gd name="T48" fmla="*/ 2147483647 w 484"/>
              <a:gd name="T49" fmla="*/ 2147483647 h 1140"/>
              <a:gd name="T50" fmla="*/ 2147483647 w 484"/>
              <a:gd name="T51" fmla="*/ 2147483647 h 1140"/>
              <a:gd name="T52" fmla="*/ 0 w 484"/>
              <a:gd name="T53" fmla="*/ 2147483647 h 1140"/>
              <a:gd name="T54" fmla="*/ 0 w 484"/>
              <a:gd name="T55" fmla="*/ 2147483647 h 1140"/>
              <a:gd name="T56" fmla="*/ 0 w 484"/>
              <a:gd name="T57" fmla="*/ 2147483647 h 1140"/>
              <a:gd name="T58" fmla="*/ 2147483647 w 484"/>
              <a:gd name="T59" fmla="*/ 2147483647 h 1140"/>
              <a:gd name="T60" fmla="*/ 2147483647 w 484"/>
              <a:gd name="T61" fmla="*/ 2147483647 h 1140"/>
              <a:gd name="T62" fmla="*/ 2147483647 w 484"/>
              <a:gd name="T63" fmla="*/ 2147483647 h 1140"/>
              <a:gd name="T64" fmla="*/ 2147483647 w 484"/>
              <a:gd name="T65" fmla="*/ 2147483647 h 1140"/>
              <a:gd name="T66" fmla="*/ 2147483647 w 484"/>
              <a:gd name="T67" fmla="*/ 2147483647 h 1140"/>
              <a:gd name="T68" fmla="*/ 2147483647 w 484"/>
              <a:gd name="T69" fmla="*/ 2147483647 h 1140"/>
              <a:gd name="T70" fmla="*/ 2147483647 w 484"/>
              <a:gd name="T71" fmla="*/ 2147483647 h 1140"/>
              <a:gd name="T72" fmla="*/ 2147483647 w 484"/>
              <a:gd name="T73" fmla="*/ 2147483647 h 1140"/>
              <a:gd name="T74" fmla="*/ 2147483647 w 484"/>
              <a:gd name="T75" fmla="*/ 2147483647 h 1140"/>
              <a:gd name="T76" fmla="*/ 2147483647 w 484"/>
              <a:gd name="T77" fmla="*/ 2147483647 h 1140"/>
              <a:gd name="T78" fmla="*/ 0 w 484"/>
              <a:gd name="T79" fmla="*/ 2147483647 h 1140"/>
              <a:gd name="T80" fmla="*/ 0 w 484"/>
              <a:gd name="T81" fmla="*/ 2147483647 h 1140"/>
              <a:gd name="T82" fmla="*/ 0 w 484"/>
              <a:gd name="T83" fmla="*/ 2147483647 h 1140"/>
              <a:gd name="T84" fmla="*/ 2147483647 w 484"/>
              <a:gd name="T85" fmla="*/ 0 h 1140"/>
              <a:gd name="T86" fmla="*/ 2147483647 w 484"/>
              <a:gd name="T87" fmla="*/ 0 h 1140"/>
              <a:gd name="T88" fmla="*/ 2147483647 w 484"/>
              <a:gd name="T89" fmla="*/ 0 h 1140"/>
              <a:gd name="T90" fmla="*/ 2147483647 w 484"/>
              <a:gd name="T91" fmla="*/ 2147483647 h 1140"/>
              <a:gd name="T92" fmla="*/ 2147483647 w 484"/>
              <a:gd name="T93" fmla="*/ 2147483647 h 1140"/>
              <a:gd name="T94" fmla="*/ 2147483647 w 484"/>
              <a:gd name="T95" fmla="*/ 2147483647 h 1140"/>
              <a:gd name="T96" fmla="*/ 2147483647 w 484"/>
              <a:gd name="T97" fmla="*/ 2147483647 h 1140"/>
              <a:gd name="T98" fmla="*/ 2147483647 w 484"/>
              <a:gd name="T99" fmla="*/ 2147483647 h 1140"/>
              <a:gd name="T100" fmla="*/ 2147483647 w 484"/>
              <a:gd name="T101" fmla="*/ 2147483647 h 114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484"/>
              <a:gd name="T154" fmla="*/ 0 h 1140"/>
              <a:gd name="T155" fmla="*/ 484 w 484"/>
              <a:gd name="T156" fmla="*/ 1140 h 1140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484" h="1140">
                <a:moveTo>
                  <a:pt x="32" y="1140"/>
                </a:moveTo>
                <a:cubicBezTo>
                  <a:pt x="32" y="1132"/>
                  <a:pt x="32" y="1132"/>
                  <a:pt x="32" y="1132"/>
                </a:cubicBezTo>
                <a:cubicBezTo>
                  <a:pt x="32" y="1124"/>
                  <a:pt x="32" y="1124"/>
                  <a:pt x="32" y="1124"/>
                </a:cubicBezTo>
                <a:cubicBezTo>
                  <a:pt x="452" y="1124"/>
                  <a:pt x="452" y="1124"/>
                  <a:pt x="452" y="1124"/>
                </a:cubicBezTo>
                <a:cubicBezTo>
                  <a:pt x="461" y="1124"/>
                  <a:pt x="468" y="1117"/>
                  <a:pt x="468" y="1108"/>
                </a:cubicBezTo>
                <a:cubicBezTo>
                  <a:pt x="468" y="1108"/>
                  <a:pt x="468" y="1108"/>
                  <a:pt x="468" y="1108"/>
                </a:cubicBezTo>
                <a:cubicBezTo>
                  <a:pt x="468" y="32"/>
                  <a:pt x="468" y="32"/>
                  <a:pt x="468" y="32"/>
                </a:cubicBezTo>
                <a:cubicBezTo>
                  <a:pt x="468" y="23"/>
                  <a:pt x="461" y="16"/>
                  <a:pt x="452" y="16"/>
                </a:cubicBezTo>
                <a:cubicBezTo>
                  <a:pt x="452" y="16"/>
                  <a:pt x="452" y="16"/>
                  <a:pt x="452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23" y="16"/>
                  <a:pt x="16" y="23"/>
                  <a:pt x="16" y="32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461"/>
                  <a:pt x="16" y="461"/>
                  <a:pt x="16" y="461"/>
                </a:cubicBezTo>
                <a:cubicBezTo>
                  <a:pt x="29" y="472"/>
                  <a:pt x="83" y="515"/>
                  <a:pt x="92" y="523"/>
                </a:cubicBezTo>
                <a:cubicBezTo>
                  <a:pt x="92" y="523"/>
                  <a:pt x="92" y="523"/>
                  <a:pt x="92" y="523"/>
                </a:cubicBezTo>
                <a:cubicBezTo>
                  <a:pt x="112" y="539"/>
                  <a:pt x="117" y="560"/>
                  <a:pt x="117" y="574"/>
                </a:cubicBezTo>
                <a:cubicBezTo>
                  <a:pt x="117" y="574"/>
                  <a:pt x="117" y="574"/>
                  <a:pt x="117" y="574"/>
                </a:cubicBezTo>
                <a:cubicBezTo>
                  <a:pt x="117" y="588"/>
                  <a:pt x="112" y="609"/>
                  <a:pt x="92" y="625"/>
                </a:cubicBezTo>
                <a:cubicBezTo>
                  <a:pt x="92" y="625"/>
                  <a:pt x="92" y="625"/>
                  <a:pt x="92" y="625"/>
                </a:cubicBezTo>
                <a:cubicBezTo>
                  <a:pt x="82" y="633"/>
                  <a:pt x="33" y="672"/>
                  <a:pt x="16" y="685"/>
                </a:cubicBezTo>
                <a:cubicBezTo>
                  <a:pt x="16" y="685"/>
                  <a:pt x="16" y="685"/>
                  <a:pt x="16" y="685"/>
                </a:cubicBezTo>
                <a:cubicBezTo>
                  <a:pt x="16" y="1108"/>
                  <a:pt x="16" y="1108"/>
                  <a:pt x="16" y="1108"/>
                </a:cubicBezTo>
                <a:cubicBezTo>
                  <a:pt x="16" y="1117"/>
                  <a:pt x="23" y="1124"/>
                  <a:pt x="32" y="1124"/>
                </a:cubicBezTo>
                <a:cubicBezTo>
                  <a:pt x="32" y="1124"/>
                  <a:pt x="32" y="1124"/>
                  <a:pt x="32" y="1124"/>
                </a:cubicBezTo>
                <a:cubicBezTo>
                  <a:pt x="32" y="1132"/>
                  <a:pt x="32" y="1132"/>
                  <a:pt x="32" y="1132"/>
                </a:cubicBezTo>
                <a:cubicBezTo>
                  <a:pt x="32" y="1140"/>
                  <a:pt x="32" y="1140"/>
                  <a:pt x="32" y="1140"/>
                </a:cubicBezTo>
                <a:cubicBezTo>
                  <a:pt x="14" y="1140"/>
                  <a:pt x="0" y="1126"/>
                  <a:pt x="0" y="1108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682"/>
                  <a:pt x="0" y="682"/>
                  <a:pt x="0" y="682"/>
                </a:cubicBezTo>
                <a:cubicBezTo>
                  <a:pt x="0" y="679"/>
                  <a:pt x="1" y="677"/>
                  <a:pt x="3" y="675"/>
                </a:cubicBezTo>
                <a:cubicBezTo>
                  <a:pt x="3" y="675"/>
                  <a:pt x="3" y="675"/>
                  <a:pt x="3" y="675"/>
                </a:cubicBezTo>
                <a:cubicBezTo>
                  <a:pt x="16" y="665"/>
                  <a:pt x="71" y="621"/>
                  <a:pt x="81" y="613"/>
                </a:cubicBezTo>
                <a:cubicBezTo>
                  <a:pt x="81" y="613"/>
                  <a:pt x="81" y="613"/>
                  <a:pt x="81" y="613"/>
                </a:cubicBezTo>
                <a:cubicBezTo>
                  <a:pt x="98" y="600"/>
                  <a:pt x="101" y="585"/>
                  <a:pt x="101" y="574"/>
                </a:cubicBezTo>
                <a:cubicBezTo>
                  <a:pt x="101" y="574"/>
                  <a:pt x="101" y="574"/>
                  <a:pt x="101" y="574"/>
                </a:cubicBezTo>
                <a:cubicBezTo>
                  <a:pt x="101" y="563"/>
                  <a:pt x="98" y="548"/>
                  <a:pt x="81" y="535"/>
                </a:cubicBezTo>
                <a:cubicBezTo>
                  <a:pt x="81" y="535"/>
                  <a:pt x="81" y="535"/>
                  <a:pt x="81" y="535"/>
                </a:cubicBezTo>
                <a:cubicBezTo>
                  <a:pt x="71" y="527"/>
                  <a:pt x="3" y="471"/>
                  <a:pt x="3" y="471"/>
                </a:cubicBezTo>
                <a:cubicBezTo>
                  <a:pt x="3" y="471"/>
                  <a:pt x="3" y="471"/>
                  <a:pt x="3" y="471"/>
                </a:cubicBezTo>
                <a:cubicBezTo>
                  <a:pt x="1" y="470"/>
                  <a:pt x="0" y="467"/>
                  <a:pt x="0" y="465"/>
                </a:cubicBezTo>
                <a:cubicBezTo>
                  <a:pt x="0" y="465"/>
                  <a:pt x="0" y="465"/>
                  <a:pt x="0" y="465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14"/>
                  <a:pt x="14" y="0"/>
                  <a:pt x="32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452" y="0"/>
                  <a:pt x="452" y="0"/>
                  <a:pt x="452" y="0"/>
                </a:cubicBezTo>
                <a:cubicBezTo>
                  <a:pt x="469" y="0"/>
                  <a:pt x="484" y="14"/>
                  <a:pt x="484" y="32"/>
                </a:cubicBezTo>
                <a:cubicBezTo>
                  <a:pt x="484" y="32"/>
                  <a:pt x="484" y="32"/>
                  <a:pt x="484" y="32"/>
                </a:cubicBezTo>
                <a:cubicBezTo>
                  <a:pt x="484" y="1108"/>
                  <a:pt x="484" y="1108"/>
                  <a:pt x="484" y="1108"/>
                </a:cubicBezTo>
                <a:cubicBezTo>
                  <a:pt x="484" y="1126"/>
                  <a:pt x="469" y="1140"/>
                  <a:pt x="452" y="1140"/>
                </a:cubicBezTo>
                <a:cubicBezTo>
                  <a:pt x="452" y="1140"/>
                  <a:pt x="452" y="1140"/>
                  <a:pt x="452" y="1140"/>
                </a:cubicBezTo>
                <a:cubicBezTo>
                  <a:pt x="32" y="1140"/>
                  <a:pt x="32" y="1140"/>
                  <a:pt x="32" y="114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10800000" vert="eaVert" lIns="168000" tIns="158400"/>
          <a:lstStyle/>
          <a:p>
            <a:endParaRPr lang="en-US">
              <a:solidFill>
                <a:srgbClr val="58585A"/>
              </a:solidFill>
              <a:cs typeface="Arial" pitchFamily="34" charset="0"/>
            </a:endParaRPr>
          </a:p>
        </p:txBody>
      </p:sp>
      <p:sp>
        <p:nvSpPr>
          <p:cNvPr id="11294" name="Freeform 6"/>
          <p:cNvSpPr>
            <a:spLocks noChangeAspect="1" noEditPoints="1"/>
          </p:cNvSpPr>
          <p:nvPr/>
        </p:nvSpPr>
        <p:spPr bwMode="auto">
          <a:xfrm rot="16200000" flipV="1">
            <a:off x="2339452" y="702734"/>
            <a:ext cx="1774825" cy="5700184"/>
          </a:xfrm>
          <a:custGeom>
            <a:avLst/>
            <a:gdLst>
              <a:gd name="T0" fmla="*/ 0 w 666"/>
              <a:gd name="T1" fmla="*/ 2147483647 h 1140"/>
              <a:gd name="T2" fmla="*/ 0 w 666"/>
              <a:gd name="T3" fmla="*/ 2147483647 h 1140"/>
              <a:gd name="T4" fmla="*/ 2147483647 w 666"/>
              <a:gd name="T5" fmla="*/ 2147483647 h 1140"/>
              <a:gd name="T6" fmla="*/ 2147483647 w 666"/>
              <a:gd name="T7" fmla="*/ 2147483647 h 1140"/>
              <a:gd name="T8" fmla="*/ 2147483647 w 666"/>
              <a:gd name="T9" fmla="*/ 2147483647 h 1140"/>
              <a:gd name="T10" fmla="*/ 0 w 666"/>
              <a:gd name="T11" fmla="*/ 2147483647 h 1140"/>
              <a:gd name="T12" fmla="*/ 0 w 666"/>
              <a:gd name="T13" fmla="*/ 2147483647 h 1140"/>
              <a:gd name="T14" fmla="*/ 2147483647 w 666"/>
              <a:gd name="T15" fmla="*/ 0 h 1140"/>
              <a:gd name="T16" fmla="*/ 2147483647 w 666"/>
              <a:gd name="T17" fmla="*/ 2147483647 h 1140"/>
              <a:gd name="T18" fmla="*/ 2147483647 w 666"/>
              <a:gd name="T19" fmla="*/ 2147483647 h 1140"/>
              <a:gd name="T20" fmla="*/ 2147483647 w 666"/>
              <a:gd name="T21" fmla="*/ 2147483647 h 1140"/>
              <a:gd name="T22" fmla="*/ 2147483647 w 666"/>
              <a:gd name="T23" fmla="*/ 2147483647 h 1140"/>
              <a:gd name="T24" fmla="*/ 2147483647 w 666"/>
              <a:gd name="T25" fmla="*/ 2147483647 h 1140"/>
              <a:gd name="T26" fmla="*/ 2147483647 w 666"/>
              <a:gd name="T27" fmla="*/ 2147483647 h 1140"/>
              <a:gd name="T28" fmla="*/ 2147483647 w 666"/>
              <a:gd name="T29" fmla="*/ 2147483647 h 1140"/>
              <a:gd name="T30" fmla="*/ 2147483647 w 666"/>
              <a:gd name="T31" fmla="*/ 2147483647 h 1140"/>
              <a:gd name="T32" fmla="*/ 2147483647 w 666"/>
              <a:gd name="T33" fmla="*/ 2147483647 h 1140"/>
              <a:gd name="T34" fmla="*/ 2147483647 w 666"/>
              <a:gd name="T35" fmla="*/ 2147483647 h 1140"/>
              <a:gd name="T36" fmla="*/ 2147483647 w 666"/>
              <a:gd name="T37" fmla="*/ 2147483647 h 1140"/>
              <a:gd name="T38" fmla="*/ 2147483647 w 666"/>
              <a:gd name="T39" fmla="*/ 2147483647 h 1140"/>
              <a:gd name="T40" fmla="*/ 2147483647 w 666"/>
              <a:gd name="T41" fmla="*/ 2147483647 h 1140"/>
              <a:gd name="T42" fmla="*/ 2147483647 w 666"/>
              <a:gd name="T43" fmla="*/ 2147483647 h 1140"/>
              <a:gd name="T44" fmla="*/ 2147483647 w 666"/>
              <a:gd name="T45" fmla="*/ 2147483647 h 1140"/>
              <a:gd name="T46" fmla="*/ 2147483647 w 666"/>
              <a:gd name="T47" fmla="*/ 2147483647 h 1140"/>
              <a:gd name="T48" fmla="*/ 2147483647 w 666"/>
              <a:gd name="T49" fmla="*/ 2147483647 h 1140"/>
              <a:gd name="T50" fmla="*/ 2147483647 w 666"/>
              <a:gd name="T51" fmla="*/ 2147483647 h 1140"/>
              <a:gd name="T52" fmla="*/ 2147483647 w 666"/>
              <a:gd name="T53" fmla="*/ 2147483647 h 1140"/>
              <a:gd name="T54" fmla="*/ 2147483647 w 666"/>
              <a:gd name="T55" fmla="*/ 2147483647 h 1140"/>
              <a:gd name="T56" fmla="*/ 2147483647 w 666"/>
              <a:gd name="T57" fmla="*/ 2147483647 h 1140"/>
              <a:gd name="T58" fmla="*/ 2147483647 w 666"/>
              <a:gd name="T59" fmla="*/ 2147483647 h 1140"/>
              <a:gd name="T60" fmla="*/ 2147483647 w 666"/>
              <a:gd name="T61" fmla="*/ 2147483647 h 1140"/>
              <a:gd name="T62" fmla="*/ 2147483647 w 666"/>
              <a:gd name="T63" fmla="*/ 2147483647 h 1140"/>
              <a:gd name="T64" fmla="*/ 2147483647 w 666"/>
              <a:gd name="T65" fmla="*/ 2147483647 h 1140"/>
              <a:gd name="T66" fmla="*/ 2147483647 w 666"/>
              <a:gd name="T67" fmla="*/ 2147483647 h 1140"/>
              <a:gd name="T68" fmla="*/ 2147483647 w 666"/>
              <a:gd name="T69" fmla="*/ 2147483647 h 1140"/>
              <a:gd name="T70" fmla="*/ 2147483647 w 666"/>
              <a:gd name="T71" fmla="*/ 2147483647 h 1140"/>
              <a:gd name="T72" fmla="*/ 2147483647 w 666"/>
              <a:gd name="T73" fmla="*/ 2147483647 h 1140"/>
              <a:gd name="T74" fmla="*/ 2147483647 w 666"/>
              <a:gd name="T75" fmla="*/ 2147483647 h 1140"/>
              <a:gd name="T76" fmla="*/ 2147483647 w 666"/>
              <a:gd name="T77" fmla="*/ 2147483647 h 1140"/>
              <a:gd name="T78" fmla="*/ 2147483647 w 666"/>
              <a:gd name="T79" fmla="*/ 2147483647 h 1140"/>
              <a:gd name="T80" fmla="*/ 2147483647 w 666"/>
              <a:gd name="T81" fmla="*/ 2147483647 h 1140"/>
              <a:gd name="T82" fmla="*/ 2147483647 w 666"/>
              <a:gd name="T83" fmla="*/ 2147483647 h 1140"/>
              <a:gd name="T84" fmla="*/ 2147483647 w 666"/>
              <a:gd name="T85" fmla="*/ 2147483647 h 114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666"/>
              <a:gd name="T130" fmla="*/ 0 h 1140"/>
              <a:gd name="T131" fmla="*/ 666 w 666"/>
              <a:gd name="T132" fmla="*/ 1140 h 1140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666" h="1140">
                <a:moveTo>
                  <a:pt x="337" y="1140"/>
                </a:moveTo>
                <a:cubicBezTo>
                  <a:pt x="32" y="1140"/>
                  <a:pt x="32" y="1140"/>
                  <a:pt x="32" y="1140"/>
                </a:cubicBezTo>
                <a:cubicBezTo>
                  <a:pt x="15" y="1140"/>
                  <a:pt x="0" y="1126"/>
                  <a:pt x="0" y="1108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814"/>
                  <a:pt x="0" y="814"/>
                  <a:pt x="0" y="814"/>
                </a:cubicBezTo>
                <a:cubicBezTo>
                  <a:pt x="0" y="682"/>
                  <a:pt x="0" y="682"/>
                  <a:pt x="0" y="682"/>
                </a:cubicBezTo>
                <a:cubicBezTo>
                  <a:pt x="0" y="679"/>
                  <a:pt x="2" y="677"/>
                  <a:pt x="3" y="675"/>
                </a:cubicBezTo>
                <a:cubicBezTo>
                  <a:pt x="3" y="675"/>
                  <a:pt x="3" y="675"/>
                  <a:pt x="3" y="675"/>
                </a:cubicBezTo>
                <a:cubicBezTo>
                  <a:pt x="17" y="665"/>
                  <a:pt x="72" y="621"/>
                  <a:pt x="82" y="613"/>
                </a:cubicBezTo>
                <a:cubicBezTo>
                  <a:pt x="82" y="613"/>
                  <a:pt x="82" y="613"/>
                  <a:pt x="82" y="613"/>
                </a:cubicBezTo>
                <a:cubicBezTo>
                  <a:pt x="98" y="600"/>
                  <a:pt x="101" y="585"/>
                  <a:pt x="102" y="574"/>
                </a:cubicBezTo>
                <a:cubicBezTo>
                  <a:pt x="102" y="574"/>
                  <a:pt x="102" y="574"/>
                  <a:pt x="102" y="574"/>
                </a:cubicBezTo>
                <a:cubicBezTo>
                  <a:pt x="101" y="563"/>
                  <a:pt x="98" y="548"/>
                  <a:pt x="82" y="535"/>
                </a:cubicBezTo>
                <a:cubicBezTo>
                  <a:pt x="82" y="535"/>
                  <a:pt x="82" y="535"/>
                  <a:pt x="82" y="535"/>
                </a:cubicBezTo>
                <a:cubicBezTo>
                  <a:pt x="72" y="527"/>
                  <a:pt x="4" y="471"/>
                  <a:pt x="3" y="471"/>
                </a:cubicBezTo>
                <a:cubicBezTo>
                  <a:pt x="3" y="471"/>
                  <a:pt x="3" y="471"/>
                  <a:pt x="3" y="471"/>
                </a:cubicBezTo>
                <a:cubicBezTo>
                  <a:pt x="2" y="470"/>
                  <a:pt x="0" y="467"/>
                  <a:pt x="0" y="465"/>
                </a:cubicBezTo>
                <a:cubicBezTo>
                  <a:pt x="0" y="465"/>
                  <a:pt x="0" y="465"/>
                  <a:pt x="0" y="465"/>
                </a:cubicBezTo>
                <a:cubicBezTo>
                  <a:pt x="0" y="324"/>
                  <a:pt x="0" y="324"/>
                  <a:pt x="0" y="324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14"/>
                  <a:pt x="15" y="0"/>
                  <a:pt x="32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37" y="0"/>
                  <a:pt x="337" y="0"/>
                  <a:pt x="337" y="0"/>
                </a:cubicBezTo>
                <a:cubicBezTo>
                  <a:pt x="451" y="0"/>
                  <a:pt x="451" y="0"/>
                  <a:pt x="451" y="0"/>
                </a:cubicBezTo>
                <a:cubicBezTo>
                  <a:pt x="469" y="0"/>
                  <a:pt x="483" y="14"/>
                  <a:pt x="483" y="32"/>
                </a:cubicBezTo>
                <a:cubicBezTo>
                  <a:pt x="483" y="32"/>
                  <a:pt x="483" y="32"/>
                  <a:pt x="483" y="32"/>
                </a:cubicBezTo>
                <a:cubicBezTo>
                  <a:pt x="483" y="505"/>
                  <a:pt x="483" y="505"/>
                  <a:pt x="483" y="505"/>
                </a:cubicBezTo>
                <a:cubicBezTo>
                  <a:pt x="530" y="505"/>
                  <a:pt x="530" y="505"/>
                  <a:pt x="530" y="505"/>
                </a:cubicBezTo>
                <a:cubicBezTo>
                  <a:pt x="530" y="503"/>
                  <a:pt x="530" y="501"/>
                  <a:pt x="530" y="499"/>
                </a:cubicBezTo>
                <a:cubicBezTo>
                  <a:pt x="530" y="499"/>
                  <a:pt x="530" y="499"/>
                  <a:pt x="530" y="499"/>
                </a:cubicBezTo>
                <a:cubicBezTo>
                  <a:pt x="530" y="492"/>
                  <a:pt x="531" y="487"/>
                  <a:pt x="534" y="482"/>
                </a:cubicBezTo>
                <a:cubicBezTo>
                  <a:pt x="534" y="482"/>
                  <a:pt x="534" y="482"/>
                  <a:pt x="534" y="482"/>
                </a:cubicBezTo>
                <a:cubicBezTo>
                  <a:pt x="537" y="477"/>
                  <a:pt x="543" y="474"/>
                  <a:pt x="548" y="474"/>
                </a:cubicBezTo>
                <a:cubicBezTo>
                  <a:pt x="548" y="474"/>
                  <a:pt x="548" y="474"/>
                  <a:pt x="548" y="474"/>
                </a:cubicBezTo>
                <a:cubicBezTo>
                  <a:pt x="554" y="475"/>
                  <a:pt x="560" y="477"/>
                  <a:pt x="565" y="481"/>
                </a:cubicBezTo>
                <a:cubicBezTo>
                  <a:pt x="565" y="481"/>
                  <a:pt x="565" y="481"/>
                  <a:pt x="565" y="481"/>
                </a:cubicBezTo>
                <a:cubicBezTo>
                  <a:pt x="570" y="486"/>
                  <a:pt x="645" y="545"/>
                  <a:pt x="655" y="553"/>
                </a:cubicBezTo>
                <a:cubicBezTo>
                  <a:pt x="655" y="553"/>
                  <a:pt x="655" y="553"/>
                  <a:pt x="655" y="553"/>
                </a:cubicBezTo>
                <a:cubicBezTo>
                  <a:pt x="655" y="553"/>
                  <a:pt x="655" y="553"/>
                  <a:pt x="655" y="553"/>
                </a:cubicBezTo>
                <a:cubicBezTo>
                  <a:pt x="661" y="558"/>
                  <a:pt x="666" y="566"/>
                  <a:pt x="666" y="574"/>
                </a:cubicBezTo>
                <a:cubicBezTo>
                  <a:pt x="666" y="574"/>
                  <a:pt x="666" y="574"/>
                  <a:pt x="666" y="574"/>
                </a:cubicBezTo>
                <a:cubicBezTo>
                  <a:pt x="666" y="582"/>
                  <a:pt x="661" y="590"/>
                  <a:pt x="655" y="595"/>
                </a:cubicBezTo>
                <a:cubicBezTo>
                  <a:pt x="655" y="595"/>
                  <a:pt x="655" y="595"/>
                  <a:pt x="655" y="595"/>
                </a:cubicBezTo>
                <a:cubicBezTo>
                  <a:pt x="645" y="603"/>
                  <a:pt x="575" y="658"/>
                  <a:pt x="565" y="667"/>
                </a:cubicBezTo>
                <a:cubicBezTo>
                  <a:pt x="565" y="667"/>
                  <a:pt x="565" y="667"/>
                  <a:pt x="565" y="667"/>
                </a:cubicBezTo>
                <a:cubicBezTo>
                  <a:pt x="560" y="671"/>
                  <a:pt x="554" y="673"/>
                  <a:pt x="548" y="673"/>
                </a:cubicBezTo>
                <a:cubicBezTo>
                  <a:pt x="548" y="673"/>
                  <a:pt x="548" y="673"/>
                  <a:pt x="548" y="673"/>
                </a:cubicBezTo>
                <a:cubicBezTo>
                  <a:pt x="543" y="673"/>
                  <a:pt x="537" y="671"/>
                  <a:pt x="534" y="666"/>
                </a:cubicBezTo>
                <a:cubicBezTo>
                  <a:pt x="534" y="666"/>
                  <a:pt x="534" y="666"/>
                  <a:pt x="534" y="666"/>
                </a:cubicBezTo>
                <a:cubicBezTo>
                  <a:pt x="531" y="661"/>
                  <a:pt x="530" y="656"/>
                  <a:pt x="530" y="649"/>
                </a:cubicBezTo>
                <a:cubicBezTo>
                  <a:pt x="530" y="649"/>
                  <a:pt x="530" y="649"/>
                  <a:pt x="530" y="649"/>
                </a:cubicBezTo>
                <a:cubicBezTo>
                  <a:pt x="530" y="647"/>
                  <a:pt x="530" y="645"/>
                  <a:pt x="530" y="643"/>
                </a:cubicBezTo>
                <a:cubicBezTo>
                  <a:pt x="530" y="643"/>
                  <a:pt x="530" y="643"/>
                  <a:pt x="530" y="643"/>
                </a:cubicBezTo>
                <a:cubicBezTo>
                  <a:pt x="483" y="643"/>
                  <a:pt x="483" y="643"/>
                  <a:pt x="483" y="643"/>
                </a:cubicBezTo>
                <a:cubicBezTo>
                  <a:pt x="483" y="1108"/>
                  <a:pt x="483" y="1108"/>
                  <a:pt x="483" y="1108"/>
                </a:cubicBezTo>
                <a:cubicBezTo>
                  <a:pt x="483" y="1126"/>
                  <a:pt x="469" y="1140"/>
                  <a:pt x="451" y="1140"/>
                </a:cubicBezTo>
                <a:cubicBezTo>
                  <a:pt x="451" y="1140"/>
                  <a:pt x="451" y="1140"/>
                  <a:pt x="451" y="1140"/>
                </a:cubicBezTo>
                <a:cubicBezTo>
                  <a:pt x="337" y="1140"/>
                  <a:pt x="337" y="1140"/>
                  <a:pt x="337" y="1140"/>
                </a:cubicBezTo>
                <a:close/>
                <a:moveTo>
                  <a:pt x="16" y="814"/>
                </a:moveTo>
                <a:cubicBezTo>
                  <a:pt x="16" y="1108"/>
                  <a:pt x="16" y="1108"/>
                  <a:pt x="16" y="1108"/>
                </a:cubicBezTo>
                <a:cubicBezTo>
                  <a:pt x="16" y="1108"/>
                  <a:pt x="16" y="1108"/>
                  <a:pt x="16" y="1108"/>
                </a:cubicBezTo>
                <a:cubicBezTo>
                  <a:pt x="16" y="1117"/>
                  <a:pt x="24" y="1124"/>
                  <a:pt x="32" y="1124"/>
                </a:cubicBezTo>
                <a:cubicBezTo>
                  <a:pt x="32" y="1124"/>
                  <a:pt x="32" y="1124"/>
                  <a:pt x="32" y="1124"/>
                </a:cubicBezTo>
                <a:cubicBezTo>
                  <a:pt x="337" y="1124"/>
                  <a:pt x="337" y="1124"/>
                  <a:pt x="337" y="1124"/>
                </a:cubicBezTo>
                <a:cubicBezTo>
                  <a:pt x="451" y="1124"/>
                  <a:pt x="451" y="1124"/>
                  <a:pt x="451" y="1124"/>
                </a:cubicBezTo>
                <a:cubicBezTo>
                  <a:pt x="460" y="1124"/>
                  <a:pt x="467" y="1117"/>
                  <a:pt x="467" y="1108"/>
                </a:cubicBezTo>
                <a:cubicBezTo>
                  <a:pt x="467" y="1108"/>
                  <a:pt x="467" y="1108"/>
                  <a:pt x="467" y="1108"/>
                </a:cubicBezTo>
                <a:cubicBezTo>
                  <a:pt x="467" y="635"/>
                  <a:pt x="467" y="635"/>
                  <a:pt x="467" y="635"/>
                </a:cubicBezTo>
                <a:cubicBezTo>
                  <a:pt x="467" y="632"/>
                  <a:pt x="468" y="630"/>
                  <a:pt x="469" y="629"/>
                </a:cubicBezTo>
                <a:cubicBezTo>
                  <a:pt x="469" y="629"/>
                  <a:pt x="469" y="629"/>
                  <a:pt x="469" y="629"/>
                </a:cubicBezTo>
                <a:cubicBezTo>
                  <a:pt x="471" y="627"/>
                  <a:pt x="473" y="627"/>
                  <a:pt x="475" y="627"/>
                </a:cubicBezTo>
                <a:cubicBezTo>
                  <a:pt x="475" y="627"/>
                  <a:pt x="475" y="627"/>
                  <a:pt x="475" y="627"/>
                </a:cubicBezTo>
                <a:cubicBezTo>
                  <a:pt x="538" y="627"/>
                  <a:pt x="538" y="627"/>
                  <a:pt x="538" y="627"/>
                </a:cubicBezTo>
                <a:cubicBezTo>
                  <a:pt x="542" y="627"/>
                  <a:pt x="546" y="630"/>
                  <a:pt x="546" y="635"/>
                </a:cubicBezTo>
                <a:cubicBezTo>
                  <a:pt x="546" y="635"/>
                  <a:pt x="546" y="635"/>
                  <a:pt x="546" y="635"/>
                </a:cubicBezTo>
                <a:cubicBezTo>
                  <a:pt x="546" y="640"/>
                  <a:pt x="546" y="646"/>
                  <a:pt x="546" y="649"/>
                </a:cubicBezTo>
                <a:cubicBezTo>
                  <a:pt x="546" y="649"/>
                  <a:pt x="546" y="649"/>
                  <a:pt x="546" y="649"/>
                </a:cubicBezTo>
                <a:cubicBezTo>
                  <a:pt x="546" y="654"/>
                  <a:pt x="547" y="656"/>
                  <a:pt x="547" y="657"/>
                </a:cubicBezTo>
                <a:cubicBezTo>
                  <a:pt x="547" y="657"/>
                  <a:pt x="547" y="657"/>
                  <a:pt x="547" y="657"/>
                </a:cubicBezTo>
                <a:cubicBezTo>
                  <a:pt x="548" y="657"/>
                  <a:pt x="548" y="657"/>
                  <a:pt x="548" y="657"/>
                </a:cubicBezTo>
                <a:cubicBezTo>
                  <a:pt x="548" y="657"/>
                  <a:pt x="548" y="657"/>
                  <a:pt x="548" y="657"/>
                </a:cubicBezTo>
                <a:cubicBezTo>
                  <a:pt x="549" y="657"/>
                  <a:pt x="552" y="657"/>
                  <a:pt x="554" y="654"/>
                </a:cubicBezTo>
                <a:cubicBezTo>
                  <a:pt x="554" y="654"/>
                  <a:pt x="554" y="654"/>
                  <a:pt x="554" y="654"/>
                </a:cubicBezTo>
                <a:cubicBezTo>
                  <a:pt x="565" y="645"/>
                  <a:pt x="635" y="590"/>
                  <a:pt x="645" y="582"/>
                </a:cubicBezTo>
                <a:cubicBezTo>
                  <a:pt x="645" y="582"/>
                  <a:pt x="645" y="582"/>
                  <a:pt x="645" y="582"/>
                </a:cubicBezTo>
                <a:cubicBezTo>
                  <a:pt x="649" y="579"/>
                  <a:pt x="650" y="577"/>
                  <a:pt x="650" y="574"/>
                </a:cubicBezTo>
                <a:cubicBezTo>
                  <a:pt x="650" y="574"/>
                  <a:pt x="650" y="574"/>
                  <a:pt x="650" y="574"/>
                </a:cubicBezTo>
                <a:cubicBezTo>
                  <a:pt x="650" y="571"/>
                  <a:pt x="649" y="569"/>
                  <a:pt x="645" y="566"/>
                </a:cubicBezTo>
                <a:cubicBezTo>
                  <a:pt x="645" y="566"/>
                  <a:pt x="645" y="566"/>
                  <a:pt x="645" y="566"/>
                </a:cubicBezTo>
                <a:cubicBezTo>
                  <a:pt x="650" y="560"/>
                  <a:pt x="650" y="560"/>
                  <a:pt x="650" y="560"/>
                </a:cubicBezTo>
                <a:cubicBezTo>
                  <a:pt x="645" y="566"/>
                  <a:pt x="645" y="566"/>
                  <a:pt x="645" y="566"/>
                </a:cubicBezTo>
                <a:cubicBezTo>
                  <a:pt x="635" y="558"/>
                  <a:pt x="560" y="498"/>
                  <a:pt x="554" y="494"/>
                </a:cubicBezTo>
                <a:cubicBezTo>
                  <a:pt x="554" y="494"/>
                  <a:pt x="554" y="494"/>
                  <a:pt x="554" y="494"/>
                </a:cubicBezTo>
                <a:cubicBezTo>
                  <a:pt x="551" y="491"/>
                  <a:pt x="549" y="490"/>
                  <a:pt x="548" y="490"/>
                </a:cubicBezTo>
                <a:cubicBezTo>
                  <a:pt x="548" y="490"/>
                  <a:pt x="548" y="490"/>
                  <a:pt x="548" y="490"/>
                </a:cubicBezTo>
                <a:cubicBezTo>
                  <a:pt x="548" y="491"/>
                  <a:pt x="548" y="491"/>
                  <a:pt x="548" y="491"/>
                </a:cubicBezTo>
                <a:cubicBezTo>
                  <a:pt x="548" y="491"/>
                  <a:pt x="548" y="491"/>
                  <a:pt x="548" y="491"/>
                </a:cubicBezTo>
                <a:cubicBezTo>
                  <a:pt x="548" y="491"/>
                  <a:pt x="548" y="491"/>
                  <a:pt x="547" y="491"/>
                </a:cubicBezTo>
                <a:cubicBezTo>
                  <a:pt x="547" y="491"/>
                  <a:pt x="547" y="491"/>
                  <a:pt x="547" y="491"/>
                </a:cubicBezTo>
                <a:cubicBezTo>
                  <a:pt x="547" y="492"/>
                  <a:pt x="546" y="494"/>
                  <a:pt x="546" y="499"/>
                </a:cubicBezTo>
                <a:cubicBezTo>
                  <a:pt x="546" y="499"/>
                  <a:pt x="546" y="499"/>
                  <a:pt x="546" y="499"/>
                </a:cubicBezTo>
                <a:cubicBezTo>
                  <a:pt x="546" y="502"/>
                  <a:pt x="546" y="507"/>
                  <a:pt x="546" y="513"/>
                </a:cubicBezTo>
                <a:cubicBezTo>
                  <a:pt x="546" y="513"/>
                  <a:pt x="546" y="513"/>
                  <a:pt x="546" y="513"/>
                </a:cubicBezTo>
                <a:cubicBezTo>
                  <a:pt x="546" y="518"/>
                  <a:pt x="542" y="521"/>
                  <a:pt x="538" y="521"/>
                </a:cubicBezTo>
                <a:cubicBezTo>
                  <a:pt x="538" y="521"/>
                  <a:pt x="538" y="521"/>
                  <a:pt x="538" y="521"/>
                </a:cubicBezTo>
                <a:cubicBezTo>
                  <a:pt x="475" y="521"/>
                  <a:pt x="475" y="521"/>
                  <a:pt x="475" y="521"/>
                </a:cubicBezTo>
                <a:cubicBezTo>
                  <a:pt x="473" y="521"/>
                  <a:pt x="471" y="520"/>
                  <a:pt x="469" y="519"/>
                </a:cubicBezTo>
                <a:cubicBezTo>
                  <a:pt x="469" y="519"/>
                  <a:pt x="469" y="519"/>
                  <a:pt x="469" y="519"/>
                </a:cubicBezTo>
                <a:cubicBezTo>
                  <a:pt x="468" y="517"/>
                  <a:pt x="467" y="515"/>
                  <a:pt x="467" y="513"/>
                </a:cubicBezTo>
                <a:cubicBezTo>
                  <a:pt x="467" y="513"/>
                  <a:pt x="467" y="513"/>
                  <a:pt x="467" y="513"/>
                </a:cubicBezTo>
                <a:cubicBezTo>
                  <a:pt x="467" y="32"/>
                  <a:pt x="467" y="32"/>
                  <a:pt x="467" y="32"/>
                </a:cubicBezTo>
                <a:cubicBezTo>
                  <a:pt x="467" y="23"/>
                  <a:pt x="460" y="16"/>
                  <a:pt x="451" y="16"/>
                </a:cubicBezTo>
                <a:cubicBezTo>
                  <a:pt x="451" y="16"/>
                  <a:pt x="451" y="16"/>
                  <a:pt x="451" y="16"/>
                </a:cubicBezTo>
                <a:cubicBezTo>
                  <a:pt x="337" y="16"/>
                  <a:pt x="337" y="16"/>
                  <a:pt x="337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24" y="16"/>
                  <a:pt x="16" y="23"/>
                  <a:pt x="16" y="32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324"/>
                  <a:pt x="16" y="324"/>
                  <a:pt x="16" y="324"/>
                </a:cubicBezTo>
                <a:cubicBezTo>
                  <a:pt x="16" y="461"/>
                  <a:pt x="16" y="461"/>
                  <a:pt x="16" y="461"/>
                </a:cubicBezTo>
                <a:cubicBezTo>
                  <a:pt x="30" y="472"/>
                  <a:pt x="83" y="515"/>
                  <a:pt x="92" y="523"/>
                </a:cubicBezTo>
                <a:cubicBezTo>
                  <a:pt x="92" y="523"/>
                  <a:pt x="92" y="523"/>
                  <a:pt x="92" y="523"/>
                </a:cubicBezTo>
                <a:cubicBezTo>
                  <a:pt x="113" y="539"/>
                  <a:pt x="118" y="560"/>
                  <a:pt x="118" y="574"/>
                </a:cubicBezTo>
                <a:cubicBezTo>
                  <a:pt x="118" y="574"/>
                  <a:pt x="118" y="574"/>
                  <a:pt x="118" y="574"/>
                </a:cubicBezTo>
                <a:cubicBezTo>
                  <a:pt x="118" y="588"/>
                  <a:pt x="113" y="609"/>
                  <a:pt x="92" y="625"/>
                </a:cubicBezTo>
                <a:cubicBezTo>
                  <a:pt x="92" y="625"/>
                  <a:pt x="92" y="625"/>
                  <a:pt x="92" y="625"/>
                </a:cubicBezTo>
                <a:cubicBezTo>
                  <a:pt x="83" y="633"/>
                  <a:pt x="34" y="672"/>
                  <a:pt x="16" y="685"/>
                </a:cubicBezTo>
                <a:cubicBezTo>
                  <a:pt x="16" y="685"/>
                  <a:pt x="16" y="685"/>
                  <a:pt x="16" y="685"/>
                </a:cubicBezTo>
                <a:cubicBezTo>
                  <a:pt x="16" y="814"/>
                  <a:pt x="16" y="814"/>
                  <a:pt x="16" y="81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10800000" vert="eaVert" lIns="168000" tIns="158400"/>
          <a:lstStyle/>
          <a:p>
            <a:endParaRPr lang="en-US">
              <a:solidFill>
                <a:srgbClr val="58585A"/>
              </a:solidFill>
              <a:cs typeface="Arial" pitchFamily="34" charset="0"/>
            </a:endParaRPr>
          </a:p>
        </p:txBody>
      </p:sp>
      <p:sp>
        <p:nvSpPr>
          <p:cNvPr id="11295" name="Freeform 6"/>
          <p:cNvSpPr>
            <a:spLocks noChangeAspect="1" noEditPoints="1"/>
          </p:cNvSpPr>
          <p:nvPr/>
        </p:nvSpPr>
        <p:spPr bwMode="auto">
          <a:xfrm rot="16200000" flipV="1">
            <a:off x="2339452" y="702734"/>
            <a:ext cx="1774825" cy="5700184"/>
          </a:xfrm>
          <a:custGeom>
            <a:avLst/>
            <a:gdLst>
              <a:gd name="T0" fmla="*/ 0 w 666"/>
              <a:gd name="T1" fmla="*/ 2147483647 h 1140"/>
              <a:gd name="T2" fmla="*/ 0 w 666"/>
              <a:gd name="T3" fmla="*/ 2147483647 h 1140"/>
              <a:gd name="T4" fmla="*/ 2147483647 w 666"/>
              <a:gd name="T5" fmla="*/ 2147483647 h 1140"/>
              <a:gd name="T6" fmla="*/ 2147483647 w 666"/>
              <a:gd name="T7" fmla="*/ 2147483647 h 1140"/>
              <a:gd name="T8" fmla="*/ 2147483647 w 666"/>
              <a:gd name="T9" fmla="*/ 2147483647 h 1140"/>
              <a:gd name="T10" fmla="*/ 0 w 666"/>
              <a:gd name="T11" fmla="*/ 2147483647 h 1140"/>
              <a:gd name="T12" fmla="*/ 0 w 666"/>
              <a:gd name="T13" fmla="*/ 2147483647 h 1140"/>
              <a:gd name="T14" fmla="*/ 2147483647 w 666"/>
              <a:gd name="T15" fmla="*/ 0 h 1140"/>
              <a:gd name="T16" fmla="*/ 2147483647 w 666"/>
              <a:gd name="T17" fmla="*/ 2147483647 h 1140"/>
              <a:gd name="T18" fmla="*/ 2147483647 w 666"/>
              <a:gd name="T19" fmla="*/ 2147483647 h 1140"/>
              <a:gd name="T20" fmla="*/ 2147483647 w 666"/>
              <a:gd name="T21" fmla="*/ 2147483647 h 1140"/>
              <a:gd name="T22" fmla="*/ 2147483647 w 666"/>
              <a:gd name="T23" fmla="*/ 2147483647 h 1140"/>
              <a:gd name="T24" fmla="*/ 2147483647 w 666"/>
              <a:gd name="T25" fmla="*/ 2147483647 h 1140"/>
              <a:gd name="T26" fmla="*/ 2147483647 w 666"/>
              <a:gd name="T27" fmla="*/ 2147483647 h 1140"/>
              <a:gd name="T28" fmla="*/ 2147483647 w 666"/>
              <a:gd name="T29" fmla="*/ 2147483647 h 1140"/>
              <a:gd name="T30" fmla="*/ 2147483647 w 666"/>
              <a:gd name="T31" fmla="*/ 2147483647 h 1140"/>
              <a:gd name="T32" fmla="*/ 2147483647 w 666"/>
              <a:gd name="T33" fmla="*/ 2147483647 h 1140"/>
              <a:gd name="T34" fmla="*/ 2147483647 w 666"/>
              <a:gd name="T35" fmla="*/ 2147483647 h 1140"/>
              <a:gd name="T36" fmla="*/ 2147483647 w 666"/>
              <a:gd name="T37" fmla="*/ 2147483647 h 1140"/>
              <a:gd name="T38" fmla="*/ 2147483647 w 666"/>
              <a:gd name="T39" fmla="*/ 2147483647 h 1140"/>
              <a:gd name="T40" fmla="*/ 2147483647 w 666"/>
              <a:gd name="T41" fmla="*/ 2147483647 h 1140"/>
              <a:gd name="T42" fmla="*/ 2147483647 w 666"/>
              <a:gd name="T43" fmla="*/ 2147483647 h 1140"/>
              <a:gd name="T44" fmla="*/ 2147483647 w 666"/>
              <a:gd name="T45" fmla="*/ 2147483647 h 1140"/>
              <a:gd name="T46" fmla="*/ 2147483647 w 666"/>
              <a:gd name="T47" fmla="*/ 2147483647 h 1140"/>
              <a:gd name="T48" fmla="*/ 2147483647 w 666"/>
              <a:gd name="T49" fmla="*/ 2147483647 h 1140"/>
              <a:gd name="T50" fmla="*/ 2147483647 w 666"/>
              <a:gd name="T51" fmla="*/ 2147483647 h 1140"/>
              <a:gd name="T52" fmla="*/ 2147483647 w 666"/>
              <a:gd name="T53" fmla="*/ 2147483647 h 1140"/>
              <a:gd name="T54" fmla="*/ 2147483647 w 666"/>
              <a:gd name="T55" fmla="*/ 2147483647 h 1140"/>
              <a:gd name="T56" fmla="*/ 2147483647 w 666"/>
              <a:gd name="T57" fmla="*/ 2147483647 h 1140"/>
              <a:gd name="T58" fmla="*/ 2147483647 w 666"/>
              <a:gd name="T59" fmla="*/ 2147483647 h 1140"/>
              <a:gd name="T60" fmla="*/ 2147483647 w 666"/>
              <a:gd name="T61" fmla="*/ 2147483647 h 1140"/>
              <a:gd name="T62" fmla="*/ 2147483647 w 666"/>
              <a:gd name="T63" fmla="*/ 2147483647 h 1140"/>
              <a:gd name="T64" fmla="*/ 2147483647 w 666"/>
              <a:gd name="T65" fmla="*/ 2147483647 h 1140"/>
              <a:gd name="T66" fmla="*/ 2147483647 w 666"/>
              <a:gd name="T67" fmla="*/ 2147483647 h 1140"/>
              <a:gd name="T68" fmla="*/ 2147483647 w 666"/>
              <a:gd name="T69" fmla="*/ 2147483647 h 1140"/>
              <a:gd name="T70" fmla="*/ 2147483647 w 666"/>
              <a:gd name="T71" fmla="*/ 2147483647 h 1140"/>
              <a:gd name="T72" fmla="*/ 2147483647 w 666"/>
              <a:gd name="T73" fmla="*/ 2147483647 h 1140"/>
              <a:gd name="T74" fmla="*/ 2147483647 w 666"/>
              <a:gd name="T75" fmla="*/ 2147483647 h 1140"/>
              <a:gd name="T76" fmla="*/ 2147483647 w 666"/>
              <a:gd name="T77" fmla="*/ 2147483647 h 1140"/>
              <a:gd name="T78" fmla="*/ 2147483647 w 666"/>
              <a:gd name="T79" fmla="*/ 2147483647 h 1140"/>
              <a:gd name="T80" fmla="*/ 2147483647 w 666"/>
              <a:gd name="T81" fmla="*/ 2147483647 h 1140"/>
              <a:gd name="T82" fmla="*/ 2147483647 w 666"/>
              <a:gd name="T83" fmla="*/ 2147483647 h 1140"/>
              <a:gd name="T84" fmla="*/ 2147483647 w 666"/>
              <a:gd name="T85" fmla="*/ 2147483647 h 114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666"/>
              <a:gd name="T130" fmla="*/ 0 h 1140"/>
              <a:gd name="T131" fmla="*/ 666 w 666"/>
              <a:gd name="T132" fmla="*/ 1140 h 1140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666" h="1140">
                <a:moveTo>
                  <a:pt x="337" y="1140"/>
                </a:moveTo>
                <a:cubicBezTo>
                  <a:pt x="32" y="1140"/>
                  <a:pt x="32" y="1140"/>
                  <a:pt x="32" y="1140"/>
                </a:cubicBezTo>
                <a:cubicBezTo>
                  <a:pt x="15" y="1140"/>
                  <a:pt x="0" y="1126"/>
                  <a:pt x="0" y="1108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814"/>
                  <a:pt x="0" y="814"/>
                  <a:pt x="0" y="814"/>
                </a:cubicBezTo>
                <a:cubicBezTo>
                  <a:pt x="0" y="682"/>
                  <a:pt x="0" y="682"/>
                  <a:pt x="0" y="682"/>
                </a:cubicBezTo>
                <a:cubicBezTo>
                  <a:pt x="0" y="679"/>
                  <a:pt x="2" y="677"/>
                  <a:pt x="3" y="675"/>
                </a:cubicBezTo>
                <a:cubicBezTo>
                  <a:pt x="3" y="675"/>
                  <a:pt x="3" y="675"/>
                  <a:pt x="3" y="675"/>
                </a:cubicBezTo>
                <a:cubicBezTo>
                  <a:pt x="17" y="665"/>
                  <a:pt x="72" y="621"/>
                  <a:pt x="82" y="613"/>
                </a:cubicBezTo>
                <a:cubicBezTo>
                  <a:pt x="82" y="613"/>
                  <a:pt x="82" y="613"/>
                  <a:pt x="82" y="613"/>
                </a:cubicBezTo>
                <a:cubicBezTo>
                  <a:pt x="98" y="600"/>
                  <a:pt x="101" y="585"/>
                  <a:pt x="102" y="574"/>
                </a:cubicBezTo>
                <a:cubicBezTo>
                  <a:pt x="102" y="574"/>
                  <a:pt x="102" y="574"/>
                  <a:pt x="102" y="574"/>
                </a:cubicBezTo>
                <a:cubicBezTo>
                  <a:pt x="101" y="563"/>
                  <a:pt x="98" y="548"/>
                  <a:pt x="82" y="535"/>
                </a:cubicBezTo>
                <a:cubicBezTo>
                  <a:pt x="82" y="535"/>
                  <a:pt x="82" y="535"/>
                  <a:pt x="82" y="535"/>
                </a:cubicBezTo>
                <a:cubicBezTo>
                  <a:pt x="72" y="527"/>
                  <a:pt x="4" y="471"/>
                  <a:pt x="3" y="471"/>
                </a:cubicBezTo>
                <a:cubicBezTo>
                  <a:pt x="3" y="471"/>
                  <a:pt x="3" y="471"/>
                  <a:pt x="3" y="471"/>
                </a:cubicBezTo>
                <a:cubicBezTo>
                  <a:pt x="2" y="470"/>
                  <a:pt x="0" y="467"/>
                  <a:pt x="0" y="465"/>
                </a:cubicBezTo>
                <a:cubicBezTo>
                  <a:pt x="0" y="465"/>
                  <a:pt x="0" y="465"/>
                  <a:pt x="0" y="465"/>
                </a:cubicBezTo>
                <a:cubicBezTo>
                  <a:pt x="0" y="324"/>
                  <a:pt x="0" y="324"/>
                  <a:pt x="0" y="324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14"/>
                  <a:pt x="15" y="0"/>
                  <a:pt x="32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37" y="0"/>
                  <a:pt x="337" y="0"/>
                  <a:pt x="337" y="0"/>
                </a:cubicBezTo>
                <a:cubicBezTo>
                  <a:pt x="451" y="0"/>
                  <a:pt x="451" y="0"/>
                  <a:pt x="451" y="0"/>
                </a:cubicBezTo>
                <a:cubicBezTo>
                  <a:pt x="469" y="0"/>
                  <a:pt x="483" y="14"/>
                  <a:pt x="483" y="32"/>
                </a:cubicBezTo>
                <a:cubicBezTo>
                  <a:pt x="483" y="32"/>
                  <a:pt x="483" y="32"/>
                  <a:pt x="483" y="32"/>
                </a:cubicBezTo>
                <a:cubicBezTo>
                  <a:pt x="483" y="505"/>
                  <a:pt x="483" y="505"/>
                  <a:pt x="483" y="505"/>
                </a:cubicBezTo>
                <a:cubicBezTo>
                  <a:pt x="530" y="505"/>
                  <a:pt x="530" y="505"/>
                  <a:pt x="530" y="505"/>
                </a:cubicBezTo>
                <a:cubicBezTo>
                  <a:pt x="530" y="503"/>
                  <a:pt x="530" y="501"/>
                  <a:pt x="530" y="499"/>
                </a:cubicBezTo>
                <a:cubicBezTo>
                  <a:pt x="530" y="499"/>
                  <a:pt x="530" y="499"/>
                  <a:pt x="530" y="499"/>
                </a:cubicBezTo>
                <a:cubicBezTo>
                  <a:pt x="530" y="492"/>
                  <a:pt x="531" y="487"/>
                  <a:pt x="534" y="482"/>
                </a:cubicBezTo>
                <a:cubicBezTo>
                  <a:pt x="534" y="482"/>
                  <a:pt x="534" y="482"/>
                  <a:pt x="534" y="482"/>
                </a:cubicBezTo>
                <a:cubicBezTo>
                  <a:pt x="537" y="477"/>
                  <a:pt x="543" y="474"/>
                  <a:pt x="548" y="474"/>
                </a:cubicBezTo>
                <a:cubicBezTo>
                  <a:pt x="548" y="474"/>
                  <a:pt x="548" y="474"/>
                  <a:pt x="548" y="474"/>
                </a:cubicBezTo>
                <a:cubicBezTo>
                  <a:pt x="554" y="475"/>
                  <a:pt x="560" y="477"/>
                  <a:pt x="565" y="481"/>
                </a:cubicBezTo>
                <a:cubicBezTo>
                  <a:pt x="565" y="481"/>
                  <a:pt x="565" y="481"/>
                  <a:pt x="565" y="481"/>
                </a:cubicBezTo>
                <a:cubicBezTo>
                  <a:pt x="570" y="486"/>
                  <a:pt x="645" y="545"/>
                  <a:pt x="655" y="553"/>
                </a:cubicBezTo>
                <a:cubicBezTo>
                  <a:pt x="655" y="553"/>
                  <a:pt x="655" y="553"/>
                  <a:pt x="655" y="553"/>
                </a:cubicBezTo>
                <a:cubicBezTo>
                  <a:pt x="655" y="553"/>
                  <a:pt x="655" y="553"/>
                  <a:pt x="655" y="553"/>
                </a:cubicBezTo>
                <a:cubicBezTo>
                  <a:pt x="661" y="558"/>
                  <a:pt x="666" y="566"/>
                  <a:pt x="666" y="574"/>
                </a:cubicBezTo>
                <a:cubicBezTo>
                  <a:pt x="666" y="574"/>
                  <a:pt x="666" y="574"/>
                  <a:pt x="666" y="574"/>
                </a:cubicBezTo>
                <a:cubicBezTo>
                  <a:pt x="666" y="582"/>
                  <a:pt x="661" y="590"/>
                  <a:pt x="655" y="595"/>
                </a:cubicBezTo>
                <a:cubicBezTo>
                  <a:pt x="655" y="595"/>
                  <a:pt x="655" y="595"/>
                  <a:pt x="655" y="595"/>
                </a:cubicBezTo>
                <a:cubicBezTo>
                  <a:pt x="645" y="603"/>
                  <a:pt x="575" y="658"/>
                  <a:pt x="565" y="667"/>
                </a:cubicBezTo>
                <a:cubicBezTo>
                  <a:pt x="565" y="667"/>
                  <a:pt x="565" y="667"/>
                  <a:pt x="565" y="667"/>
                </a:cubicBezTo>
                <a:cubicBezTo>
                  <a:pt x="560" y="671"/>
                  <a:pt x="554" y="673"/>
                  <a:pt x="548" y="673"/>
                </a:cubicBezTo>
                <a:cubicBezTo>
                  <a:pt x="548" y="673"/>
                  <a:pt x="548" y="673"/>
                  <a:pt x="548" y="673"/>
                </a:cubicBezTo>
                <a:cubicBezTo>
                  <a:pt x="543" y="673"/>
                  <a:pt x="537" y="671"/>
                  <a:pt x="534" y="666"/>
                </a:cubicBezTo>
                <a:cubicBezTo>
                  <a:pt x="534" y="666"/>
                  <a:pt x="534" y="666"/>
                  <a:pt x="534" y="666"/>
                </a:cubicBezTo>
                <a:cubicBezTo>
                  <a:pt x="531" y="661"/>
                  <a:pt x="530" y="656"/>
                  <a:pt x="530" y="649"/>
                </a:cubicBezTo>
                <a:cubicBezTo>
                  <a:pt x="530" y="649"/>
                  <a:pt x="530" y="649"/>
                  <a:pt x="530" y="649"/>
                </a:cubicBezTo>
                <a:cubicBezTo>
                  <a:pt x="530" y="647"/>
                  <a:pt x="530" y="645"/>
                  <a:pt x="530" y="643"/>
                </a:cubicBezTo>
                <a:cubicBezTo>
                  <a:pt x="530" y="643"/>
                  <a:pt x="530" y="643"/>
                  <a:pt x="530" y="643"/>
                </a:cubicBezTo>
                <a:cubicBezTo>
                  <a:pt x="483" y="643"/>
                  <a:pt x="483" y="643"/>
                  <a:pt x="483" y="643"/>
                </a:cubicBezTo>
                <a:cubicBezTo>
                  <a:pt x="483" y="1108"/>
                  <a:pt x="483" y="1108"/>
                  <a:pt x="483" y="1108"/>
                </a:cubicBezTo>
                <a:cubicBezTo>
                  <a:pt x="483" y="1126"/>
                  <a:pt x="469" y="1140"/>
                  <a:pt x="451" y="1140"/>
                </a:cubicBezTo>
                <a:cubicBezTo>
                  <a:pt x="451" y="1140"/>
                  <a:pt x="451" y="1140"/>
                  <a:pt x="451" y="1140"/>
                </a:cubicBezTo>
                <a:cubicBezTo>
                  <a:pt x="337" y="1140"/>
                  <a:pt x="337" y="1140"/>
                  <a:pt x="337" y="1140"/>
                </a:cubicBezTo>
                <a:close/>
                <a:moveTo>
                  <a:pt x="16" y="814"/>
                </a:moveTo>
                <a:cubicBezTo>
                  <a:pt x="16" y="1108"/>
                  <a:pt x="16" y="1108"/>
                  <a:pt x="16" y="1108"/>
                </a:cubicBezTo>
                <a:cubicBezTo>
                  <a:pt x="16" y="1108"/>
                  <a:pt x="16" y="1108"/>
                  <a:pt x="16" y="1108"/>
                </a:cubicBezTo>
                <a:cubicBezTo>
                  <a:pt x="16" y="1117"/>
                  <a:pt x="24" y="1124"/>
                  <a:pt x="32" y="1124"/>
                </a:cubicBezTo>
                <a:cubicBezTo>
                  <a:pt x="32" y="1124"/>
                  <a:pt x="32" y="1124"/>
                  <a:pt x="32" y="1124"/>
                </a:cubicBezTo>
                <a:cubicBezTo>
                  <a:pt x="337" y="1124"/>
                  <a:pt x="337" y="1124"/>
                  <a:pt x="337" y="1124"/>
                </a:cubicBezTo>
                <a:cubicBezTo>
                  <a:pt x="451" y="1124"/>
                  <a:pt x="451" y="1124"/>
                  <a:pt x="451" y="1124"/>
                </a:cubicBezTo>
                <a:cubicBezTo>
                  <a:pt x="460" y="1124"/>
                  <a:pt x="467" y="1117"/>
                  <a:pt x="467" y="1108"/>
                </a:cubicBezTo>
                <a:cubicBezTo>
                  <a:pt x="467" y="1108"/>
                  <a:pt x="467" y="1108"/>
                  <a:pt x="467" y="1108"/>
                </a:cubicBezTo>
                <a:cubicBezTo>
                  <a:pt x="467" y="635"/>
                  <a:pt x="467" y="635"/>
                  <a:pt x="467" y="635"/>
                </a:cubicBezTo>
                <a:cubicBezTo>
                  <a:pt x="467" y="632"/>
                  <a:pt x="468" y="630"/>
                  <a:pt x="469" y="629"/>
                </a:cubicBezTo>
                <a:cubicBezTo>
                  <a:pt x="469" y="629"/>
                  <a:pt x="469" y="629"/>
                  <a:pt x="469" y="629"/>
                </a:cubicBezTo>
                <a:cubicBezTo>
                  <a:pt x="471" y="627"/>
                  <a:pt x="473" y="627"/>
                  <a:pt x="475" y="627"/>
                </a:cubicBezTo>
                <a:cubicBezTo>
                  <a:pt x="475" y="627"/>
                  <a:pt x="475" y="627"/>
                  <a:pt x="475" y="627"/>
                </a:cubicBezTo>
                <a:cubicBezTo>
                  <a:pt x="538" y="627"/>
                  <a:pt x="538" y="627"/>
                  <a:pt x="538" y="627"/>
                </a:cubicBezTo>
                <a:cubicBezTo>
                  <a:pt x="542" y="627"/>
                  <a:pt x="546" y="630"/>
                  <a:pt x="546" y="635"/>
                </a:cubicBezTo>
                <a:cubicBezTo>
                  <a:pt x="546" y="635"/>
                  <a:pt x="546" y="635"/>
                  <a:pt x="546" y="635"/>
                </a:cubicBezTo>
                <a:cubicBezTo>
                  <a:pt x="546" y="640"/>
                  <a:pt x="546" y="646"/>
                  <a:pt x="546" y="649"/>
                </a:cubicBezTo>
                <a:cubicBezTo>
                  <a:pt x="546" y="649"/>
                  <a:pt x="546" y="649"/>
                  <a:pt x="546" y="649"/>
                </a:cubicBezTo>
                <a:cubicBezTo>
                  <a:pt x="546" y="654"/>
                  <a:pt x="547" y="656"/>
                  <a:pt x="547" y="657"/>
                </a:cubicBezTo>
                <a:cubicBezTo>
                  <a:pt x="547" y="657"/>
                  <a:pt x="547" y="657"/>
                  <a:pt x="547" y="657"/>
                </a:cubicBezTo>
                <a:cubicBezTo>
                  <a:pt x="548" y="657"/>
                  <a:pt x="548" y="657"/>
                  <a:pt x="548" y="657"/>
                </a:cubicBezTo>
                <a:cubicBezTo>
                  <a:pt x="548" y="657"/>
                  <a:pt x="548" y="657"/>
                  <a:pt x="548" y="657"/>
                </a:cubicBezTo>
                <a:cubicBezTo>
                  <a:pt x="549" y="657"/>
                  <a:pt x="552" y="657"/>
                  <a:pt x="554" y="654"/>
                </a:cubicBezTo>
                <a:cubicBezTo>
                  <a:pt x="554" y="654"/>
                  <a:pt x="554" y="654"/>
                  <a:pt x="554" y="654"/>
                </a:cubicBezTo>
                <a:cubicBezTo>
                  <a:pt x="565" y="645"/>
                  <a:pt x="635" y="590"/>
                  <a:pt x="645" y="582"/>
                </a:cubicBezTo>
                <a:cubicBezTo>
                  <a:pt x="645" y="582"/>
                  <a:pt x="645" y="582"/>
                  <a:pt x="645" y="582"/>
                </a:cubicBezTo>
                <a:cubicBezTo>
                  <a:pt x="649" y="579"/>
                  <a:pt x="650" y="577"/>
                  <a:pt x="650" y="574"/>
                </a:cubicBezTo>
                <a:cubicBezTo>
                  <a:pt x="650" y="574"/>
                  <a:pt x="650" y="574"/>
                  <a:pt x="650" y="574"/>
                </a:cubicBezTo>
                <a:cubicBezTo>
                  <a:pt x="650" y="571"/>
                  <a:pt x="649" y="569"/>
                  <a:pt x="645" y="566"/>
                </a:cubicBezTo>
                <a:cubicBezTo>
                  <a:pt x="645" y="566"/>
                  <a:pt x="645" y="566"/>
                  <a:pt x="645" y="566"/>
                </a:cubicBezTo>
                <a:cubicBezTo>
                  <a:pt x="650" y="560"/>
                  <a:pt x="650" y="560"/>
                  <a:pt x="650" y="560"/>
                </a:cubicBezTo>
                <a:cubicBezTo>
                  <a:pt x="645" y="566"/>
                  <a:pt x="645" y="566"/>
                  <a:pt x="645" y="566"/>
                </a:cubicBezTo>
                <a:cubicBezTo>
                  <a:pt x="635" y="558"/>
                  <a:pt x="560" y="498"/>
                  <a:pt x="554" y="494"/>
                </a:cubicBezTo>
                <a:cubicBezTo>
                  <a:pt x="554" y="494"/>
                  <a:pt x="554" y="494"/>
                  <a:pt x="554" y="494"/>
                </a:cubicBezTo>
                <a:cubicBezTo>
                  <a:pt x="551" y="491"/>
                  <a:pt x="549" y="490"/>
                  <a:pt x="548" y="490"/>
                </a:cubicBezTo>
                <a:cubicBezTo>
                  <a:pt x="548" y="490"/>
                  <a:pt x="548" y="490"/>
                  <a:pt x="548" y="490"/>
                </a:cubicBezTo>
                <a:cubicBezTo>
                  <a:pt x="548" y="491"/>
                  <a:pt x="548" y="491"/>
                  <a:pt x="548" y="491"/>
                </a:cubicBezTo>
                <a:cubicBezTo>
                  <a:pt x="548" y="491"/>
                  <a:pt x="548" y="491"/>
                  <a:pt x="548" y="491"/>
                </a:cubicBezTo>
                <a:cubicBezTo>
                  <a:pt x="548" y="491"/>
                  <a:pt x="548" y="491"/>
                  <a:pt x="547" y="491"/>
                </a:cubicBezTo>
                <a:cubicBezTo>
                  <a:pt x="547" y="491"/>
                  <a:pt x="547" y="491"/>
                  <a:pt x="547" y="491"/>
                </a:cubicBezTo>
                <a:cubicBezTo>
                  <a:pt x="547" y="492"/>
                  <a:pt x="546" y="494"/>
                  <a:pt x="546" y="499"/>
                </a:cubicBezTo>
                <a:cubicBezTo>
                  <a:pt x="546" y="499"/>
                  <a:pt x="546" y="499"/>
                  <a:pt x="546" y="499"/>
                </a:cubicBezTo>
                <a:cubicBezTo>
                  <a:pt x="546" y="502"/>
                  <a:pt x="546" y="507"/>
                  <a:pt x="546" y="513"/>
                </a:cubicBezTo>
                <a:cubicBezTo>
                  <a:pt x="546" y="513"/>
                  <a:pt x="546" y="513"/>
                  <a:pt x="546" y="513"/>
                </a:cubicBezTo>
                <a:cubicBezTo>
                  <a:pt x="546" y="518"/>
                  <a:pt x="542" y="521"/>
                  <a:pt x="538" y="521"/>
                </a:cubicBezTo>
                <a:cubicBezTo>
                  <a:pt x="538" y="521"/>
                  <a:pt x="538" y="521"/>
                  <a:pt x="538" y="521"/>
                </a:cubicBezTo>
                <a:cubicBezTo>
                  <a:pt x="475" y="521"/>
                  <a:pt x="475" y="521"/>
                  <a:pt x="475" y="521"/>
                </a:cubicBezTo>
                <a:cubicBezTo>
                  <a:pt x="473" y="521"/>
                  <a:pt x="471" y="520"/>
                  <a:pt x="469" y="519"/>
                </a:cubicBezTo>
                <a:cubicBezTo>
                  <a:pt x="469" y="519"/>
                  <a:pt x="469" y="519"/>
                  <a:pt x="469" y="519"/>
                </a:cubicBezTo>
                <a:cubicBezTo>
                  <a:pt x="468" y="517"/>
                  <a:pt x="467" y="515"/>
                  <a:pt x="467" y="513"/>
                </a:cubicBezTo>
                <a:cubicBezTo>
                  <a:pt x="467" y="513"/>
                  <a:pt x="467" y="513"/>
                  <a:pt x="467" y="513"/>
                </a:cubicBezTo>
                <a:cubicBezTo>
                  <a:pt x="467" y="32"/>
                  <a:pt x="467" y="32"/>
                  <a:pt x="467" y="32"/>
                </a:cubicBezTo>
                <a:cubicBezTo>
                  <a:pt x="467" y="23"/>
                  <a:pt x="460" y="16"/>
                  <a:pt x="451" y="16"/>
                </a:cubicBezTo>
                <a:cubicBezTo>
                  <a:pt x="451" y="16"/>
                  <a:pt x="451" y="16"/>
                  <a:pt x="451" y="16"/>
                </a:cubicBezTo>
                <a:cubicBezTo>
                  <a:pt x="337" y="16"/>
                  <a:pt x="337" y="16"/>
                  <a:pt x="337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24" y="16"/>
                  <a:pt x="16" y="23"/>
                  <a:pt x="16" y="32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324"/>
                  <a:pt x="16" y="324"/>
                  <a:pt x="16" y="324"/>
                </a:cubicBezTo>
                <a:cubicBezTo>
                  <a:pt x="16" y="461"/>
                  <a:pt x="16" y="461"/>
                  <a:pt x="16" y="461"/>
                </a:cubicBezTo>
                <a:cubicBezTo>
                  <a:pt x="30" y="472"/>
                  <a:pt x="83" y="515"/>
                  <a:pt x="92" y="523"/>
                </a:cubicBezTo>
                <a:cubicBezTo>
                  <a:pt x="92" y="523"/>
                  <a:pt x="92" y="523"/>
                  <a:pt x="92" y="523"/>
                </a:cubicBezTo>
                <a:cubicBezTo>
                  <a:pt x="113" y="539"/>
                  <a:pt x="118" y="560"/>
                  <a:pt x="118" y="574"/>
                </a:cubicBezTo>
                <a:cubicBezTo>
                  <a:pt x="118" y="574"/>
                  <a:pt x="118" y="574"/>
                  <a:pt x="118" y="574"/>
                </a:cubicBezTo>
                <a:cubicBezTo>
                  <a:pt x="118" y="588"/>
                  <a:pt x="113" y="609"/>
                  <a:pt x="92" y="625"/>
                </a:cubicBezTo>
                <a:cubicBezTo>
                  <a:pt x="92" y="625"/>
                  <a:pt x="92" y="625"/>
                  <a:pt x="92" y="625"/>
                </a:cubicBezTo>
                <a:cubicBezTo>
                  <a:pt x="83" y="633"/>
                  <a:pt x="34" y="672"/>
                  <a:pt x="16" y="685"/>
                </a:cubicBezTo>
                <a:cubicBezTo>
                  <a:pt x="16" y="685"/>
                  <a:pt x="16" y="685"/>
                  <a:pt x="16" y="685"/>
                </a:cubicBezTo>
                <a:cubicBezTo>
                  <a:pt x="16" y="814"/>
                  <a:pt x="16" y="814"/>
                  <a:pt x="16" y="81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10800000" vert="eaVert" lIns="168000" tIns="158400"/>
          <a:lstStyle/>
          <a:p>
            <a:endParaRPr lang="en-US">
              <a:solidFill>
                <a:srgbClr val="58585A"/>
              </a:solidFill>
              <a:cs typeface="Arial" pitchFamily="34" charset="0"/>
            </a:endParaRPr>
          </a:p>
        </p:txBody>
      </p:sp>
      <p:sp>
        <p:nvSpPr>
          <p:cNvPr id="46" name="Rectangle 54"/>
          <p:cNvSpPr>
            <a:spLocks noChangeArrowheads="1"/>
          </p:cNvSpPr>
          <p:nvPr/>
        </p:nvSpPr>
        <p:spPr bwMode="auto">
          <a:xfrm>
            <a:off x="10529097" y="2952667"/>
            <a:ext cx="371475" cy="4381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99999"/>
                  </a:outerShdw>
                </a:effectLst>
              </a14:hiddenEffects>
            </a:ext>
          </a:extLst>
        </p:spPr>
        <p:txBody>
          <a:bodyPr wrap="none" lIns="91436" tIns="45719" rIns="91436" bIns="45719" anchor="ctr"/>
          <a:lstStyle/>
          <a:p>
            <a:pPr algn="ctr" defTabSz="685800"/>
            <a:endParaRPr lang="en-US" sz="120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47" name="Rectangle 53"/>
          <p:cNvSpPr>
            <a:spLocks noChangeArrowheads="1"/>
          </p:cNvSpPr>
          <p:nvPr/>
        </p:nvSpPr>
        <p:spPr bwMode="auto">
          <a:xfrm>
            <a:off x="10386221" y="3081254"/>
            <a:ext cx="371475" cy="4381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99999"/>
                  </a:outerShdw>
                </a:effectLst>
              </a14:hiddenEffects>
            </a:ext>
          </a:extLst>
        </p:spPr>
        <p:txBody>
          <a:bodyPr wrap="none" lIns="91436" tIns="45719" rIns="91436" bIns="45719" anchor="ctr"/>
          <a:lstStyle/>
          <a:p>
            <a:pPr algn="ctr" defTabSz="685800"/>
            <a:endParaRPr lang="en-US" sz="120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48" name="AutoShape 25"/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7027069" y="4063923"/>
            <a:ext cx="4052888" cy="947737"/>
          </a:xfrm>
          <a:prstGeom prst="roundRect">
            <a:avLst>
              <a:gd name="adj" fmla="val 16667"/>
            </a:avLst>
          </a:prstGeom>
          <a:solidFill>
            <a:srgbClr val="00A9D4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73260" tIns="36631" rIns="73260" bIns="36631" anchor="ctr"/>
          <a:lstStyle/>
          <a:p>
            <a:pPr defTabSz="549275">
              <a:spcBef>
                <a:spcPct val="50000"/>
              </a:spcBef>
            </a:pPr>
            <a:r>
              <a:rPr lang="en-US" sz="1600">
                <a:solidFill>
                  <a:srgbClr val="FFFFFF"/>
                </a:solidFill>
                <a:ea typeface="MS PGothic" pitchFamily="34" charset="-128"/>
              </a:rPr>
              <a:t>     </a:t>
            </a:r>
            <a:r>
              <a:rPr lang="en-US" sz="1800">
                <a:solidFill>
                  <a:srgbClr val="FFFFFF"/>
                </a:solidFill>
                <a:ea typeface="MS PGothic" pitchFamily="34" charset="-128"/>
              </a:rPr>
              <a:t>Virtualized Networking</a:t>
            </a:r>
          </a:p>
        </p:txBody>
      </p:sp>
      <p:sp>
        <p:nvSpPr>
          <p:cNvPr id="49" name="AutoShape 347"/>
          <p:cNvSpPr>
            <a:spLocks noChangeAspect="1" noChangeArrowheads="1"/>
          </p:cNvSpPr>
          <p:nvPr/>
        </p:nvSpPr>
        <p:spPr bwMode="auto">
          <a:xfrm>
            <a:off x="7027069" y="1542973"/>
            <a:ext cx="4052888" cy="1247775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3244" tIns="36623" rIns="73244" bIns="36623" anchor="ctr"/>
          <a:lstStyle/>
          <a:p>
            <a:pPr algn="ctr" defTabSz="549275" eaLnBrk="0" hangingPunct="0">
              <a:spcBef>
                <a:spcPct val="50000"/>
              </a:spcBef>
            </a:pPr>
            <a:endParaRPr lang="pt-BR" sz="1200" b="1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50" name="Freeform 9"/>
          <p:cNvSpPr>
            <a:spLocks noChangeAspect="1"/>
          </p:cNvSpPr>
          <p:nvPr/>
        </p:nvSpPr>
        <p:spPr bwMode="auto">
          <a:xfrm>
            <a:off x="7120733" y="1631873"/>
            <a:ext cx="3851275" cy="1042987"/>
          </a:xfrm>
          <a:custGeom>
            <a:avLst/>
            <a:gdLst>
              <a:gd name="T0" fmla="*/ 2147483647 w 474"/>
              <a:gd name="T1" fmla="*/ 2147483647 h 295"/>
              <a:gd name="T2" fmla="*/ 2147483647 w 474"/>
              <a:gd name="T3" fmla="*/ 2147483647 h 295"/>
              <a:gd name="T4" fmla="*/ 2147483647 w 474"/>
              <a:gd name="T5" fmla="*/ 2147483647 h 295"/>
              <a:gd name="T6" fmla="*/ 2147483647 w 474"/>
              <a:gd name="T7" fmla="*/ 2147483647 h 295"/>
              <a:gd name="T8" fmla="*/ 2147483647 w 474"/>
              <a:gd name="T9" fmla="*/ 2147483647 h 295"/>
              <a:gd name="T10" fmla="*/ 2147483647 w 474"/>
              <a:gd name="T11" fmla="*/ 2147483647 h 295"/>
              <a:gd name="T12" fmla="*/ 2147483647 w 474"/>
              <a:gd name="T13" fmla="*/ 2147483647 h 295"/>
              <a:gd name="T14" fmla="*/ 2147483647 w 474"/>
              <a:gd name="T15" fmla="*/ 2147483647 h 295"/>
              <a:gd name="T16" fmla="*/ 2147483647 w 474"/>
              <a:gd name="T17" fmla="*/ 2147483647 h 295"/>
              <a:gd name="T18" fmla="*/ 2147483647 w 474"/>
              <a:gd name="T19" fmla="*/ 2147483647 h 295"/>
              <a:gd name="T20" fmla="*/ 2147483647 w 474"/>
              <a:gd name="T21" fmla="*/ 2147483647 h 295"/>
              <a:gd name="T22" fmla="*/ 2147483647 w 474"/>
              <a:gd name="T23" fmla="*/ 2147483647 h 295"/>
              <a:gd name="T24" fmla="*/ 2147483647 w 474"/>
              <a:gd name="T25" fmla="*/ 2147483647 h 295"/>
              <a:gd name="T26" fmla="*/ 2147483647 w 474"/>
              <a:gd name="T27" fmla="*/ 2147483647 h 295"/>
              <a:gd name="T28" fmla="*/ 2147483647 w 474"/>
              <a:gd name="T29" fmla="*/ 2147483647 h 295"/>
              <a:gd name="T30" fmla="*/ 2147483647 w 474"/>
              <a:gd name="T31" fmla="*/ 2147483647 h 295"/>
              <a:gd name="T32" fmla="*/ 2147483647 w 474"/>
              <a:gd name="T33" fmla="*/ 2147483647 h 295"/>
              <a:gd name="T34" fmla="*/ 2147483647 w 474"/>
              <a:gd name="T35" fmla="*/ 2147483647 h 295"/>
              <a:gd name="T36" fmla="*/ 2147483647 w 474"/>
              <a:gd name="T37" fmla="*/ 2147483647 h 295"/>
              <a:gd name="T38" fmla="*/ 2147483647 w 474"/>
              <a:gd name="T39" fmla="*/ 2147483647 h 295"/>
              <a:gd name="T40" fmla="*/ 2147483647 w 474"/>
              <a:gd name="T41" fmla="*/ 2147483647 h 295"/>
              <a:gd name="T42" fmla="*/ 2147483647 w 474"/>
              <a:gd name="T43" fmla="*/ 2147483647 h 295"/>
              <a:gd name="T44" fmla="*/ 2147483647 w 474"/>
              <a:gd name="T45" fmla="*/ 2147483647 h 295"/>
              <a:gd name="T46" fmla="*/ 2147483647 w 474"/>
              <a:gd name="T47" fmla="*/ 2147483647 h 295"/>
              <a:gd name="T48" fmla="*/ 2147483647 w 474"/>
              <a:gd name="T49" fmla="*/ 2147483647 h 295"/>
              <a:gd name="T50" fmla="*/ 2147483647 w 474"/>
              <a:gd name="T51" fmla="*/ 2147483647 h 295"/>
              <a:gd name="T52" fmla="*/ 2147483647 w 474"/>
              <a:gd name="T53" fmla="*/ 2147483647 h 295"/>
              <a:gd name="T54" fmla="*/ 2147483647 w 474"/>
              <a:gd name="T55" fmla="*/ 2147483647 h 295"/>
              <a:gd name="T56" fmla="*/ 2147483647 w 474"/>
              <a:gd name="T57" fmla="*/ 2147483647 h 295"/>
              <a:gd name="T58" fmla="*/ 2147483647 w 474"/>
              <a:gd name="T59" fmla="*/ 0 h 295"/>
              <a:gd name="T60" fmla="*/ 2147483647 w 474"/>
              <a:gd name="T61" fmla="*/ 2147483647 h 295"/>
              <a:gd name="T62" fmla="*/ 0 w 474"/>
              <a:gd name="T63" fmla="*/ 2147483647 h 295"/>
              <a:gd name="T64" fmla="*/ 2147483647 w 474"/>
              <a:gd name="T65" fmla="*/ 2147483647 h 295"/>
              <a:gd name="T66" fmla="*/ 2147483647 w 474"/>
              <a:gd name="T67" fmla="*/ 2147483647 h 295"/>
              <a:gd name="T68" fmla="*/ 2147483647 w 474"/>
              <a:gd name="T69" fmla="*/ 2147483647 h 295"/>
              <a:gd name="T70" fmla="*/ 2147483647 w 474"/>
              <a:gd name="T71" fmla="*/ 2147483647 h 295"/>
              <a:gd name="T72" fmla="*/ 2147483647 w 474"/>
              <a:gd name="T73" fmla="*/ 2147483647 h 295"/>
              <a:gd name="T74" fmla="*/ 2147483647 w 474"/>
              <a:gd name="T75" fmla="*/ 2147483647 h 295"/>
              <a:gd name="T76" fmla="*/ 2147483647 w 474"/>
              <a:gd name="T77" fmla="*/ 2147483647 h 295"/>
              <a:gd name="T78" fmla="*/ 2147483647 w 474"/>
              <a:gd name="T79" fmla="*/ 2147483647 h 295"/>
              <a:gd name="T80" fmla="*/ 2147483647 w 474"/>
              <a:gd name="T81" fmla="*/ 2147483647 h 295"/>
              <a:gd name="T82" fmla="*/ 2147483647 w 474"/>
              <a:gd name="T83" fmla="*/ 2147483647 h 295"/>
              <a:gd name="T84" fmla="*/ 2147483647 w 474"/>
              <a:gd name="T85" fmla="*/ 2147483647 h 29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474" h="295">
                <a:moveTo>
                  <a:pt x="454" y="182"/>
                </a:moveTo>
                <a:cubicBezTo>
                  <a:pt x="461" y="168"/>
                  <a:pt x="466" y="153"/>
                  <a:pt x="466" y="136"/>
                </a:cubicBezTo>
                <a:cubicBezTo>
                  <a:pt x="466" y="106"/>
                  <a:pt x="452" y="80"/>
                  <a:pt x="432" y="61"/>
                </a:cubicBezTo>
                <a:cubicBezTo>
                  <a:pt x="428" y="58"/>
                  <a:pt x="423" y="59"/>
                  <a:pt x="420" y="63"/>
                </a:cubicBezTo>
                <a:cubicBezTo>
                  <a:pt x="418" y="66"/>
                  <a:pt x="418" y="71"/>
                  <a:pt x="422" y="74"/>
                </a:cubicBezTo>
                <a:cubicBezTo>
                  <a:pt x="422" y="74"/>
                  <a:pt x="422" y="74"/>
                  <a:pt x="422" y="74"/>
                </a:cubicBezTo>
                <a:cubicBezTo>
                  <a:pt x="439" y="90"/>
                  <a:pt x="450" y="112"/>
                  <a:pt x="450" y="136"/>
                </a:cubicBezTo>
                <a:cubicBezTo>
                  <a:pt x="450" y="152"/>
                  <a:pt x="445" y="167"/>
                  <a:pt x="437" y="179"/>
                </a:cubicBezTo>
                <a:cubicBezTo>
                  <a:pt x="435" y="183"/>
                  <a:pt x="436" y="187"/>
                  <a:pt x="439" y="189"/>
                </a:cubicBezTo>
                <a:cubicBezTo>
                  <a:pt x="450" y="200"/>
                  <a:pt x="458" y="214"/>
                  <a:pt x="458" y="230"/>
                </a:cubicBezTo>
                <a:cubicBezTo>
                  <a:pt x="458" y="240"/>
                  <a:pt x="453" y="253"/>
                  <a:pt x="445" y="262"/>
                </a:cubicBezTo>
                <a:cubicBezTo>
                  <a:pt x="436" y="272"/>
                  <a:pt x="424" y="279"/>
                  <a:pt x="410" y="279"/>
                </a:cubicBezTo>
                <a:cubicBezTo>
                  <a:pt x="350" y="279"/>
                  <a:pt x="350" y="279"/>
                  <a:pt x="350" y="279"/>
                </a:cubicBezTo>
                <a:cubicBezTo>
                  <a:pt x="74" y="279"/>
                  <a:pt x="74" y="279"/>
                  <a:pt x="74" y="279"/>
                </a:cubicBezTo>
                <a:cubicBezTo>
                  <a:pt x="58" y="279"/>
                  <a:pt x="44" y="270"/>
                  <a:pt x="33" y="256"/>
                </a:cubicBezTo>
                <a:cubicBezTo>
                  <a:pt x="22" y="243"/>
                  <a:pt x="16" y="225"/>
                  <a:pt x="16" y="209"/>
                </a:cubicBezTo>
                <a:cubicBezTo>
                  <a:pt x="16" y="172"/>
                  <a:pt x="42" y="141"/>
                  <a:pt x="77" y="134"/>
                </a:cubicBezTo>
                <a:cubicBezTo>
                  <a:pt x="81" y="133"/>
                  <a:pt x="83" y="130"/>
                  <a:pt x="84" y="127"/>
                </a:cubicBezTo>
                <a:cubicBezTo>
                  <a:pt x="90" y="65"/>
                  <a:pt x="142" y="16"/>
                  <a:pt x="206" y="16"/>
                </a:cubicBezTo>
                <a:cubicBezTo>
                  <a:pt x="247" y="16"/>
                  <a:pt x="282" y="36"/>
                  <a:pt x="305" y="66"/>
                </a:cubicBezTo>
                <a:cubicBezTo>
                  <a:pt x="308" y="70"/>
                  <a:pt x="313" y="70"/>
                  <a:pt x="316" y="68"/>
                </a:cubicBezTo>
                <a:cubicBezTo>
                  <a:pt x="330" y="58"/>
                  <a:pt x="347" y="52"/>
                  <a:pt x="365" y="52"/>
                </a:cubicBezTo>
                <a:cubicBezTo>
                  <a:pt x="376" y="52"/>
                  <a:pt x="386" y="54"/>
                  <a:pt x="395" y="57"/>
                </a:cubicBezTo>
                <a:cubicBezTo>
                  <a:pt x="395" y="57"/>
                  <a:pt x="396" y="58"/>
                  <a:pt x="396" y="58"/>
                </a:cubicBezTo>
                <a:cubicBezTo>
                  <a:pt x="400" y="59"/>
                  <a:pt x="405" y="58"/>
                  <a:pt x="406" y="54"/>
                </a:cubicBezTo>
                <a:cubicBezTo>
                  <a:pt x="407" y="52"/>
                  <a:pt x="407" y="51"/>
                  <a:pt x="407" y="49"/>
                </a:cubicBezTo>
                <a:cubicBezTo>
                  <a:pt x="407" y="47"/>
                  <a:pt x="405" y="44"/>
                  <a:pt x="403" y="43"/>
                </a:cubicBezTo>
                <a:cubicBezTo>
                  <a:pt x="391" y="38"/>
                  <a:pt x="378" y="36"/>
                  <a:pt x="365" y="36"/>
                </a:cubicBezTo>
                <a:cubicBezTo>
                  <a:pt x="346" y="36"/>
                  <a:pt x="328" y="41"/>
                  <a:pt x="313" y="51"/>
                </a:cubicBezTo>
                <a:cubicBezTo>
                  <a:pt x="288" y="20"/>
                  <a:pt x="249" y="0"/>
                  <a:pt x="206" y="0"/>
                </a:cubicBezTo>
                <a:cubicBezTo>
                  <a:pt x="136" y="0"/>
                  <a:pt x="78" y="52"/>
                  <a:pt x="68" y="120"/>
                </a:cubicBezTo>
                <a:cubicBezTo>
                  <a:pt x="29" y="130"/>
                  <a:pt x="0" y="166"/>
                  <a:pt x="0" y="209"/>
                </a:cubicBezTo>
                <a:cubicBezTo>
                  <a:pt x="0" y="229"/>
                  <a:pt x="7" y="250"/>
                  <a:pt x="20" y="266"/>
                </a:cubicBezTo>
                <a:cubicBezTo>
                  <a:pt x="33" y="283"/>
                  <a:pt x="52" y="295"/>
                  <a:pt x="74" y="295"/>
                </a:cubicBezTo>
                <a:cubicBezTo>
                  <a:pt x="350" y="295"/>
                  <a:pt x="350" y="295"/>
                  <a:pt x="350" y="295"/>
                </a:cubicBezTo>
                <a:cubicBezTo>
                  <a:pt x="350" y="295"/>
                  <a:pt x="351" y="295"/>
                  <a:pt x="351" y="295"/>
                </a:cubicBezTo>
                <a:cubicBezTo>
                  <a:pt x="382" y="295"/>
                  <a:pt x="382" y="295"/>
                  <a:pt x="382" y="295"/>
                </a:cubicBezTo>
                <a:cubicBezTo>
                  <a:pt x="382" y="295"/>
                  <a:pt x="382" y="295"/>
                  <a:pt x="382" y="295"/>
                </a:cubicBezTo>
                <a:cubicBezTo>
                  <a:pt x="382" y="295"/>
                  <a:pt x="382" y="295"/>
                  <a:pt x="382" y="295"/>
                </a:cubicBezTo>
                <a:cubicBezTo>
                  <a:pt x="410" y="295"/>
                  <a:pt x="410" y="295"/>
                  <a:pt x="410" y="295"/>
                </a:cubicBezTo>
                <a:cubicBezTo>
                  <a:pt x="430" y="295"/>
                  <a:pt x="446" y="286"/>
                  <a:pt x="457" y="273"/>
                </a:cubicBezTo>
                <a:cubicBezTo>
                  <a:pt x="468" y="260"/>
                  <a:pt x="474" y="244"/>
                  <a:pt x="474" y="230"/>
                </a:cubicBezTo>
                <a:cubicBezTo>
                  <a:pt x="474" y="211"/>
                  <a:pt x="466" y="194"/>
                  <a:pt x="454" y="1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51" name="Group 2"/>
          <p:cNvGrpSpPr>
            <a:grpSpLocks/>
          </p:cNvGrpSpPr>
          <p:nvPr/>
        </p:nvGrpSpPr>
        <p:grpSpPr bwMode="auto">
          <a:xfrm>
            <a:off x="7465219" y="5337092"/>
            <a:ext cx="3379788" cy="863666"/>
            <a:chOff x="2341563" y="4886325"/>
            <a:chExt cx="7141590" cy="1666316"/>
          </a:xfrm>
        </p:grpSpPr>
        <p:sp>
          <p:nvSpPr>
            <p:cNvPr id="52" name="Freeform 7"/>
            <p:cNvSpPr>
              <a:spLocks noChangeAspect="1"/>
            </p:cNvSpPr>
            <p:nvPr/>
          </p:nvSpPr>
          <p:spPr bwMode="auto">
            <a:xfrm>
              <a:off x="3765550" y="4886325"/>
              <a:ext cx="3384550" cy="1619250"/>
            </a:xfrm>
            <a:custGeom>
              <a:avLst/>
              <a:gdLst>
                <a:gd name="T0" fmla="*/ 2147483647 w 630"/>
                <a:gd name="T1" fmla="*/ 2147483647 h 482"/>
                <a:gd name="T2" fmla="*/ 2147483647 w 630"/>
                <a:gd name="T3" fmla="*/ 2147483647 h 482"/>
                <a:gd name="T4" fmla="*/ 0 w 630"/>
                <a:gd name="T5" fmla="*/ 2147483647 h 482"/>
                <a:gd name="T6" fmla="*/ 2147483647 w 630"/>
                <a:gd name="T7" fmla="*/ 2147483647 h 482"/>
                <a:gd name="T8" fmla="*/ 2147483647 w 630"/>
                <a:gd name="T9" fmla="*/ 2147483647 h 482"/>
                <a:gd name="T10" fmla="*/ 2147483647 w 630"/>
                <a:gd name="T11" fmla="*/ 0 h 482"/>
                <a:gd name="T12" fmla="*/ 2147483647 w 630"/>
                <a:gd name="T13" fmla="*/ 2147483647 h 482"/>
                <a:gd name="T14" fmla="*/ 2147483647 w 630"/>
                <a:gd name="T15" fmla="*/ 2147483647 h 482"/>
                <a:gd name="T16" fmla="*/ 2147483647 w 630"/>
                <a:gd name="T17" fmla="*/ 2147483647 h 482"/>
                <a:gd name="T18" fmla="*/ 2147483647 w 630"/>
                <a:gd name="T19" fmla="*/ 2147483647 h 482"/>
                <a:gd name="T20" fmla="*/ 2147483647 w 630"/>
                <a:gd name="T21" fmla="*/ 2147483647 h 482"/>
                <a:gd name="T22" fmla="*/ 2147483647 w 630"/>
                <a:gd name="T23" fmla="*/ 2147483647 h 482"/>
                <a:gd name="T24" fmla="*/ 2147483647 w 630"/>
                <a:gd name="T25" fmla="*/ 2147483647 h 482"/>
                <a:gd name="T26" fmla="*/ 2147483647 w 630"/>
                <a:gd name="T27" fmla="*/ 2147483647 h 482"/>
                <a:gd name="T28" fmla="*/ 2147483647 w 630"/>
                <a:gd name="T29" fmla="*/ 2147483647 h 482"/>
                <a:gd name="T30" fmla="*/ 2147483647 w 630"/>
                <a:gd name="T31" fmla="*/ 2147483647 h 482"/>
                <a:gd name="T32" fmla="*/ 2147483647 w 630"/>
                <a:gd name="T33" fmla="*/ 2147483647 h 482"/>
                <a:gd name="T34" fmla="*/ 2147483647 w 630"/>
                <a:gd name="T35" fmla="*/ 2147483647 h 482"/>
                <a:gd name="T36" fmla="*/ 2147483647 w 630"/>
                <a:gd name="T37" fmla="*/ 2147483647 h 482"/>
                <a:gd name="T38" fmla="*/ 2147483647 w 630"/>
                <a:gd name="T39" fmla="*/ 2147483647 h 482"/>
                <a:gd name="T40" fmla="*/ 2147483647 w 630"/>
                <a:gd name="T41" fmla="*/ 2147483647 h 482"/>
                <a:gd name="T42" fmla="*/ 2147483647 w 630"/>
                <a:gd name="T43" fmla="*/ 2147483647 h 482"/>
                <a:gd name="T44" fmla="*/ 2147483647 w 630"/>
                <a:gd name="T45" fmla="*/ 2147483647 h 482"/>
                <a:gd name="T46" fmla="*/ 2147483647 w 630"/>
                <a:gd name="T47" fmla="*/ 2147483647 h 482"/>
                <a:gd name="T48" fmla="*/ 2147483647 w 630"/>
                <a:gd name="T49" fmla="*/ 2147483647 h 482"/>
                <a:gd name="T50" fmla="*/ 2147483647 w 630"/>
                <a:gd name="T51" fmla="*/ 2147483647 h 482"/>
                <a:gd name="T52" fmla="*/ 2147483647 w 630"/>
                <a:gd name="T53" fmla="*/ 2147483647 h 482"/>
                <a:gd name="T54" fmla="*/ 2147483647 w 630"/>
                <a:gd name="T55" fmla="*/ 2147483647 h 482"/>
                <a:gd name="T56" fmla="*/ 2147483647 w 630"/>
                <a:gd name="T57" fmla="*/ 2147483647 h 482"/>
                <a:gd name="T58" fmla="*/ 2147483647 w 630"/>
                <a:gd name="T59" fmla="*/ 2147483647 h 482"/>
                <a:gd name="T60" fmla="*/ 2147483647 w 630"/>
                <a:gd name="T61" fmla="*/ 2147483647 h 482"/>
                <a:gd name="T62" fmla="*/ 2147483647 w 630"/>
                <a:gd name="T63" fmla="*/ 2147483647 h 482"/>
                <a:gd name="T64" fmla="*/ 2147483647 w 630"/>
                <a:gd name="T65" fmla="*/ 2147483647 h 482"/>
                <a:gd name="T66" fmla="*/ 2147483647 w 630"/>
                <a:gd name="T67" fmla="*/ 2147483647 h 482"/>
                <a:gd name="T68" fmla="*/ 2147483647 w 630"/>
                <a:gd name="T69" fmla="*/ 2147483647 h 482"/>
                <a:gd name="T70" fmla="*/ 2147483647 w 630"/>
                <a:gd name="T71" fmla="*/ 2147483647 h 482"/>
                <a:gd name="T72" fmla="*/ 2147483647 w 630"/>
                <a:gd name="T73" fmla="*/ 2147483647 h 482"/>
                <a:gd name="T74" fmla="*/ 2147483647 w 630"/>
                <a:gd name="T75" fmla="*/ 2147483647 h 482"/>
                <a:gd name="T76" fmla="*/ 2147483647 w 630"/>
                <a:gd name="T77" fmla="*/ 2147483647 h 482"/>
                <a:gd name="T78" fmla="*/ 2147483647 w 630"/>
                <a:gd name="T79" fmla="*/ 2147483647 h 482"/>
                <a:gd name="T80" fmla="*/ 2147483647 w 630"/>
                <a:gd name="T81" fmla="*/ 2147483647 h 482"/>
                <a:gd name="T82" fmla="*/ 2147483647 w 630"/>
                <a:gd name="T83" fmla="*/ 2147483647 h 482"/>
                <a:gd name="T84" fmla="*/ 2147483647 w 630"/>
                <a:gd name="T85" fmla="*/ 2147483647 h 48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30"/>
                <a:gd name="T130" fmla="*/ 0 h 482"/>
                <a:gd name="T131" fmla="*/ 630 w 630"/>
                <a:gd name="T132" fmla="*/ 482 h 48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30" h="482">
                  <a:moveTo>
                    <a:pt x="134" y="427"/>
                  </a:moveTo>
                  <a:cubicBezTo>
                    <a:pt x="126" y="430"/>
                    <a:pt x="117" y="431"/>
                    <a:pt x="109" y="431"/>
                  </a:cubicBezTo>
                  <a:cubicBezTo>
                    <a:pt x="109" y="431"/>
                    <a:pt x="109" y="431"/>
                    <a:pt x="109" y="431"/>
                  </a:cubicBezTo>
                  <a:cubicBezTo>
                    <a:pt x="64" y="431"/>
                    <a:pt x="27" y="394"/>
                    <a:pt x="27" y="349"/>
                  </a:cubicBezTo>
                  <a:cubicBezTo>
                    <a:pt x="27" y="349"/>
                    <a:pt x="27" y="349"/>
                    <a:pt x="27" y="349"/>
                  </a:cubicBezTo>
                  <a:cubicBezTo>
                    <a:pt x="27" y="341"/>
                    <a:pt x="28" y="332"/>
                    <a:pt x="31" y="324"/>
                  </a:cubicBezTo>
                  <a:cubicBezTo>
                    <a:pt x="31" y="324"/>
                    <a:pt x="31" y="324"/>
                    <a:pt x="31" y="324"/>
                  </a:cubicBezTo>
                  <a:cubicBezTo>
                    <a:pt x="12" y="305"/>
                    <a:pt x="0" y="278"/>
                    <a:pt x="0" y="248"/>
                  </a:cubicBezTo>
                  <a:cubicBezTo>
                    <a:pt x="0" y="248"/>
                    <a:pt x="0" y="248"/>
                    <a:pt x="0" y="248"/>
                  </a:cubicBezTo>
                  <a:cubicBezTo>
                    <a:pt x="0" y="192"/>
                    <a:pt x="43" y="146"/>
                    <a:pt x="98" y="140"/>
                  </a:cubicBezTo>
                  <a:cubicBezTo>
                    <a:pt x="98" y="140"/>
                    <a:pt x="98" y="140"/>
                    <a:pt x="98" y="140"/>
                  </a:cubicBezTo>
                  <a:cubicBezTo>
                    <a:pt x="97" y="138"/>
                    <a:pt x="97" y="136"/>
                    <a:pt x="97" y="133"/>
                  </a:cubicBezTo>
                  <a:cubicBezTo>
                    <a:pt x="97" y="133"/>
                    <a:pt x="97" y="133"/>
                    <a:pt x="97" y="133"/>
                  </a:cubicBezTo>
                  <a:cubicBezTo>
                    <a:pt x="97" y="88"/>
                    <a:pt x="134" y="51"/>
                    <a:pt x="180" y="51"/>
                  </a:cubicBezTo>
                  <a:cubicBezTo>
                    <a:pt x="180" y="51"/>
                    <a:pt x="180" y="51"/>
                    <a:pt x="180" y="51"/>
                  </a:cubicBezTo>
                  <a:cubicBezTo>
                    <a:pt x="198" y="51"/>
                    <a:pt x="214" y="56"/>
                    <a:pt x="227" y="66"/>
                  </a:cubicBezTo>
                  <a:cubicBezTo>
                    <a:pt x="227" y="66"/>
                    <a:pt x="227" y="66"/>
                    <a:pt x="227" y="66"/>
                  </a:cubicBezTo>
                  <a:cubicBezTo>
                    <a:pt x="248" y="27"/>
                    <a:pt x="289" y="0"/>
                    <a:pt x="336" y="0"/>
                  </a:cubicBezTo>
                  <a:cubicBezTo>
                    <a:pt x="336" y="0"/>
                    <a:pt x="336" y="0"/>
                    <a:pt x="336" y="0"/>
                  </a:cubicBezTo>
                  <a:cubicBezTo>
                    <a:pt x="392" y="0"/>
                    <a:pt x="439" y="37"/>
                    <a:pt x="454" y="88"/>
                  </a:cubicBezTo>
                  <a:cubicBezTo>
                    <a:pt x="454" y="88"/>
                    <a:pt x="454" y="88"/>
                    <a:pt x="454" y="88"/>
                  </a:cubicBezTo>
                  <a:cubicBezTo>
                    <a:pt x="457" y="87"/>
                    <a:pt x="461" y="87"/>
                    <a:pt x="464" y="87"/>
                  </a:cubicBezTo>
                  <a:cubicBezTo>
                    <a:pt x="464" y="87"/>
                    <a:pt x="464" y="87"/>
                    <a:pt x="464" y="87"/>
                  </a:cubicBezTo>
                  <a:cubicBezTo>
                    <a:pt x="481" y="87"/>
                    <a:pt x="500" y="91"/>
                    <a:pt x="517" y="102"/>
                  </a:cubicBezTo>
                  <a:cubicBezTo>
                    <a:pt x="517" y="102"/>
                    <a:pt x="517" y="102"/>
                    <a:pt x="517" y="102"/>
                  </a:cubicBezTo>
                  <a:cubicBezTo>
                    <a:pt x="517" y="102"/>
                    <a:pt x="517" y="102"/>
                    <a:pt x="517" y="102"/>
                  </a:cubicBezTo>
                  <a:cubicBezTo>
                    <a:pt x="521" y="104"/>
                    <a:pt x="522" y="109"/>
                    <a:pt x="519" y="113"/>
                  </a:cubicBezTo>
                  <a:cubicBezTo>
                    <a:pt x="519" y="113"/>
                    <a:pt x="519" y="113"/>
                    <a:pt x="519" y="113"/>
                  </a:cubicBezTo>
                  <a:cubicBezTo>
                    <a:pt x="517" y="117"/>
                    <a:pt x="512" y="118"/>
                    <a:pt x="508" y="116"/>
                  </a:cubicBezTo>
                  <a:cubicBezTo>
                    <a:pt x="508" y="116"/>
                    <a:pt x="508" y="116"/>
                    <a:pt x="508" y="116"/>
                  </a:cubicBezTo>
                  <a:cubicBezTo>
                    <a:pt x="494" y="107"/>
                    <a:pt x="479" y="103"/>
                    <a:pt x="464" y="103"/>
                  </a:cubicBezTo>
                  <a:cubicBezTo>
                    <a:pt x="464" y="103"/>
                    <a:pt x="464" y="103"/>
                    <a:pt x="464" y="103"/>
                  </a:cubicBezTo>
                  <a:cubicBezTo>
                    <a:pt x="459" y="103"/>
                    <a:pt x="454" y="104"/>
                    <a:pt x="450" y="104"/>
                  </a:cubicBezTo>
                  <a:cubicBezTo>
                    <a:pt x="450" y="104"/>
                    <a:pt x="450" y="104"/>
                    <a:pt x="450" y="104"/>
                  </a:cubicBezTo>
                  <a:cubicBezTo>
                    <a:pt x="445" y="105"/>
                    <a:pt x="441" y="102"/>
                    <a:pt x="440" y="98"/>
                  </a:cubicBezTo>
                  <a:cubicBezTo>
                    <a:pt x="440" y="98"/>
                    <a:pt x="440" y="98"/>
                    <a:pt x="440" y="98"/>
                  </a:cubicBezTo>
                  <a:cubicBezTo>
                    <a:pt x="429" y="51"/>
                    <a:pt x="387" y="16"/>
                    <a:pt x="336" y="16"/>
                  </a:cubicBezTo>
                  <a:cubicBezTo>
                    <a:pt x="336" y="16"/>
                    <a:pt x="336" y="16"/>
                    <a:pt x="336" y="16"/>
                  </a:cubicBezTo>
                  <a:cubicBezTo>
                    <a:pt x="292" y="16"/>
                    <a:pt x="254" y="43"/>
                    <a:pt x="238" y="82"/>
                  </a:cubicBezTo>
                  <a:cubicBezTo>
                    <a:pt x="238" y="82"/>
                    <a:pt x="238" y="82"/>
                    <a:pt x="238" y="82"/>
                  </a:cubicBezTo>
                  <a:cubicBezTo>
                    <a:pt x="237" y="84"/>
                    <a:pt x="234" y="86"/>
                    <a:pt x="232" y="86"/>
                  </a:cubicBezTo>
                  <a:cubicBezTo>
                    <a:pt x="232" y="86"/>
                    <a:pt x="232" y="86"/>
                    <a:pt x="232" y="86"/>
                  </a:cubicBezTo>
                  <a:cubicBezTo>
                    <a:pt x="229" y="87"/>
                    <a:pt x="227" y="86"/>
                    <a:pt x="225" y="84"/>
                  </a:cubicBezTo>
                  <a:cubicBezTo>
                    <a:pt x="225" y="84"/>
                    <a:pt x="225" y="84"/>
                    <a:pt x="225" y="84"/>
                  </a:cubicBezTo>
                  <a:cubicBezTo>
                    <a:pt x="213" y="73"/>
                    <a:pt x="197" y="67"/>
                    <a:pt x="180" y="67"/>
                  </a:cubicBezTo>
                  <a:cubicBezTo>
                    <a:pt x="180" y="67"/>
                    <a:pt x="180" y="67"/>
                    <a:pt x="180" y="67"/>
                  </a:cubicBezTo>
                  <a:cubicBezTo>
                    <a:pt x="143" y="67"/>
                    <a:pt x="113" y="97"/>
                    <a:pt x="113" y="133"/>
                  </a:cubicBezTo>
                  <a:cubicBezTo>
                    <a:pt x="113" y="133"/>
                    <a:pt x="113" y="133"/>
                    <a:pt x="113" y="133"/>
                  </a:cubicBezTo>
                  <a:cubicBezTo>
                    <a:pt x="113" y="138"/>
                    <a:pt x="114" y="142"/>
                    <a:pt x="115" y="146"/>
                  </a:cubicBezTo>
                  <a:cubicBezTo>
                    <a:pt x="115" y="146"/>
                    <a:pt x="115" y="146"/>
                    <a:pt x="115" y="146"/>
                  </a:cubicBezTo>
                  <a:cubicBezTo>
                    <a:pt x="115" y="148"/>
                    <a:pt x="114" y="151"/>
                    <a:pt x="113" y="152"/>
                  </a:cubicBezTo>
                  <a:cubicBezTo>
                    <a:pt x="113" y="152"/>
                    <a:pt x="113" y="152"/>
                    <a:pt x="113" y="152"/>
                  </a:cubicBezTo>
                  <a:cubicBezTo>
                    <a:pt x="111" y="154"/>
                    <a:pt x="109" y="155"/>
                    <a:pt x="107" y="155"/>
                  </a:cubicBezTo>
                  <a:cubicBezTo>
                    <a:pt x="107" y="155"/>
                    <a:pt x="107" y="155"/>
                    <a:pt x="107" y="155"/>
                  </a:cubicBezTo>
                  <a:cubicBezTo>
                    <a:pt x="56" y="156"/>
                    <a:pt x="16" y="198"/>
                    <a:pt x="16" y="248"/>
                  </a:cubicBezTo>
                  <a:cubicBezTo>
                    <a:pt x="16" y="248"/>
                    <a:pt x="16" y="248"/>
                    <a:pt x="16" y="248"/>
                  </a:cubicBezTo>
                  <a:cubicBezTo>
                    <a:pt x="16" y="275"/>
                    <a:pt x="27" y="299"/>
                    <a:pt x="46" y="316"/>
                  </a:cubicBezTo>
                  <a:cubicBezTo>
                    <a:pt x="46" y="316"/>
                    <a:pt x="46" y="316"/>
                    <a:pt x="46" y="316"/>
                  </a:cubicBezTo>
                  <a:cubicBezTo>
                    <a:pt x="48" y="319"/>
                    <a:pt x="49" y="322"/>
                    <a:pt x="48" y="325"/>
                  </a:cubicBezTo>
                  <a:cubicBezTo>
                    <a:pt x="48" y="325"/>
                    <a:pt x="48" y="325"/>
                    <a:pt x="48" y="325"/>
                  </a:cubicBezTo>
                  <a:cubicBezTo>
                    <a:pt x="45" y="333"/>
                    <a:pt x="43" y="341"/>
                    <a:pt x="43" y="349"/>
                  </a:cubicBezTo>
                  <a:cubicBezTo>
                    <a:pt x="43" y="349"/>
                    <a:pt x="43" y="349"/>
                    <a:pt x="43" y="349"/>
                  </a:cubicBezTo>
                  <a:cubicBezTo>
                    <a:pt x="43" y="386"/>
                    <a:pt x="72" y="415"/>
                    <a:pt x="109" y="415"/>
                  </a:cubicBezTo>
                  <a:cubicBezTo>
                    <a:pt x="109" y="415"/>
                    <a:pt x="109" y="415"/>
                    <a:pt x="109" y="415"/>
                  </a:cubicBezTo>
                  <a:cubicBezTo>
                    <a:pt x="118" y="415"/>
                    <a:pt x="127" y="413"/>
                    <a:pt x="135" y="410"/>
                  </a:cubicBezTo>
                  <a:cubicBezTo>
                    <a:pt x="135" y="410"/>
                    <a:pt x="135" y="410"/>
                    <a:pt x="135" y="410"/>
                  </a:cubicBezTo>
                  <a:cubicBezTo>
                    <a:pt x="137" y="409"/>
                    <a:pt x="139" y="409"/>
                    <a:pt x="141" y="410"/>
                  </a:cubicBezTo>
                  <a:cubicBezTo>
                    <a:pt x="141" y="410"/>
                    <a:pt x="141" y="410"/>
                    <a:pt x="141" y="410"/>
                  </a:cubicBezTo>
                  <a:cubicBezTo>
                    <a:pt x="143" y="410"/>
                    <a:pt x="145" y="412"/>
                    <a:pt x="146" y="414"/>
                  </a:cubicBezTo>
                  <a:cubicBezTo>
                    <a:pt x="146" y="414"/>
                    <a:pt x="146" y="414"/>
                    <a:pt x="146" y="414"/>
                  </a:cubicBezTo>
                  <a:cubicBezTo>
                    <a:pt x="157" y="444"/>
                    <a:pt x="187" y="466"/>
                    <a:pt x="222" y="466"/>
                  </a:cubicBezTo>
                  <a:cubicBezTo>
                    <a:pt x="222" y="466"/>
                    <a:pt x="222" y="466"/>
                    <a:pt x="222" y="466"/>
                  </a:cubicBezTo>
                  <a:cubicBezTo>
                    <a:pt x="248" y="466"/>
                    <a:pt x="272" y="453"/>
                    <a:pt x="287" y="433"/>
                  </a:cubicBezTo>
                  <a:cubicBezTo>
                    <a:pt x="287" y="433"/>
                    <a:pt x="287" y="433"/>
                    <a:pt x="287" y="433"/>
                  </a:cubicBezTo>
                  <a:cubicBezTo>
                    <a:pt x="288" y="431"/>
                    <a:pt x="290" y="430"/>
                    <a:pt x="292" y="430"/>
                  </a:cubicBezTo>
                  <a:cubicBezTo>
                    <a:pt x="292" y="430"/>
                    <a:pt x="292" y="430"/>
                    <a:pt x="292" y="430"/>
                  </a:cubicBezTo>
                  <a:cubicBezTo>
                    <a:pt x="295" y="430"/>
                    <a:pt x="297" y="430"/>
                    <a:pt x="298" y="431"/>
                  </a:cubicBezTo>
                  <a:cubicBezTo>
                    <a:pt x="298" y="431"/>
                    <a:pt x="298" y="431"/>
                    <a:pt x="298" y="431"/>
                  </a:cubicBezTo>
                  <a:cubicBezTo>
                    <a:pt x="312" y="442"/>
                    <a:pt x="330" y="449"/>
                    <a:pt x="348" y="449"/>
                  </a:cubicBezTo>
                  <a:cubicBezTo>
                    <a:pt x="348" y="449"/>
                    <a:pt x="348" y="449"/>
                    <a:pt x="348" y="449"/>
                  </a:cubicBezTo>
                  <a:cubicBezTo>
                    <a:pt x="378" y="449"/>
                    <a:pt x="403" y="433"/>
                    <a:pt x="418" y="410"/>
                  </a:cubicBezTo>
                  <a:cubicBezTo>
                    <a:pt x="418" y="410"/>
                    <a:pt x="418" y="410"/>
                    <a:pt x="418" y="410"/>
                  </a:cubicBezTo>
                  <a:cubicBezTo>
                    <a:pt x="419" y="408"/>
                    <a:pt x="421" y="407"/>
                    <a:pt x="423" y="406"/>
                  </a:cubicBezTo>
                  <a:cubicBezTo>
                    <a:pt x="423" y="406"/>
                    <a:pt x="423" y="406"/>
                    <a:pt x="423" y="406"/>
                  </a:cubicBezTo>
                  <a:cubicBezTo>
                    <a:pt x="425" y="406"/>
                    <a:pt x="428" y="406"/>
                    <a:pt x="430" y="408"/>
                  </a:cubicBezTo>
                  <a:cubicBezTo>
                    <a:pt x="430" y="408"/>
                    <a:pt x="430" y="408"/>
                    <a:pt x="430" y="408"/>
                  </a:cubicBezTo>
                  <a:cubicBezTo>
                    <a:pt x="443" y="419"/>
                    <a:pt x="459" y="425"/>
                    <a:pt x="477" y="425"/>
                  </a:cubicBezTo>
                  <a:cubicBezTo>
                    <a:pt x="477" y="425"/>
                    <a:pt x="477" y="425"/>
                    <a:pt x="477" y="425"/>
                  </a:cubicBezTo>
                  <a:cubicBezTo>
                    <a:pt x="519" y="425"/>
                    <a:pt x="553" y="391"/>
                    <a:pt x="553" y="349"/>
                  </a:cubicBezTo>
                  <a:cubicBezTo>
                    <a:pt x="553" y="349"/>
                    <a:pt x="553" y="349"/>
                    <a:pt x="553" y="349"/>
                  </a:cubicBezTo>
                  <a:cubicBezTo>
                    <a:pt x="553" y="349"/>
                    <a:pt x="553" y="349"/>
                    <a:pt x="553" y="349"/>
                  </a:cubicBezTo>
                  <a:cubicBezTo>
                    <a:pt x="553" y="349"/>
                    <a:pt x="553" y="349"/>
                    <a:pt x="553" y="349"/>
                  </a:cubicBezTo>
                  <a:cubicBezTo>
                    <a:pt x="553" y="349"/>
                    <a:pt x="553" y="349"/>
                    <a:pt x="553" y="348"/>
                  </a:cubicBezTo>
                  <a:cubicBezTo>
                    <a:pt x="553" y="348"/>
                    <a:pt x="553" y="348"/>
                    <a:pt x="553" y="348"/>
                  </a:cubicBezTo>
                  <a:cubicBezTo>
                    <a:pt x="553" y="344"/>
                    <a:pt x="556" y="341"/>
                    <a:pt x="560" y="340"/>
                  </a:cubicBezTo>
                  <a:cubicBezTo>
                    <a:pt x="560" y="340"/>
                    <a:pt x="560" y="340"/>
                    <a:pt x="560" y="340"/>
                  </a:cubicBezTo>
                  <a:cubicBezTo>
                    <a:pt x="591" y="336"/>
                    <a:pt x="614" y="309"/>
                    <a:pt x="614" y="277"/>
                  </a:cubicBezTo>
                  <a:cubicBezTo>
                    <a:pt x="614" y="277"/>
                    <a:pt x="614" y="277"/>
                    <a:pt x="614" y="277"/>
                  </a:cubicBezTo>
                  <a:cubicBezTo>
                    <a:pt x="614" y="244"/>
                    <a:pt x="589" y="217"/>
                    <a:pt x="557" y="213"/>
                  </a:cubicBezTo>
                  <a:cubicBezTo>
                    <a:pt x="557" y="213"/>
                    <a:pt x="557" y="213"/>
                    <a:pt x="557" y="213"/>
                  </a:cubicBezTo>
                  <a:cubicBezTo>
                    <a:pt x="555" y="213"/>
                    <a:pt x="553" y="212"/>
                    <a:pt x="552" y="210"/>
                  </a:cubicBezTo>
                  <a:cubicBezTo>
                    <a:pt x="552" y="210"/>
                    <a:pt x="552" y="210"/>
                    <a:pt x="552" y="210"/>
                  </a:cubicBezTo>
                  <a:cubicBezTo>
                    <a:pt x="550" y="209"/>
                    <a:pt x="550" y="206"/>
                    <a:pt x="550" y="204"/>
                  </a:cubicBezTo>
                  <a:cubicBezTo>
                    <a:pt x="550" y="204"/>
                    <a:pt x="550" y="204"/>
                    <a:pt x="550" y="204"/>
                  </a:cubicBezTo>
                  <a:cubicBezTo>
                    <a:pt x="551" y="200"/>
                    <a:pt x="551" y="195"/>
                    <a:pt x="551" y="191"/>
                  </a:cubicBezTo>
                  <a:cubicBezTo>
                    <a:pt x="551" y="191"/>
                    <a:pt x="551" y="191"/>
                    <a:pt x="551" y="191"/>
                  </a:cubicBezTo>
                  <a:cubicBezTo>
                    <a:pt x="551" y="172"/>
                    <a:pt x="545" y="153"/>
                    <a:pt x="534" y="138"/>
                  </a:cubicBezTo>
                  <a:cubicBezTo>
                    <a:pt x="534" y="138"/>
                    <a:pt x="534" y="138"/>
                    <a:pt x="534" y="138"/>
                  </a:cubicBezTo>
                  <a:cubicBezTo>
                    <a:pt x="531" y="135"/>
                    <a:pt x="531" y="130"/>
                    <a:pt x="535" y="127"/>
                  </a:cubicBezTo>
                  <a:cubicBezTo>
                    <a:pt x="535" y="127"/>
                    <a:pt x="535" y="127"/>
                    <a:pt x="535" y="127"/>
                  </a:cubicBezTo>
                  <a:cubicBezTo>
                    <a:pt x="538" y="124"/>
                    <a:pt x="543" y="125"/>
                    <a:pt x="546" y="128"/>
                  </a:cubicBezTo>
                  <a:cubicBezTo>
                    <a:pt x="546" y="128"/>
                    <a:pt x="546" y="128"/>
                    <a:pt x="546" y="128"/>
                  </a:cubicBezTo>
                  <a:cubicBezTo>
                    <a:pt x="560" y="146"/>
                    <a:pt x="567" y="169"/>
                    <a:pt x="567" y="191"/>
                  </a:cubicBezTo>
                  <a:cubicBezTo>
                    <a:pt x="567" y="191"/>
                    <a:pt x="567" y="191"/>
                    <a:pt x="567" y="191"/>
                  </a:cubicBezTo>
                  <a:cubicBezTo>
                    <a:pt x="567" y="193"/>
                    <a:pt x="567" y="196"/>
                    <a:pt x="567" y="199"/>
                  </a:cubicBezTo>
                  <a:cubicBezTo>
                    <a:pt x="567" y="199"/>
                    <a:pt x="567" y="199"/>
                    <a:pt x="567" y="199"/>
                  </a:cubicBezTo>
                  <a:cubicBezTo>
                    <a:pt x="603" y="206"/>
                    <a:pt x="630" y="239"/>
                    <a:pt x="630" y="277"/>
                  </a:cubicBezTo>
                  <a:cubicBezTo>
                    <a:pt x="630" y="277"/>
                    <a:pt x="630" y="277"/>
                    <a:pt x="630" y="277"/>
                  </a:cubicBezTo>
                  <a:cubicBezTo>
                    <a:pt x="630" y="315"/>
                    <a:pt x="604" y="347"/>
                    <a:pt x="569" y="355"/>
                  </a:cubicBezTo>
                  <a:cubicBezTo>
                    <a:pt x="569" y="355"/>
                    <a:pt x="569" y="355"/>
                    <a:pt x="569" y="355"/>
                  </a:cubicBezTo>
                  <a:cubicBezTo>
                    <a:pt x="566" y="403"/>
                    <a:pt x="526" y="441"/>
                    <a:pt x="477" y="441"/>
                  </a:cubicBezTo>
                  <a:cubicBezTo>
                    <a:pt x="477" y="441"/>
                    <a:pt x="477" y="441"/>
                    <a:pt x="477" y="441"/>
                  </a:cubicBezTo>
                  <a:cubicBezTo>
                    <a:pt x="459" y="441"/>
                    <a:pt x="441" y="435"/>
                    <a:pt x="426" y="425"/>
                  </a:cubicBezTo>
                  <a:cubicBezTo>
                    <a:pt x="426" y="425"/>
                    <a:pt x="426" y="425"/>
                    <a:pt x="426" y="425"/>
                  </a:cubicBezTo>
                  <a:cubicBezTo>
                    <a:pt x="409" y="449"/>
                    <a:pt x="380" y="465"/>
                    <a:pt x="348" y="465"/>
                  </a:cubicBezTo>
                  <a:cubicBezTo>
                    <a:pt x="348" y="465"/>
                    <a:pt x="348" y="465"/>
                    <a:pt x="348" y="465"/>
                  </a:cubicBezTo>
                  <a:cubicBezTo>
                    <a:pt x="329" y="465"/>
                    <a:pt x="310" y="459"/>
                    <a:pt x="295" y="449"/>
                  </a:cubicBezTo>
                  <a:cubicBezTo>
                    <a:pt x="295" y="449"/>
                    <a:pt x="295" y="449"/>
                    <a:pt x="295" y="449"/>
                  </a:cubicBezTo>
                  <a:cubicBezTo>
                    <a:pt x="277" y="469"/>
                    <a:pt x="251" y="482"/>
                    <a:pt x="222" y="482"/>
                  </a:cubicBezTo>
                  <a:cubicBezTo>
                    <a:pt x="222" y="482"/>
                    <a:pt x="222" y="482"/>
                    <a:pt x="222" y="482"/>
                  </a:cubicBezTo>
                  <a:cubicBezTo>
                    <a:pt x="183" y="482"/>
                    <a:pt x="150" y="460"/>
                    <a:pt x="134" y="42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3" name="Text Box 100"/>
            <p:cNvSpPr txBox="1">
              <a:spLocks noChangeArrowheads="1"/>
            </p:cNvSpPr>
            <p:nvPr/>
          </p:nvSpPr>
          <p:spPr bwMode="auto">
            <a:xfrm>
              <a:off x="4511883" y="5551903"/>
              <a:ext cx="1881838" cy="5344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6" tIns="45719" rIns="91436" bIns="45719">
              <a:spAutoFit/>
            </a:bodyPr>
            <a:lstStyle>
              <a:lvl1pPr defTabSz="685800"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685800"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685800"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685800"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685800"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/>
              <a:r>
                <a:rPr lang="en-US" sz="1200" b="1">
                  <a:solidFill>
                    <a:srgbClr val="00285F"/>
                  </a:solidFill>
                  <a:ea typeface="MS PGothic" pitchFamily="34" charset="-128"/>
                </a:rPr>
                <a:t>Network</a:t>
              </a:r>
            </a:p>
          </p:txBody>
        </p:sp>
        <p:sp>
          <p:nvSpPr>
            <p:cNvPr id="54" name="Freeform 3"/>
            <p:cNvSpPr>
              <a:spLocks noChangeAspect="1" noEditPoints="1"/>
            </p:cNvSpPr>
            <p:nvPr/>
          </p:nvSpPr>
          <p:spPr bwMode="auto">
            <a:xfrm>
              <a:off x="2341563" y="5191125"/>
              <a:ext cx="1152525" cy="979488"/>
            </a:xfrm>
            <a:custGeom>
              <a:avLst/>
              <a:gdLst>
                <a:gd name="T0" fmla="*/ 2147483647 w 327"/>
                <a:gd name="T1" fmla="*/ 2147483647 h 370"/>
                <a:gd name="T2" fmla="*/ 2147483647 w 327"/>
                <a:gd name="T3" fmla="*/ 2147483647 h 370"/>
                <a:gd name="T4" fmla="*/ 2147483647 w 327"/>
                <a:gd name="T5" fmla="*/ 2147483647 h 370"/>
                <a:gd name="T6" fmla="*/ 2147483647 w 327"/>
                <a:gd name="T7" fmla="*/ 2147483647 h 370"/>
                <a:gd name="T8" fmla="*/ 2147483647 w 327"/>
                <a:gd name="T9" fmla="*/ 2147483647 h 370"/>
                <a:gd name="T10" fmla="*/ 2147483647 w 327"/>
                <a:gd name="T11" fmla="*/ 2147483647 h 370"/>
                <a:gd name="T12" fmla="*/ 2147483647 w 327"/>
                <a:gd name="T13" fmla="*/ 2147483647 h 370"/>
                <a:gd name="T14" fmla="*/ 2147483647 w 327"/>
                <a:gd name="T15" fmla="*/ 2147483647 h 370"/>
                <a:gd name="T16" fmla="*/ 2147483647 w 327"/>
                <a:gd name="T17" fmla="*/ 2147483647 h 370"/>
                <a:gd name="T18" fmla="*/ 2147483647 w 327"/>
                <a:gd name="T19" fmla="*/ 2147483647 h 370"/>
                <a:gd name="T20" fmla="*/ 2147483647 w 327"/>
                <a:gd name="T21" fmla="*/ 2147483647 h 370"/>
                <a:gd name="T22" fmla="*/ 2147483647 w 327"/>
                <a:gd name="T23" fmla="*/ 2147483647 h 370"/>
                <a:gd name="T24" fmla="*/ 2147483647 w 327"/>
                <a:gd name="T25" fmla="*/ 2147483647 h 370"/>
                <a:gd name="T26" fmla="*/ 2147483647 w 327"/>
                <a:gd name="T27" fmla="*/ 2147483647 h 370"/>
                <a:gd name="T28" fmla="*/ 2147483647 w 327"/>
                <a:gd name="T29" fmla="*/ 2147483647 h 370"/>
                <a:gd name="T30" fmla="*/ 2147483647 w 327"/>
                <a:gd name="T31" fmla="*/ 2147483647 h 370"/>
                <a:gd name="T32" fmla="*/ 2147483647 w 327"/>
                <a:gd name="T33" fmla="*/ 2147483647 h 370"/>
                <a:gd name="T34" fmla="*/ 2147483647 w 327"/>
                <a:gd name="T35" fmla="*/ 2147483647 h 370"/>
                <a:gd name="T36" fmla="*/ 2147483647 w 327"/>
                <a:gd name="T37" fmla="*/ 2147483647 h 370"/>
                <a:gd name="T38" fmla="*/ 2147483647 w 327"/>
                <a:gd name="T39" fmla="*/ 2147483647 h 370"/>
                <a:gd name="T40" fmla="*/ 2147483647 w 327"/>
                <a:gd name="T41" fmla="*/ 2147483647 h 370"/>
                <a:gd name="T42" fmla="*/ 2147483647 w 327"/>
                <a:gd name="T43" fmla="*/ 2147483647 h 370"/>
                <a:gd name="T44" fmla="*/ 2147483647 w 327"/>
                <a:gd name="T45" fmla="*/ 2147483647 h 370"/>
                <a:gd name="T46" fmla="*/ 2147483647 w 327"/>
                <a:gd name="T47" fmla="*/ 2147483647 h 370"/>
                <a:gd name="T48" fmla="*/ 2147483647 w 327"/>
                <a:gd name="T49" fmla="*/ 2147483647 h 370"/>
                <a:gd name="T50" fmla="*/ 2147483647 w 327"/>
                <a:gd name="T51" fmla="*/ 2147483647 h 370"/>
                <a:gd name="T52" fmla="*/ 2147483647 w 327"/>
                <a:gd name="T53" fmla="*/ 2147483647 h 370"/>
                <a:gd name="T54" fmla="*/ 2147483647 w 327"/>
                <a:gd name="T55" fmla="*/ 2147483647 h 370"/>
                <a:gd name="T56" fmla="*/ 2147483647 w 327"/>
                <a:gd name="T57" fmla="*/ 2147483647 h 370"/>
                <a:gd name="T58" fmla="*/ 2147483647 w 327"/>
                <a:gd name="T59" fmla="*/ 2147483647 h 370"/>
                <a:gd name="T60" fmla="*/ 2147483647 w 327"/>
                <a:gd name="T61" fmla="*/ 2147483647 h 370"/>
                <a:gd name="T62" fmla="*/ 2147483647 w 327"/>
                <a:gd name="T63" fmla="*/ 2147483647 h 370"/>
                <a:gd name="T64" fmla="*/ 2147483647 w 327"/>
                <a:gd name="T65" fmla="*/ 2147483647 h 370"/>
                <a:gd name="T66" fmla="*/ 2147483647 w 327"/>
                <a:gd name="T67" fmla="*/ 2147483647 h 370"/>
                <a:gd name="T68" fmla="*/ 2147483647 w 327"/>
                <a:gd name="T69" fmla="*/ 2147483647 h 370"/>
                <a:gd name="T70" fmla="*/ 2147483647 w 327"/>
                <a:gd name="T71" fmla="*/ 2147483647 h 370"/>
                <a:gd name="T72" fmla="*/ 2147483647 w 327"/>
                <a:gd name="T73" fmla="*/ 2147483647 h 370"/>
                <a:gd name="T74" fmla="*/ 2147483647 w 327"/>
                <a:gd name="T75" fmla="*/ 2147483647 h 370"/>
                <a:gd name="T76" fmla="*/ 2147483647 w 327"/>
                <a:gd name="T77" fmla="*/ 2147483647 h 370"/>
                <a:gd name="T78" fmla="*/ 2147483647 w 327"/>
                <a:gd name="T79" fmla="*/ 2147483647 h 370"/>
                <a:gd name="T80" fmla="*/ 2147483647 w 327"/>
                <a:gd name="T81" fmla="*/ 2147483647 h 370"/>
                <a:gd name="T82" fmla="*/ 2147483647 w 327"/>
                <a:gd name="T83" fmla="*/ 2147483647 h 370"/>
                <a:gd name="T84" fmla="*/ 2147483647 w 327"/>
                <a:gd name="T85" fmla="*/ 2147483647 h 37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27"/>
                <a:gd name="T130" fmla="*/ 0 h 370"/>
                <a:gd name="T131" fmla="*/ 327 w 327"/>
                <a:gd name="T132" fmla="*/ 370 h 37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27" h="370">
                  <a:moveTo>
                    <a:pt x="287" y="4"/>
                  </a:moveTo>
                  <a:cubicBezTo>
                    <a:pt x="284" y="0"/>
                    <a:pt x="279" y="0"/>
                    <a:pt x="276" y="4"/>
                  </a:cubicBezTo>
                  <a:cubicBezTo>
                    <a:pt x="273" y="7"/>
                    <a:pt x="273" y="12"/>
                    <a:pt x="276" y="15"/>
                  </a:cubicBezTo>
                  <a:cubicBezTo>
                    <a:pt x="300" y="38"/>
                    <a:pt x="311" y="69"/>
                    <a:pt x="311" y="100"/>
                  </a:cubicBezTo>
                  <a:cubicBezTo>
                    <a:pt x="311" y="131"/>
                    <a:pt x="300" y="162"/>
                    <a:pt x="276" y="185"/>
                  </a:cubicBezTo>
                  <a:cubicBezTo>
                    <a:pt x="273" y="188"/>
                    <a:pt x="273" y="194"/>
                    <a:pt x="276" y="197"/>
                  </a:cubicBezTo>
                  <a:cubicBezTo>
                    <a:pt x="278" y="198"/>
                    <a:pt x="280" y="199"/>
                    <a:pt x="282" y="199"/>
                  </a:cubicBezTo>
                  <a:cubicBezTo>
                    <a:pt x="284" y="199"/>
                    <a:pt x="286" y="198"/>
                    <a:pt x="287" y="197"/>
                  </a:cubicBezTo>
                  <a:cubicBezTo>
                    <a:pt x="314" y="170"/>
                    <a:pt x="327" y="135"/>
                    <a:pt x="327" y="100"/>
                  </a:cubicBezTo>
                  <a:cubicBezTo>
                    <a:pt x="327" y="65"/>
                    <a:pt x="314" y="30"/>
                    <a:pt x="287" y="4"/>
                  </a:cubicBezTo>
                  <a:close/>
                  <a:moveTo>
                    <a:pt x="273" y="100"/>
                  </a:moveTo>
                  <a:cubicBezTo>
                    <a:pt x="273" y="121"/>
                    <a:pt x="265" y="142"/>
                    <a:pt x="249" y="158"/>
                  </a:cubicBezTo>
                  <a:cubicBezTo>
                    <a:pt x="246" y="161"/>
                    <a:pt x="246" y="166"/>
                    <a:pt x="249" y="169"/>
                  </a:cubicBezTo>
                  <a:cubicBezTo>
                    <a:pt x="250" y="171"/>
                    <a:pt x="253" y="172"/>
                    <a:pt x="255" y="172"/>
                  </a:cubicBezTo>
                  <a:cubicBezTo>
                    <a:pt x="257" y="172"/>
                    <a:pt x="259" y="171"/>
                    <a:pt x="260" y="169"/>
                  </a:cubicBezTo>
                  <a:cubicBezTo>
                    <a:pt x="279" y="150"/>
                    <a:pt x="289" y="125"/>
                    <a:pt x="289" y="100"/>
                  </a:cubicBezTo>
                  <a:cubicBezTo>
                    <a:pt x="289" y="75"/>
                    <a:pt x="279" y="50"/>
                    <a:pt x="260" y="31"/>
                  </a:cubicBezTo>
                  <a:cubicBezTo>
                    <a:pt x="257" y="28"/>
                    <a:pt x="252" y="28"/>
                    <a:pt x="249" y="31"/>
                  </a:cubicBezTo>
                  <a:cubicBezTo>
                    <a:pt x="246" y="34"/>
                    <a:pt x="246" y="39"/>
                    <a:pt x="249" y="42"/>
                  </a:cubicBezTo>
                  <a:cubicBezTo>
                    <a:pt x="265" y="58"/>
                    <a:pt x="273" y="79"/>
                    <a:pt x="273" y="100"/>
                  </a:cubicBezTo>
                  <a:close/>
                  <a:moveTo>
                    <a:pt x="222" y="142"/>
                  </a:moveTo>
                  <a:cubicBezTo>
                    <a:pt x="223" y="144"/>
                    <a:pt x="225" y="145"/>
                    <a:pt x="227" y="145"/>
                  </a:cubicBezTo>
                  <a:cubicBezTo>
                    <a:pt x="229" y="145"/>
                    <a:pt x="231" y="144"/>
                    <a:pt x="233" y="142"/>
                  </a:cubicBezTo>
                  <a:cubicBezTo>
                    <a:pt x="245" y="131"/>
                    <a:pt x="250" y="115"/>
                    <a:pt x="250" y="100"/>
                  </a:cubicBezTo>
                  <a:cubicBezTo>
                    <a:pt x="250" y="85"/>
                    <a:pt x="245" y="70"/>
                    <a:pt x="233" y="58"/>
                  </a:cubicBezTo>
                  <a:cubicBezTo>
                    <a:pt x="230" y="55"/>
                    <a:pt x="225" y="55"/>
                    <a:pt x="222" y="58"/>
                  </a:cubicBezTo>
                  <a:cubicBezTo>
                    <a:pt x="219" y="61"/>
                    <a:pt x="219" y="66"/>
                    <a:pt x="222" y="69"/>
                  </a:cubicBezTo>
                  <a:cubicBezTo>
                    <a:pt x="230" y="78"/>
                    <a:pt x="234" y="89"/>
                    <a:pt x="234" y="100"/>
                  </a:cubicBezTo>
                  <a:cubicBezTo>
                    <a:pt x="234" y="111"/>
                    <a:pt x="230" y="122"/>
                    <a:pt x="222" y="131"/>
                  </a:cubicBezTo>
                  <a:cubicBezTo>
                    <a:pt x="219" y="134"/>
                    <a:pt x="219" y="139"/>
                    <a:pt x="222" y="142"/>
                  </a:cubicBezTo>
                  <a:close/>
                  <a:moveTo>
                    <a:pt x="51" y="185"/>
                  </a:moveTo>
                  <a:cubicBezTo>
                    <a:pt x="28" y="162"/>
                    <a:pt x="16" y="131"/>
                    <a:pt x="16" y="100"/>
                  </a:cubicBezTo>
                  <a:cubicBezTo>
                    <a:pt x="16" y="69"/>
                    <a:pt x="28" y="38"/>
                    <a:pt x="51" y="15"/>
                  </a:cubicBezTo>
                  <a:cubicBezTo>
                    <a:pt x="54" y="12"/>
                    <a:pt x="54" y="7"/>
                    <a:pt x="51" y="4"/>
                  </a:cubicBezTo>
                  <a:cubicBezTo>
                    <a:pt x="48" y="0"/>
                    <a:pt x="43" y="0"/>
                    <a:pt x="40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13" y="30"/>
                    <a:pt x="0" y="65"/>
                    <a:pt x="0" y="100"/>
                  </a:cubicBezTo>
                  <a:cubicBezTo>
                    <a:pt x="0" y="135"/>
                    <a:pt x="13" y="170"/>
                    <a:pt x="40" y="197"/>
                  </a:cubicBezTo>
                  <a:cubicBezTo>
                    <a:pt x="41" y="198"/>
                    <a:pt x="44" y="199"/>
                    <a:pt x="46" y="199"/>
                  </a:cubicBezTo>
                  <a:cubicBezTo>
                    <a:pt x="48" y="199"/>
                    <a:pt x="50" y="198"/>
                    <a:pt x="51" y="197"/>
                  </a:cubicBezTo>
                  <a:cubicBezTo>
                    <a:pt x="54" y="194"/>
                    <a:pt x="54" y="188"/>
                    <a:pt x="51" y="185"/>
                  </a:cubicBezTo>
                  <a:close/>
                  <a:moveTo>
                    <a:pt x="67" y="169"/>
                  </a:moveTo>
                  <a:cubicBezTo>
                    <a:pt x="69" y="171"/>
                    <a:pt x="71" y="172"/>
                    <a:pt x="73" y="172"/>
                  </a:cubicBezTo>
                  <a:cubicBezTo>
                    <a:pt x="75" y="172"/>
                    <a:pt x="77" y="171"/>
                    <a:pt x="78" y="169"/>
                  </a:cubicBezTo>
                  <a:cubicBezTo>
                    <a:pt x="82" y="166"/>
                    <a:pt x="82" y="161"/>
                    <a:pt x="78" y="158"/>
                  </a:cubicBezTo>
                  <a:cubicBezTo>
                    <a:pt x="62" y="142"/>
                    <a:pt x="54" y="121"/>
                    <a:pt x="54" y="100"/>
                  </a:cubicBezTo>
                  <a:cubicBezTo>
                    <a:pt x="54" y="79"/>
                    <a:pt x="62" y="58"/>
                    <a:pt x="78" y="42"/>
                  </a:cubicBezTo>
                  <a:cubicBezTo>
                    <a:pt x="82" y="39"/>
                    <a:pt x="82" y="34"/>
                    <a:pt x="78" y="31"/>
                  </a:cubicBezTo>
                  <a:cubicBezTo>
                    <a:pt x="75" y="28"/>
                    <a:pt x="70" y="28"/>
                    <a:pt x="67" y="31"/>
                  </a:cubicBezTo>
                  <a:cubicBezTo>
                    <a:pt x="48" y="50"/>
                    <a:pt x="38" y="75"/>
                    <a:pt x="38" y="100"/>
                  </a:cubicBezTo>
                  <a:cubicBezTo>
                    <a:pt x="38" y="125"/>
                    <a:pt x="48" y="150"/>
                    <a:pt x="67" y="169"/>
                  </a:cubicBezTo>
                  <a:close/>
                  <a:moveTo>
                    <a:pt x="94" y="142"/>
                  </a:moveTo>
                  <a:cubicBezTo>
                    <a:pt x="96" y="144"/>
                    <a:pt x="98" y="145"/>
                    <a:pt x="100" y="145"/>
                  </a:cubicBezTo>
                  <a:cubicBezTo>
                    <a:pt x="102" y="145"/>
                    <a:pt x="104" y="144"/>
                    <a:pt x="106" y="142"/>
                  </a:cubicBezTo>
                  <a:cubicBezTo>
                    <a:pt x="109" y="139"/>
                    <a:pt x="109" y="134"/>
                    <a:pt x="106" y="131"/>
                  </a:cubicBezTo>
                  <a:cubicBezTo>
                    <a:pt x="97" y="122"/>
                    <a:pt x="93" y="111"/>
                    <a:pt x="93" y="100"/>
                  </a:cubicBezTo>
                  <a:cubicBezTo>
                    <a:pt x="93" y="89"/>
                    <a:pt x="97" y="78"/>
                    <a:pt x="106" y="69"/>
                  </a:cubicBezTo>
                  <a:cubicBezTo>
                    <a:pt x="109" y="66"/>
                    <a:pt x="109" y="61"/>
                    <a:pt x="106" y="58"/>
                  </a:cubicBezTo>
                  <a:cubicBezTo>
                    <a:pt x="103" y="55"/>
                    <a:pt x="97" y="55"/>
                    <a:pt x="94" y="58"/>
                  </a:cubicBezTo>
                  <a:cubicBezTo>
                    <a:pt x="83" y="70"/>
                    <a:pt x="77" y="85"/>
                    <a:pt x="77" y="100"/>
                  </a:cubicBezTo>
                  <a:cubicBezTo>
                    <a:pt x="77" y="115"/>
                    <a:pt x="83" y="131"/>
                    <a:pt x="94" y="142"/>
                  </a:cubicBezTo>
                  <a:close/>
                  <a:moveTo>
                    <a:pt x="267" y="349"/>
                  </a:moveTo>
                  <a:cubicBezTo>
                    <a:pt x="257" y="336"/>
                    <a:pt x="238" y="309"/>
                    <a:pt x="219" y="270"/>
                  </a:cubicBezTo>
                  <a:cubicBezTo>
                    <a:pt x="218" y="270"/>
                    <a:pt x="218" y="269"/>
                    <a:pt x="218" y="268"/>
                  </a:cubicBezTo>
                  <a:cubicBezTo>
                    <a:pt x="213" y="259"/>
                    <a:pt x="209" y="249"/>
                    <a:pt x="204" y="239"/>
                  </a:cubicBezTo>
                  <a:cubicBezTo>
                    <a:pt x="190" y="205"/>
                    <a:pt x="182" y="171"/>
                    <a:pt x="177" y="146"/>
                  </a:cubicBezTo>
                  <a:cubicBezTo>
                    <a:pt x="197" y="140"/>
                    <a:pt x="211" y="122"/>
                    <a:pt x="211" y="100"/>
                  </a:cubicBezTo>
                  <a:cubicBezTo>
                    <a:pt x="211" y="93"/>
                    <a:pt x="210" y="87"/>
                    <a:pt x="208" y="81"/>
                  </a:cubicBezTo>
                  <a:cubicBezTo>
                    <a:pt x="206" y="77"/>
                    <a:pt x="201" y="75"/>
                    <a:pt x="197" y="77"/>
                  </a:cubicBezTo>
                  <a:cubicBezTo>
                    <a:pt x="193" y="79"/>
                    <a:pt x="191" y="84"/>
                    <a:pt x="193" y="88"/>
                  </a:cubicBezTo>
                  <a:cubicBezTo>
                    <a:pt x="194" y="91"/>
                    <a:pt x="195" y="96"/>
                    <a:pt x="195" y="100"/>
                  </a:cubicBezTo>
                  <a:cubicBezTo>
                    <a:pt x="195" y="117"/>
                    <a:pt x="181" y="132"/>
                    <a:pt x="164" y="132"/>
                  </a:cubicBezTo>
                  <a:cubicBezTo>
                    <a:pt x="146" y="132"/>
                    <a:pt x="132" y="117"/>
                    <a:pt x="132" y="100"/>
                  </a:cubicBezTo>
                  <a:cubicBezTo>
                    <a:pt x="132" y="82"/>
                    <a:pt x="146" y="68"/>
                    <a:pt x="164" y="68"/>
                  </a:cubicBezTo>
                  <a:cubicBezTo>
                    <a:pt x="169" y="68"/>
                    <a:pt x="173" y="69"/>
                    <a:pt x="177" y="71"/>
                  </a:cubicBezTo>
                  <a:cubicBezTo>
                    <a:pt x="181" y="73"/>
                    <a:pt x="186" y="71"/>
                    <a:pt x="188" y="67"/>
                  </a:cubicBezTo>
                  <a:cubicBezTo>
                    <a:pt x="190" y="63"/>
                    <a:pt x="188" y="59"/>
                    <a:pt x="184" y="57"/>
                  </a:cubicBezTo>
                  <a:cubicBezTo>
                    <a:pt x="184" y="57"/>
                    <a:pt x="184" y="57"/>
                    <a:pt x="184" y="57"/>
                  </a:cubicBezTo>
                  <a:cubicBezTo>
                    <a:pt x="178" y="54"/>
                    <a:pt x="171" y="52"/>
                    <a:pt x="164" y="52"/>
                  </a:cubicBezTo>
                  <a:cubicBezTo>
                    <a:pt x="137" y="52"/>
                    <a:pt x="116" y="74"/>
                    <a:pt x="116" y="100"/>
                  </a:cubicBezTo>
                  <a:cubicBezTo>
                    <a:pt x="116" y="121"/>
                    <a:pt x="130" y="140"/>
                    <a:pt x="150" y="146"/>
                  </a:cubicBezTo>
                  <a:cubicBezTo>
                    <a:pt x="145" y="170"/>
                    <a:pt x="136" y="205"/>
                    <a:pt x="123" y="239"/>
                  </a:cubicBezTo>
                  <a:cubicBezTo>
                    <a:pt x="118" y="249"/>
                    <a:pt x="114" y="259"/>
                    <a:pt x="109" y="268"/>
                  </a:cubicBezTo>
                  <a:cubicBezTo>
                    <a:pt x="109" y="269"/>
                    <a:pt x="108" y="270"/>
                    <a:pt x="108" y="271"/>
                  </a:cubicBezTo>
                  <a:cubicBezTo>
                    <a:pt x="97" y="293"/>
                    <a:pt x="85" y="312"/>
                    <a:pt x="76" y="326"/>
                  </a:cubicBezTo>
                  <a:cubicBezTo>
                    <a:pt x="69" y="336"/>
                    <a:pt x="63" y="344"/>
                    <a:pt x="59" y="349"/>
                  </a:cubicBezTo>
                  <a:cubicBezTo>
                    <a:pt x="57" y="351"/>
                    <a:pt x="55" y="353"/>
                    <a:pt x="54" y="355"/>
                  </a:cubicBezTo>
                  <a:cubicBezTo>
                    <a:pt x="53" y="356"/>
                    <a:pt x="52" y="357"/>
                    <a:pt x="52" y="357"/>
                  </a:cubicBezTo>
                  <a:cubicBezTo>
                    <a:pt x="50" y="359"/>
                    <a:pt x="50" y="362"/>
                    <a:pt x="51" y="365"/>
                  </a:cubicBezTo>
                  <a:cubicBezTo>
                    <a:pt x="52" y="368"/>
                    <a:pt x="55" y="370"/>
                    <a:pt x="58" y="370"/>
                  </a:cubicBezTo>
                  <a:cubicBezTo>
                    <a:pt x="97" y="370"/>
                    <a:pt x="97" y="370"/>
                    <a:pt x="97" y="370"/>
                  </a:cubicBezTo>
                  <a:cubicBezTo>
                    <a:pt x="100" y="370"/>
                    <a:pt x="102" y="368"/>
                    <a:pt x="104" y="366"/>
                  </a:cubicBezTo>
                  <a:cubicBezTo>
                    <a:pt x="115" y="345"/>
                    <a:pt x="138" y="331"/>
                    <a:pt x="163" y="331"/>
                  </a:cubicBezTo>
                  <a:cubicBezTo>
                    <a:pt x="189" y="331"/>
                    <a:pt x="211" y="345"/>
                    <a:pt x="223" y="366"/>
                  </a:cubicBezTo>
                  <a:cubicBezTo>
                    <a:pt x="224" y="368"/>
                    <a:pt x="227" y="370"/>
                    <a:pt x="230" y="370"/>
                  </a:cubicBezTo>
                  <a:cubicBezTo>
                    <a:pt x="268" y="370"/>
                    <a:pt x="268" y="370"/>
                    <a:pt x="268" y="370"/>
                  </a:cubicBezTo>
                  <a:cubicBezTo>
                    <a:pt x="268" y="370"/>
                    <a:pt x="268" y="370"/>
                    <a:pt x="268" y="370"/>
                  </a:cubicBezTo>
                  <a:cubicBezTo>
                    <a:pt x="271" y="370"/>
                    <a:pt x="274" y="368"/>
                    <a:pt x="275" y="365"/>
                  </a:cubicBezTo>
                  <a:cubicBezTo>
                    <a:pt x="276" y="362"/>
                    <a:pt x="276" y="359"/>
                    <a:pt x="274" y="357"/>
                  </a:cubicBezTo>
                  <a:cubicBezTo>
                    <a:pt x="274" y="357"/>
                    <a:pt x="271" y="354"/>
                    <a:pt x="267" y="349"/>
                  </a:cubicBezTo>
                  <a:close/>
                  <a:moveTo>
                    <a:pt x="163" y="159"/>
                  </a:moveTo>
                  <a:cubicBezTo>
                    <a:pt x="168" y="179"/>
                    <a:pt x="174" y="203"/>
                    <a:pt x="183" y="228"/>
                  </a:cubicBezTo>
                  <a:cubicBezTo>
                    <a:pt x="177" y="227"/>
                    <a:pt x="170" y="227"/>
                    <a:pt x="163" y="227"/>
                  </a:cubicBezTo>
                  <a:cubicBezTo>
                    <a:pt x="157" y="227"/>
                    <a:pt x="150" y="227"/>
                    <a:pt x="144" y="228"/>
                  </a:cubicBezTo>
                  <a:cubicBezTo>
                    <a:pt x="153" y="203"/>
                    <a:pt x="159" y="179"/>
                    <a:pt x="163" y="159"/>
                  </a:cubicBezTo>
                  <a:close/>
                  <a:moveTo>
                    <a:pt x="137" y="245"/>
                  </a:moveTo>
                  <a:cubicBezTo>
                    <a:pt x="146" y="244"/>
                    <a:pt x="154" y="243"/>
                    <a:pt x="163" y="243"/>
                  </a:cubicBezTo>
                  <a:cubicBezTo>
                    <a:pt x="172" y="243"/>
                    <a:pt x="181" y="244"/>
                    <a:pt x="190" y="245"/>
                  </a:cubicBezTo>
                  <a:cubicBezTo>
                    <a:pt x="192" y="250"/>
                    <a:pt x="194" y="255"/>
                    <a:pt x="196" y="260"/>
                  </a:cubicBezTo>
                  <a:cubicBezTo>
                    <a:pt x="186" y="257"/>
                    <a:pt x="174" y="256"/>
                    <a:pt x="163" y="256"/>
                  </a:cubicBezTo>
                  <a:cubicBezTo>
                    <a:pt x="152" y="256"/>
                    <a:pt x="141" y="257"/>
                    <a:pt x="131" y="260"/>
                  </a:cubicBezTo>
                  <a:cubicBezTo>
                    <a:pt x="133" y="255"/>
                    <a:pt x="135" y="250"/>
                    <a:pt x="137" y="245"/>
                  </a:cubicBezTo>
                  <a:close/>
                  <a:moveTo>
                    <a:pt x="122" y="279"/>
                  </a:moveTo>
                  <a:cubicBezTo>
                    <a:pt x="135" y="275"/>
                    <a:pt x="149" y="272"/>
                    <a:pt x="163" y="272"/>
                  </a:cubicBezTo>
                  <a:cubicBezTo>
                    <a:pt x="178" y="272"/>
                    <a:pt x="192" y="275"/>
                    <a:pt x="205" y="279"/>
                  </a:cubicBezTo>
                  <a:cubicBezTo>
                    <a:pt x="208" y="286"/>
                    <a:pt x="212" y="292"/>
                    <a:pt x="215" y="298"/>
                  </a:cubicBezTo>
                  <a:cubicBezTo>
                    <a:pt x="199" y="290"/>
                    <a:pt x="182" y="285"/>
                    <a:pt x="163" y="285"/>
                  </a:cubicBezTo>
                  <a:cubicBezTo>
                    <a:pt x="145" y="285"/>
                    <a:pt x="127" y="290"/>
                    <a:pt x="112" y="298"/>
                  </a:cubicBezTo>
                  <a:cubicBezTo>
                    <a:pt x="115" y="292"/>
                    <a:pt x="118" y="286"/>
                    <a:pt x="122" y="279"/>
                  </a:cubicBezTo>
                  <a:close/>
                  <a:moveTo>
                    <a:pt x="234" y="354"/>
                  </a:moveTo>
                  <a:cubicBezTo>
                    <a:pt x="219" y="330"/>
                    <a:pt x="193" y="315"/>
                    <a:pt x="163" y="315"/>
                  </a:cubicBezTo>
                  <a:cubicBezTo>
                    <a:pt x="133" y="315"/>
                    <a:pt x="107" y="330"/>
                    <a:pt x="92" y="354"/>
                  </a:cubicBezTo>
                  <a:cubicBezTo>
                    <a:pt x="75" y="354"/>
                    <a:pt x="75" y="354"/>
                    <a:pt x="75" y="354"/>
                  </a:cubicBezTo>
                  <a:cubicBezTo>
                    <a:pt x="78" y="350"/>
                    <a:pt x="81" y="346"/>
                    <a:pt x="85" y="341"/>
                  </a:cubicBezTo>
                  <a:cubicBezTo>
                    <a:pt x="85" y="341"/>
                    <a:pt x="85" y="341"/>
                    <a:pt x="85" y="341"/>
                  </a:cubicBezTo>
                  <a:cubicBezTo>
                    <a:pt x="103" y="317"/>
                    <a:pt x="131" y="301"/>
                    <a:pt x="163" y="301"/>
                  </a:cubicBezTo>
                  <a:cubicBezTo>
                    <a:pt x="195" y="301"/>
                    <a:pt x="223" y="317"/>
                    <a:pt x="241" y="341"/>
                  </a:cubicBezTo>
                  <a:cubicBezTo>
                    <a:pt x="241" y="341"/>
                    <a:pt x="242" y="341"/>
                    <a:pt x="242" y="341"/>
                  </a:cubicBezTo>
                  <a:cubicBezTo>
                    <a:pt x="245" y="346"/>
                    <a:pt x="248" y="350"/>
                    <a:pt x="251" y="354"/>
                  </a:cubicBezTo>
                  <a:lnTo>
                    <a:pt x="234" y="354"/>
                  </a:lnTo>
                  <a:close/>
                </a:path>
              </a:pathLst>
            </a:custGeom>
            <a:solidFill>
              <a:srgbClr val="0028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5" name="textruta 64"/>
            <p:cNvSpPr txBox="1">
              <a:spLocks noChangeArrowheads="1"/>
            </p:cNvSpPr>
            <p:nvPr/>
          </p:nvSpPr>
          <p:spPr bwMode="auto">
            <a:xfrm>
              <a:off x="7381304" y="6018216"/>
              <a:ext cx="2101849" cy="5344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6" tIns="45719" rIns="91436" bIns="45719">
              <a:spAutoFit/>
            </a:bodyPr>
            <a:lstStyle>
              <a:lvl1pPr defTabSz="685800"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685800"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685800"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685800"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685800"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/>
              <a:r>
                <a:rPr lang="sv-SE" sz="1200" b="1">
                  <a:solidFill>
                    <a:srgbClr val="00285F"/>
                  </a:solidFill>
                  <a:ea typeface="MS PGothic" pitchFamily="34" charset="-128"/>
                </a:rPr>
                <a:t>Datacenter</a:t>
              </a:r>
            </a:p>
          </p:txBody>
        </p:sp>
        <p:sp>
          <p:nvSpPr>
            <p:cNvPr id="56" name="Freeform 3"/>
            <p:cNvSpPr>
              <a:spLocks noChangeAspect="1" noEditPoints="1"/>
            </p:cNvSpPr>
            <p:nvPr/>
          </p:nvSpPr>
          <p:spPr bwMode="auto">
            <a:xfrm>
              <a:off x="7523163" y="5162550"/>
              <a:ext cx="598487" cy="803275"/>
            </a:xfrm>
            <a:custGeom>
              <a:avLst/>
              <a:gdLst>
                <a:gd name="T0" fmla="*/ 2147483647 w 255"/>
                <a:gd name="T1" fmla="*/ 2147483647 h 394"/>
                <a:gd name="T2" fmla="*/ 0 w 255"/>
                <a:gd name="T3" fmla="*/ 2147483647 h 394"/>
                <a:gd name="T4" fmla="*/ 2147483647 w 255"/>
                <a:gd name="T5" fmla="*/ 2147483647 h 394"/>
                <a:gd name="T6" fmla="*/ 2147483647 w 255"/>
                <a:gd name="T7" fmla="*/ 2147483647 h 394"/>
                <a:gd name="T8" fmla="*/ 2147483647 w 255"/>
                <a:gd name="T9" fmla="*/ 2147483647 h 394"/>
                <a:gd name="T10" fmla="*/ 2147483647 w 255"/>
                <a:gd name="T11" fmla="*/ 2147483647 h 394"/>
                <a:gd name="T12" fmla="*/ 2147483647 w 255"/>
                <a:gd name="T13" fmla="*/ 2147483647 h 394"/>
                <a:gd name="T14" fmla="*/ 2147483647 w 255"/>
                <a:gd name="T15" fmla="*/ 2147483647 h 394"/>
                <a:gd name="T16" fmla="*/ 2147483647 w 255"/>
                <a:gd name="T17" fmla="*/ 2147483647 h 394"/>
                <a:gd name="T18" fmla="*/ 2147483647 w 255"/>
                <a:gd name="T19" fmla="*/ 2147483647 h 394"/>
                <a:gd name="T20" fmla="*/ 2147483647 w 255"/>
                <a:gd name="T21" fmla="*/ 2147483647 h 394"/>
                <a:gd name="T22" fmla="*/ 2147483647 w 255"/>
                <a:gd name="T23" fmla="*/ 2147483647 h 394"/>
                <a:gd name="T24" fmla="*/ 2147483647 w 255"/>
                <a:gd name="T25" fmla="*/ 2147483647 h 394"/>
                <a:gd name="T26" fmla="*/ 2147483647 w 255"/>
                <a:gd name="T27" fmla="*/ 2147483647 h 394"/>
                <a:gd name="T28" fmla="*/ 2147483647 w 255"/>
                <a:gd name="T29" fmla="*/ 2147483647 h 394"/>
                <a:gd name="T30" fmla="*/ 2147483647 w 255"/>
                <a:gd name="T31" fmla="*/ 2147483647 h 394"/>
                <a:gd name="T32" fmla="*/ 2147483647 w 255"/>
                <a:gd name="T33" fmla="*/ 2147483647 h 394"/>
                <a:gd name="T34" fmla="*/ 2147483647 w 255"/>
                <a:gd name="T35" fmla="*/ 2147483647 h 394"/>
                <a:gd name="T36" fmla="*/ 2147483647 w 255"/>
                <a:gd name="T37" fmla="*/ 2147483647 h 394"/>
                <a:gd name="T38" fmla="*/ 2147483647 w 255"/>
                <a:gd name="T39" fmla="*/ 2147483647 h 394"/>
                <a:gd name="T40" fmla="*/ 2147483647 w 255"/>
                <a:gd name="T41" fmla="*/ 2147483647 h 394"/>
                <a:gd name="T42" fmla="*/ 2147483647 w 255"/>
                <a:gd name="T43" fmla="*/ 2147483647 h 394"/>
                <a:gd name="T44" fmla="*/ 2147483647 w 255"/>
                <a:gd name="T45" fmla="*/ 2147483647 h 394"/>
                <a:gd name="T46" fmla="*/ 2147483647 w 255"/>
                <a:gd name="T47" fmla="*/ 2147483647 h 394"/>
                <a:gd name="T48" fmla="*/ 2147483647 w 255"/>
                <a:gd name="T49" fmla="*/ 2147483647 h 394"/>
                <a:gd name="T50" fmla="*/ 2147483647 w 255"/>
                <a:gd name="T51" fmla="*/ 2147483647 h 394"/>
                <a:gd name="T52" fmla="*/ 2147483647 w 255"/>
                <a:gd name="T53" fmla="*/ 2147483647 h 394"/>
                <a:gd name="T54" fmla="*/ 2147483647 w 255"/>
                <a:gd name="T55" fmla="*/ 2147483647 h 394"/>
                <a:gd name="T56" fmla="*/ 2147483647 w 255"/>
                <a:gd name="T57" fmla="*/ 2147483647 h 394"/>
                <a:gd name="T58" fmla="*/ 2147483647 w 255"/>
                <a:gd name="T59" fmla="*/ 2147483647 h 394"/>
                <a:gd name="T60" fmla="*/ 2147483647 w 255"/>
                <a:gd name="T61" fmla="*/ 2147483647 h 394"/>
                <a:gd name="T62" fmla="*/ 2147483647 w 255"/>
                <a:gd name="T63" fmla="*/ 2147483647 h 394"/>
                <a:gd name="T64" fmla="*/ 2147483647 w 255"/>
                <a:gd name="T65" fmla="*/ 2147483647 h 394"/>
                <a:gd name="T66" fmla="*/ 2147483647 w 255"/>
                <a:gd name="T67" fmla="*/ 2147483647 h 394"/>
                <a:gd name="T68" fmla="*/ 2147483647 w 255"/>
                <a:gd name="T69" fmla="*/ 2147483647 h 394"/>
                <a:gd name="T70" fmla="*/ 2147483647 w 255"/>
                <a:gd name="T71" fmla="*/ 2147483647 h 394"/>
                <a:gd name="T72" fmla="*/ 2147483647 w 255"/>
                <a:gd name="T73" fmla="*/ 2147483647 h 394"/>
                <a:gd name="T74" fmla="*/ 2147483647 w 255"/>
                <a:gd name="T75" fmla="*/ 2147483647 h 394"/>
                <a:gd name="T76" fmla="*/ 2147483647 w 255"/>
                <a:gd name="T77" fmla="*/ 2147483647 h 394"/>
                <a:gd name="T78" fmla="*/ 2147483647 w 255"/>
                <a:gd name="T79" fmla="*/ 2147483647 h 394"/>
                <a:gd name="T80" fmla="*/ 2147483647 w 255"/>
                <a:gd name="T81" fmla="*/ 2147483647 h 394"/>
                <a:gd name="T82" fmla="*/ 2147483647 w 255"/>
                <a:gd name="T83" fmla="*/ 2147483647 h 394"/>
                <a:gd name="T84" fmla="*/ 2147483647 w 255"/>
                <a:gd name="T85" fmla="*/ 2147483647 h 394"/>
                <a:gd name="T86" fmla="*/ 2147483647 w 255"/>
                <a:gd name="T87" fmla="*/ 2147483647 h 394"/>
                <a:gd name="T88" fmla="*/ 2147483647 w 255"/>
                <a:gd name="T89" fmla="*/ 2147483647 h 394"/>
                <a:gd name="T90" fmla="*/ 2147483647 w 255"/>
                <a:gd name="T91" fmla="*/ 2147483647 h 39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55" h="394">
                  <a:moveTo>
                    <a:pt x="247" y="53"/>
                  </a:moveTo>
                  <a:cubicBezTo>
                    <a:pt x="251" y="53"/>
                    <a:pt x="255" y="50"/>
                    <a:pt x="255" y="45"/>
                  </a:cubicBezTo>
                  <a:cubicBezTo>
                    <a:pt x="255" y="19"/>
                    <a:pt x="255" y="19"/>
                    <a:pt x="255" y="19"/>
                  </a:cubicBezTo>
                  <a:cubicBezTo>
                    <a:pt x="255" y="8"/>
                    <a:pt x="246" y="0"/>
                    <a:pt x="235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9" y="0"/>
                    <a:pt x="0" y="8"/>
                    <a:pt x="0" y="19"/>
                  </a:cubicBezTo>
                  <a:cubicBezTo>
                    <a:pt x="0" y="374"/>
                    <a:pt x="0" y="374"/>
                    <a:pt x="0" y="374"/>
                  </a:cubicBezTo>
                  <a:cubicBezTo>
                    <a:pt x="0" y="385"/>
                    <a:pt x="9" y="394"/>
                    <a:pt x="19" y="394"/>
                  </a:cubicBezTo>
                  <a:cubicBezTo>
                    <a:pt x="235" y="394"/>
                    <a:pt x="235" y="394"/>
                    <a:pt x="235" y="394"/>
                  </a:cubicBezTo>
                  <a:cubicBezTo>
                    <a:pt x="246" y="394"/>
                    <a:pt x="255" y="385"/>
                    <a:pt x="255" y="374"/>
                  </a:cubicBezTo>
                  <a:cubicBezTo>
                    <a:pt x="255" y="77"/>
                    <a:pt x="255" y="77"/>
                    <a:pt x="255" y="77"/>
                  </a:cubicBezTo>
                  <a:cubicBezTo>
                    <a:pt x="255" y="73"/>
                    <a:pt x="251" y="69"/>
                    <a:pt x="247" y="69"/>
                  </a:cubicBezTo>
                  <a:cubicBezTo>
                    <a:pt x="242" y="69"/>
                    <a:pt x="239" y="73"/>
                    <a:pt x="239" y="77"/>
                  </a:cubicBezTo>
                  <a:cubicBezTo>
                    <a:pt x="239" y="374"/>
                    <a:pt x="239" y="374"/>
                    <a:pt x="239" y="374"/>
                  </a:cubicBezTo>
                  <a:cubicBezTo>
                    <a:pt x="239" y="376"/>
                    <a:pt x="237" y="378"/>
                    <a:pt x="235" y="378"/>
                  </a:cubicBezTo>
                  <a:cubicBezTo>
                    <a:pt x="19" y="378"/>
                    <a:pt x="19" y="378"/>
                    <a:pt x="19" y="378"/>
                  </a:cubicBezTo>
                  <a:cubicBezTo>
                    <a:pt x="17" y="378"/>
                    <a:pt x="16" y="376"/>
                    <a:pt x="16" y="374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17"/>
                    <a:pt x="17" y="16"/>
                    <a:pt x="19" y="16"/>
                  </a:cubicBezTo>
                  <a:cubicBezTo>
                    <a:pt x="235" y="16"/>
                    <a:pt x="235" y="16"/>
                    <a:pt x="235" y="16"/>
                  </a:cubicBezTo>
                  <a:cubicBezTo>
                    <a:pt x="237" y="16"/>
                    <a:pt x="239" y="17"/>
                    <a:pt x="239" y="19"/>
                  </a:cubicBezTo>
                  <a:cubicBezTo>
                    <a:pt x="239" y="45"/>
                    <a:pt x="239" y="45"/>
                    <a:pt x="239" y="45"/>
                  </a:cubicBezTo>
                  <a:cubicBezTo>
                    <a:pt x="239" y="50"/>
                    <a:pt x="242" y="53"/>
                    <a:pt x="247" y="53"/>
                  </a:cubicBezTo>
                  <a:close/>
                  <a:moveTo>
                    <a:pt x="207" y="115"/>
                  </a:moveTo>
                  <a:cubicBezTo>
                    <a:pt x="199" y="115"/>
                    <a:pt x="193" y="121"/>
                    <a:pt x="193" y="129"/>
                  </a:cubicBezTo>
                  <a:cubicBezTo>
                    <a:pt x="193" y="137"/>
                    <a:pt x="199" y="143"/>
                    <a:pt x="207" y="143"/>
                  </a:cubicBezTo>
                  <a:cubicBezTo>
                    <a:pt x="215" y="143"/>
                    <a:pt x="221" y="137"/>
                    <a:pt x="221" y="129"/>
                  </a:cubicBezTo>
                  <a:cubicBezTo>
                    <a:pt x="221" y="121"/>
                    <a:pt x="215" y="115"/>
                    <a:pt x="207" y="115"/>
                  </a:cubicBezTo>
                  <a:close/>
                  <a:moveTo>
                    <a:pt x="207" y="47"/>
                  </a:moveTo>
                  <a:cubicBezTo>
                    <a:pt x="199" y="47"/>
                    <a:pt x="193" y="53"/>
                    <a:pt x="193" y="61"/>
                  </a:cubicBezTo>
                  <a:cubicBezTo>
                    <a:pt x="193" y="69"/>
                    <a:pt x="199" y="75"/>
                    <a:pt x="207" y="75"/>
                  </a:cubicBezTo>
                  <a:cubicBezTo>
                    <a:pt x="215" y="75"/>
                    <a:pt x="221" y="69"/>
                    <a:pt x="221" y="61"/>
                  </a:cubicBezTo>
                  <a:cubicBezTo>
                    <a:pt x="221" y="53"/>
                    <a:pt x="215" y="47"/>
                    <a:pt x="207" y="47"/>
                  </a:cubicBezTo>
                  <a:close/>
                  <a:moveTo>
                    <a:pt x="207" y="318"/>
                  </a:moveTo>
                  <a:cubicBezTo>
                    <a:pt x="199" y="318"/>
                    <a:pt x="193" y="325"/>
                    <a:pt x="193" y="332"/>
                  </a:cubicBezTo>
                  <a:cubicBezTo>
                    <a:pt x="193" y="340"/>
                    <a:pt x="199" y="346"/>
                    <a:pt x="207" y="346"/>
                  </a:cubicBezTo>
                  <a:cubicBezTo>
                    <a:pt x="215" y="346"/>
                    <a:pt x="221" y="340"/>
                    <a:pt x="221" y="332"/>
                  </a:cubicBezTo>
                  <a:cubicBezTo>
                    <a:pt x="221" y="325"/>
                    <a:pt x="215" y="318"/>
                    <a:pt x="207" y="318"/>
                  </a:cubicBezTo>
                  <a:close/>
                  <a:moveTo>
                    <a:pt x="207" y="183"/>
                  </a:moveTo>
                  <a:cubicBezTo>
                    <a:pt x="199" y="183"/>
                    <a:pt x="193" y="189"/>
                    <a:pt x="193" y="197"/>
                  </a:cubicBezTo>
                  <a:cubicBezTo>
                    <a:pt x="193" y="205"/>
                    <a:pt x="199" y="211"/>
                    <a:pt x="207" y="211"/>
                  </a:cubicBezTo>
                  <a:cubicBezTo>
                    <a:pt x="215" y="211"/>
                    <a:pt x="221" y="205"/>
                    <a:pt x="221" y="197"/>
                  </a:cubicBezTo>
                  <a:cubicBezTo>
                    <a:pt x="221" y="189"/>
                    <a:pt x="215" y="183"/>
                    <a:pt x="207" y="183"/>
                  </a:cubicBezTo>
                  <a:close/>
                  <a:moveTo>
                    <a:pt x="207" y="251"/>
                  </a:moveTo>
                  <a:cubicBezTo>
                    <a:pt x="199" y="251"/>
                    <a:pt x="193" y="257"/>
                    <a:pt x="193" y="265"/>
                  </a:cubicBezTo>
                  <a:cubicBezTo>
                    <a:pt x="193" y="272"/>
                    <a:pt x="199" y="279"/>
                    <a:pt x="207" y="279"/>
                  </a:cubicBezTo>
                  <a:cubicBezTo>
                    <a:pt x="215" y="279"/>
                    <a:pt x="221" y="272"/>
                    <a:pt x="221" y="265"/>
                  </a:cubicBezTo>
                  <a:cubicBezTo>
                    <a:pt x="221" y="257"/>
                    <a:pt x="215" y="251"/>
                    <a:pt x="207" y="251"/>
                  </a:cubicBezTo>
                  <a:close/>
                  <a:moveTo>
                    <a:pt x="178" y="57"/>
                  </a:moveTo>
                  <a:cubicBezTo>
                    <a:pt x="178" y="46"/>
                    <a:pt x="169" y="37"/>
                    <a:pt x="159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43" y="37"/>
                    <a:pt x="34" y="46"/>
                    <a:pt x="34" y="57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4" y="76"/>
                    <a:pt x="43" y="85"/>
                    <a:pt x="53" y="85"/>
                  </a:cubicBezTo>
                  <a:cubicBezTo>
                    <a:pt x="159" y="85"/>
                    <a:pt x="159" y="85"/>
                    <a:pt x="159" y="85"/>
                  </a:cubicBezTo>
                  <a:cubicBezTo>
                    <a:pt x="169" y="85"/>
                    <a:pt x="178" y="76"/>
                    <a:pt x="178" y="66"/>
                  </a:cubicBezTo>
                  <a:lnTo>
                    <a:pt x="178" y="57"/>
                  </a:lnTo>
                  <a:close/>
                  <a:moveTo>
                    <a:pt x="162" y="66"/>
                  </a:moveTo>
                  <a:cubicBezTo>
                    <a:pt x="162" y="68"/>
                    <a:pt x="160" y="69"/>
                    <a:pt x="159" y="69"/>
                  </a:cubicBezTo>
                  <a:cubicBezTo>
                    <a:pt x="53" y="69"/>
                    <a:pt x="53" y="69"/>
                    <a:pt x="53" y="69"/>
                  </a:cubicBezTo>
                  <a:cubicBezTo>
                    <a:pt x="51" y="69"/>
                    <a:pt x="50" y="68"/>
                    <a:pt x="50" y="66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50" y="55"/>
                    <a:pt x="51" y="53"/>
                    <a:pt x="53" y="53"/>
                  </a:cubicBezTo>
                  <a:cubicBezTo>
                    <a:pt x="159" y="53"/>
                    <a:pt x="159" y="53"/>
                    <a:pt x="159" y="53"/>
                  </a:cubicBezTo>
                  <a:cubicBezTo>
                    <a:pt x="160" y="53"/>
                    <a:pt x="162" y="55"/>
                    <a:pt x="162" y="57"/>
                  </a:cubicBezTo>
                  <a:lnTo>
                    <a:pt x="162" y="66"/>
                  </a:lnTo>
                  <a:close/>
                  <a:moveTo>
                    <a:pt x="178" y="125"/>
                  </a:moveTo>
                  <a:cubicBezTo>
                    <a:pt x="178" y="114"/>
                    <a:pt x="169" y="105"/>
                    <a:pt x="159" y="105"/>
                  </a:cubicBezTo>
                  <a:cubicBezTo>
                    <a:pt x="53" y="105"/>
                    <a:pt x="53" y="105"/>
                    <a:pt x="53" y="105"/>
                  </a:cubicBezTo>
                  <a:cubicBezTo>
                    <a:pt x="43" y="105"/>
                    <a:pt x="34" y="114"/>
                    <a:pt x="34" y="125"/>
                  </a:cubicBezTo>
                  <a:cubicBezTo>
                    <a:pt x="34" y="133"/>
                    <a:pt x="34" y="133"/>
                    <a:pt x="34" y="133"/>
                  </a:cubicBezTo>
                  <a:cubicBezTo>
                    <a:pt x="34" y="144"/>
                    <a:pt x="43" y="153"/>
                    <a:pt x="53" y="153"/>
                  </a:cubicBezTo>
                  <a:cubicBezTo>
                    <a:pt x="159" y="153"/>
                    <a:pt x="159" y="153"/>
                    <a:pt x="159" y="153"/>
                  </a:cubicBezTo>
                  <a:cubicBezTo>
                    <a:pt x="169" y="153"/>
                    <a:pt x="178" y="144"/>
                    <a:pt x="178" y="133"/>
                  </a:cubicBezTo>
                  <a:lnTo>
                    <a:pt x="178" y="125"/>
                  </a:lnTo>
                  <a:close/>
                  <a:moveTo>
                    <a:pt x="162" y="133"/>
                  </a:moveTo>
                  <a:cubicBezTo>
                    <a:pt x="162" y="135"/>
                    <a:pt x="160" y="137"/>
                    <a:pt x="159" y="137"/>
                  </a:cubicBezTo>
                  <a:cubicBezTo>
                    <a:pt x="53" y="137"/>
                    <a:pt x="53" y="137"/>
                    <a:pt x="53" y="137"/>
                  </a:cubicBezTo>
                  <a:cubicBezTo>
                    <a:pt x="51" y="137"/>
                    <a:pt x="50" y="135"/>
                    <a:pt x="50" y="133"/>
                  </a:cubicBezTo>
                  <a:cubicBezTo>
                    <a:pt x="50" y="125"/>
                    <a:pt x="50" y="125"/>
                    <a:pt x="50" y="125"/>
                  </a:cubicBezTo>
                  <a:cubicBezTo>
                    <a:pt x="50" y="123"/>
                    <a:pt x="51" y="121"/>
                    <a:pt x="53" y="121"/>
                  </a:cubicBezTo>
                  <a:cubicBezTo>
                    <a:pt x="159" y="121"/>
                    <a:pt x="159" y="121"/>
                    <a:pt x="159" y="121"/>
                  </a:cubicBezTo>
                  <a:cubicBezTo>
                    <a:pt x="160" y="121"/>
                    <a:pt x="162" y="123"/>
                    <a:pt x="162" y="125"/>
                  </a:cubicBezTo>
                  <a:lnTo>
                    <a:pt x="162" y="133"/>
                  </a:lnTo>
                  <a:close/>
                  <a:moveTo>
                    <a:pt x="178" y="260"/>
                  </a:moveTo>
                  <a:cubicBezTo>
                    <a:pt x="178" y="249"/>
                    <a:pt x="169" y="241"/>
                    <a:pt x="159" y="241"/>
                  </a:cubicBezTo>
                  <a:cubicBezTo>
                    <a:pt x="53" y="241"/>
                    <a:pt x="53" y="241"/>
                    <a:pt x="53" y="241"/>
                  </a:cubicBezTo>
                  <a:cubicBezTo>
                    <a:pt x="43" y="241"/>
                    <a:pt x="34" y="249"/>
                    <a:pt x="34" y="260"/>
                  </a:cubicBezTo>
                  <a:cubicBezTo>
                    <a:pt x="34" y="269"/>
                    <a:pt x="34" y="269"/>
                    <a:pt x="34" y="269"/>
                  </a:cubicBezTo>
                  <a:cubicBezTo>
                    <a:pt x="34" y="280"/>
                    <a:pt x="43" y="288"/>
                    <a:pt x="53" y="288"/>
                  </a:cubicBezTo>
                  <a:cubicBezTo>
                    <a:pt x="159" y="288"/>
                    <a:pt x="159" y="288"/>
                    <a:pt x="159" y="288"/>
                  </a:cubicBezTo>
                  <a:cubicBezTo>
                    <a:pt x="169" y="288"/>
                    <a:pt x="178" y="280"/>
                    <a:pt x="178" y="269"/>
                  </a:cubicBezTo>
                  <a:lnTo>
                    <a:pt x="178" y="260"/>
                  </a:lnTo>
                  <a:close/>
                  <a:moveTo>
                    <a:pt x="162" y="269"/>
                  </a:moveTo>
                  <a:cubicBezTo>
                    <a:pt x="162" y="271"/>
                    <a:pt x="160" y="272"/>
                    <a:pt x="159" y="272"/>
                  </a:cubicBezTo>
                  <a:cubicBezTo>
                    <a:pt x="53" y="272"/>
                    <a:pt x="53" y="272"/>
                    <a:pt x="53" y="272"/>
                  </a:cubicBezTo>
                  <a:cubicBezTo>
                    <a:pt x="51" y="272"/>
                    <a:pt x="50" y="271"/>
                    <a:pt x="50" y="269"/>
                  </a:cubicBezTo>
                  <a:cubicBezTo>
                    <a:pt x="50" y="260"/>
                    <a:pt x="50" y="260"/>
                    <a:pt x="50" y="260"/>
                  </a:cubicBezTo>
                  <a:cubicBezTo>
                    <a:pt x="50" y="258"/>
                    <a:pt x="51" y="257"/>
                    <a:pt x="53" y="257"/>
                  </a:cubicBezTo>
                  <a:cubicBezTo>
                    <a:pt x="159" y="257"/>
                    <a:pt x="159" y="257"/>
                    <a:pt x="159" y="257"/>
                  </a:cubicBezTo>
                  <a:cubicBezTo>
                    <a:pt x="160" y="257"/>
                    <a:pt x="162" y="258"/>
                    <a:pt x="162" y="260"/>
                  </a:cubicBezTo>
                  <a:lnTo>
                    <a:pt x="162" y="269"/>
                  </a:lnTo>
                  <a:close/>
                  <a:moveTo>
                    <a:pt x="178" y="192"/>
                  </a:moveTo>
                  <a:cubicBezTo>
                    <a:pt x="178" y="182"/>
                    <a:pt x="169" y="173"/>
                    <a:pt x="159" y="173"/>
                  </a:cubicBezTo>
                  <a:cubicBezTo>
                    <a:pt x="53" y="173"/>
                    <a:pt x="53" y="173"/>
                    <a:pt x="53" y="173"/>
                  </a:cubicBezTo>
                  <a:cubicBezTo>
                    <a:pt x="43" y="173"/>
                    <a:pt x="34" y="182"/>
                    <a:pt x="34" y="192"/>
                  </a:cubicBezTo>
                  <a:cubicBezTo>
                    <a:pt x="34" y="201"/>
                    <a:pt x="34" y="201"/>
                    <a:pt x="34" y="201"/>
                  </a:cubicBezTo>
                  <a:cubicBezTo>
                    <a:pt x="34" y="212"/>
                    <a:pt x="43" y="221"/>
                    <a:pt x="53" y="221"/>
                  </a:cubicBezTo>
                  <a:cubicBezTo>
                    <a:pt x="159" y="221"/>
                    <a:pt x="159" y="221"/>
                    <a:pt x="159" y="221"/>
                  </a:cubicBezTo>
                  <a:cubicBezTo>
                    <a:pt x="169" y="221"/>
                    <a:pt x="178" y="212"/>
                    <a:pt x="178" y="201"/>
                  </a:cubicBezTo>
                  <a:lnTo>
                    <a:pt x="178" y="192"/>
                  </a:lnTo>
                  <a:close/>
                  <a:moveTo>
                    <a:pt x="162" y="201"/>
                  </a:moveTo>
                  <a:cubicBezTo>
                    <a:pt x="162" y="203"/>
                    <a:pt x="160" y="205"/>
                    <a:pt x="159" y="205"/>
                  </a:cubicBezTo>
                  <a:cubicBezTo>
                    <a:pt x="53" y="205"/>
                    <a:pt x="53" y="205"/>
                    <a:pt x="53" y="205"/>
                  </a:cubicBezTo>
                  <a:cubicBezTo>
                    <a:pt x="51" y="205"/>
                    <a:pt x="50" y="203"/>
                    <a:pt x="50" y="201"/>
                  </a:cubicBezTo>
                  <a:cubicBezTo>
                    <a:pt x="50" y="192"/>
                    <a:pt x="50" y="192"/>
                    <a:pt x="50" y="192"/>
                  </a:cubicBezTo>
                  <a:cubicBezTo>
                    <a:pt x="50" y="190"/>
                    <a:pt x="51" y="189"/>
                    <a:pt x="53" y="189"/>
                  </a:cubicBezTo>
                  <a:cubicBezTo>
                    <a:pt x="159" y="189"/>
                    <a:pt x="159" y="189"/>
                    <a:pt x="159" y="189"/>
                  </a:cubicBezTo>
                  <a:cubicBezTo>
                    <a:pt x="160" y="189"/>
                    <a:pt x="162" y="190"/>
                    <a:pt x="162" y="192"/>
                  </a:cubicBezTo>
                  <a:lnTo>
                    <a:pt x="162" y="201"/>
                  </a:lnTo>
                  <a:close/>
                  <a:moveTo>
                    <a:pt x="159" y="309"/>
                  </a:moveTo>
                  <a:cubicBezTo>
                    <a:pt x="53" y="309"/>
                    <a:pt x="53" y="309"/>
                    <a:pt x="53" y="309"/>
                  </a:cubicBezTo>
                  <a:cubicBezTo>
                    <a:pt x="43" y="309"/>
                    <a:pt x="34" y="317"/>
                    <a:pt x="34" y="328"/>
                  </a:cubicBezTo>
                  <a:cubicBezTo>
                    <a:pt x="34" y="337"/>
                    <a:pt x="34" y="337"/>
                    <a:pt x="34" y="337"/>
                  </a:cubicBezTo>
                  <a:cubicBezTo>
                    <a:pt x="34" y="348"/>
                    <a:pt x="43" y="356"/>
                    <a:pt x="53" y="356"/>
                  </a:cubicBezTo>
                  <a:cubicBezTo>
                    <a:pt x="159" y="356"/>
                    <a:pt x="159" y="356"/>
                    <a:pt x="159" y="356"/>
                  </a:cubicBezTo>
                  <a:cubicBezTo>
                    <a:pt x="169" y="356"/>
                    <a:pt x="178" y="348"/>
                    <a:pt x="178" y="337"/>
                  </a:cubicBezTo>
                  <a:cubicBezTo>
                    <a:pt x="178" y="328"/>
                    <a:pt x="178" y="328"/>
                    <a:pt x="178" y="328"/>
                  </a:cubicBezTo>
                  <a:cubicBezTo>
                    <a:pt x="178" y="317"/>
                    <a:pt x="169" y="309"/>
                    <a:pt x="159" y="309"/>
                  </a:cubicBezTo>
                  <a:close/>
                  <a:moveTo>
                    <a:pt x="162" y="337"/>
                  </a:moveTo>
                  <a:cubicBezTo>
                    <a:pt x="162" y="339"/>
                    <a:pt x="160" y="340"/>
                    <a:pt x="159" y="340"/>
                  </a:cubicBezTo>
                  <a:cubicBezTo>
                    <a:pt x="53" y="340"/>
                    <a:pt x="53" y="340"/>
                    <a:pt x="53" y="340"/>
                  </a:cubicBezTo>
                  <a:cubicBezTo>
                    <a:pt x="51" y="340"/>
                    <a:pt x="50" y="339"/>
                    <a:pt x="50" y="337"/>
                  </a:cubicBezTo>
                  <a:cubicBezTo>
                    <a:pt x="50" y="328"/>
                    <a:pt x="50" y="328"/>
                    <a:pt x="50" y="328"/>
                  </a:cubicBezTo>
                  <a:cubicBezTo>
                    <a:pt x="50" y="326"/>
                    <a:pt x="51" y="325"/>
                    <a:pt x="53" y="325"/>
                  </a:cubicBezTo>
                  <a:cubicBezTo>
                    <a:pt x="159" y="325"/>
                    <a:pt x="159" y="325"/>
                    <a:pt x="159" y="325"/>
                  </a:cubicBezTo>
                  <a:cubicBezTo>
                    <a:pt x="160" y="325"/>
                    <a:pt x="162" y="326"/>
                    <a:pt x="162" y="328"/>
                  </a:cubicBezTo>
                  <a:lnTo>
                    <a:pt x="162" y="337"/>
                  </a:lnTo>
                  <a:close/>
                </a:path>
              </a:pathLst>
            </a:custGeom>
            <a:solidFill>
              <a:srgbClr val="0028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7" name="Freeform 3"/>
            <p:cNvSpPr>
              <a:spLocks noChangeAspect="1" noEditPoints="1"/>
            </p:cNvSpPr>
            <p:nvPr/>
          </p:nvSpPr>
          <p:spPr bwMode="auto">
            <a:xfrm>
              <a:off x="8824913" y="5162550"/>
              <a:ext cx="598487" cy="803275"/>
            </a:xfrm>
            <a:custGeom>
              <a:avLst/>
              <a:gdLst>
                <a:gd name="T0" fmla="*/ 2147483647 w 255"/>
                <a:gd name="T1" fmla="*/ 2147483647 h 394"/>
                <a:gd name="T2" fmla="*/ 0 w 255"/>
                <a:gd name="T3" fmla="*/ 2147483647 h 394"/>
                <a:gd name="T4" fmla="*/ 2147483647 w 255"/>
                <a:gd name="T5" fmla="*/ 2147483647 h 394"/>
                <a:gd name="T6" fmla="*/ 2147483647 w 255"/>
                <a:gd name="T7" fmla="*/ 2147483647 h 394"/>
                <a:gd name="T8" fmla="*/ 2147483647 w 255"/>
                <a:gd name="T9" fmla="*/ 2147483647 h 394"/>
                <a:gd name="T10" fmla="*/ 2147483647 w 255"/>
                <a:gd name="T11" fmla="*/ 2147483647 h 394"/>
                <a:gd name="T12" fmla="*/ 2147483647 w 255"/>
                <a:gd name="T13" fmla="*/ 2147483647 h 394"/>
                <a:gd name="T14" fmla="*/ 2147483647 w 255"/>
                <a:gd name="T15" fmla="*/ 2147483647 h 394"/>
                <a:gd name="T16" fmla="*/ 2147483647 w 255"/>
                <a:gd name="T17" fmla="*/ 2147483647 h 394"/>
                <a:gd name="T18" fmla="*/ 2147483647 w 255"/>
                <a:gd name="T19" fmla="*/ 2147483647 h 394"/>
                <a:gd name="T20" fmla="*/ 2147483647 w 255"/>
                <a:gd name="T21" fmla="*/ 2147483647 h 394"/>
                <a:gd name="T22" fmla="*/ 2147483647 w 255"/>
                <a:gd name="T23" fmla="*/ 2147483647 h 394"/>
                <a:gd name="T24" fmla="*/ 2147483647 w 255"/>
                <a:gd name="T25" fmla="*/ 2147483647 h 394"/>
                <a:gd name="T26" fmla="*/ 2147483647 w 255"/>
                <a:gd name="T27" fmla="*/ 2147483647 h 394"/>
                <a:gd name="T28" fmla="*/ 2147483647 w 255"/>
                <a:gd name="T29" fmla="*/ 2147483647 h 394"/>
                <a:gd name="T30" fmla="*/ 2147483647 w 255"/>
                <a:gd name="T31" fmla="*/ 2147483647 h 394"/>
                <a:gd name="T32" fmla="*/ 2147483647 w 255"/>
                <a:gd name="T33" fmla="*/ 2147483647 h 394"/>
                <a:gd name="T34" fmla="*/ 2147483647 w 255"/>
                <a:gd name="T35" fmla="*/ 2147483647 h 394"/>
                <a:gd name="T36" fmla="*/ 2147483647 w 255"/>
                <a:gd name="T37" fmla="*/ 2147483647 h 394"/>
                <a:gd name="T38" fmla="*/ 2147483647 w 255"/>
                <a:gd name="T39" fmla="*/ 2147483647 h 394"/>
                <a:gd name="T40" fmla="*/ 2147483647 w 255"/>
                <a:gd name="T41" fmla="*/ 2147483647 h 394"/>
                <a:gd name="T42" fmla="*/ 2147483647 w 255"/>
                <a:gd name="T43" fmla="*/ 2147483647 h 394"/>
                <a:gd name="T44" fmla="*/ 2147483647 w 255"/>
                <a:gd name="T45" fmla="*/ 2147483647 h 394"/>
                <a:gd name="T46" fmla="*/ 2147483647 w 255"/>
                <a:gd name="T47" fmla="*/ 2147483647 h 394"/>
                <a:gd name="T48" fmla="*/ 2147483647 w 255"/>
                <a:gd name="T49" fmla="*/ 2147483647 h 394"/>
                <a:gd name="T50" fmla="*/ 2147483647 w 255"/>
                <a:gd name="T51" fmla="*/ 2147483647 h 394"/>
                <a:gd name="T52" fmla="*/ 2147483647 w 255"/>
                <a:gd name="T53" fmla="*/ 2147483647 h 394"/>
                <a:gd name="T54" fmla="*/ 2147483647 w 255"/>
                <a:gd name="T55" fmla="*/ 2147483647 h 394"/>
                <a:gd name="T56" fmla="*/ 2147483647 w 255"/>
                <a:gd name="T57" fmla="*/ 2147483647 h 394"/>
                <a:gd name="T58" fmla="*/ 2147483647 w 255"/>
                <a:gd name="T59" fmla="*/ 2147483647 h 394"/>
                <a:gd name="T60" fmla="*/ 2147483647 w 255"/>
                <a:gd name="T61" fmla="*/ 2147483647 h 394"/>
                <a:gd name="T62" fmla="*/ 2147483647 w 255"/>
                <a:gd name="T63" fmla="*/ 2147483647 h 394"/>
                <a:gd name="T64" fmla="*/ 2147483647 w 255"/>
                <a:gd name="T65" fmla="*/ 2147483647 h 394"/>
                <a:gd name="T66" fmla="*/ 2147483647 w 255"/>
                <a:gd name="T67" fmla="*/ 2147483647 h 394"/>
                <a:gd name="T68" fmla="*/ 2147483647 w 255"/>
                <a:gd name="T69" fmla="*/ 2147483647 h 394"/>
                <a:gd name="T70" fmla="*/ 2147483647 w 255"/>
                <a:gd name="T71" fmla="*/ 2147483647 h 394"/>
                <a:gd name="T72" fmla="*/ 2147483647 w 255"/>
                <a:gd name="T73" fmla="*/ 2147483647 h 394"/>
                <a:gd name="T74" fmla="*/ 2147483647 w 255"/>
                <a:gd name="T75" fmla="*/ 2147483647 h 394"/>
                <a:gd name="T76" fmla="*/ 2147483647 w 255"/>
                <a:gd name="T77" fmla="*/ 2147483647 h 394"/>
                <a:gd name="T78" fmla="*/ 2147483647 w 255"/>
                <a:gd name="T79" fmla="*/ 2147483647 h 394"/>
                <a:gd name="T80" fmla="*/ 2147483647 w 255"/>
                <a:gd name="T81" fmla="*/ 2147483647 h 394"/>
                <a:gd name="T82" fmla="*/ 2147483647 w 255"/>
                <a:gd name="T83" fmla="*/ 2147483647 h 394"/>
                <a:gd name="T84" fmla="*/ 2147483647 w 255"/>
                <a:gd name="T85" fmla="*/ 2147483647 h 394"/>
                <a:gd name="T86" fmla="*/ 2147483647 w 255"/>
                <a:gd name="T87" fmla="*/ 2147483647 h 394"/>
                <a:gd name="T88" fmla="*/ 2147483647 w 255"/>
                <a:gd name="T89" fmla="*/ 2147483647 h 394"/>
                <a:gd name="T90" fmla="*/ 2147483647 w 255"/>
                <a:gd name="T91" fmla="*/ 2147483647 h 39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55" h="394">
                  <a:moveTo>
                    <a:pt x="247" y="53"/>
                  </a:moveTo>
                  <a:cubicBezTo>
                    <a:pt x="251" y="53"/>
                    <a:pt x="255" y="50"/>
                    <a:pt x="255" y="45"/>
                  </a:cubicBezTo>
                  <a:cubicBezTo>
                    <a:pt x="255" y="19"/>
                    <a:pt x="255" y="19"/>
                    <a:pt x="255" y="19"/>
                  </a:cubicBezTo>
                  <a:cubicBezTo>
                    <a:pt x="255" y="8"/>
                    <a:pt x="246" y="0"/>
                    <a:pt x="235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9" y="0"/>
                    <a:pt x="0" y="8"/>
                    <a:pt x="0" y="19"/>
                  </a:cubicBezTo>
                  <a:cubicBezTo>
                    <a:pt x="0" y="374"/>
                    <a:pt x="0" y="374"/>
                    <a:pt x="0" y="374"/>
                  </a:cubicBezTo>
                  <a:cubicBezTo>
                    <a:pt x="0" y="385"/>
                    <a:pt x="9" y="394"/>
                    <a:pt x="19" y="394"/>
                  </a:cubicBezTo>
                  <a:cubicBezTo>
                    <a:pt x="235" y="394"/>
                    <a:pt x="235" y="394"/>
                    <a:pt x="235" y="394"/>
                  </a:cubicBezTo>
                  <a:cubicBezTo>
                    <a:pt x="246" y="394"/>
                    <a:pt x="255" y="385"/>
                    <a:pt x="255" y="374"/>
                  </a:cubicBezTo>
                  <a:cubicBezTo>
                    <a:pt x="255" y="77"/>
                    <a:pt x="255" y="77"/>
                    <a:pt x="255" y="77"/>
                  </a:cubicBezTo>
                  <a:cubicBezTo>
                    <a:pt x="255" y="73"/>
                    <a:pt x="251" y="69"/>
                    <a:pt x="247" y="69"/>
                  </a:cubicBezTo>
                  <a:cubicBezTo>
                    <a:pt x="242" y="69"/>
                    <a:pt x="239" y="73"/>
                    <a:pt x="239" y="77"/>
                  </a:cubicBezTo>
                  <a:cubicBezTo>
                    <a:pt x="239" y="374"/>
                    <a:pt x="239" y="374"/>
                    <a:pt x="239" y="374"/>
                  </a:cubicBezTo>
                  <a:cubicBezTo>
                    <a:pt x="239" y="376"/>
                    <a:pt x="237" y="378"/>
                    <a:pt x="235" y="378"/>
                  </a:cubicBezTo>
                  <a:cubicBezTo>
                    <a:pt x="19" y="378"/>
                    <a:pt x="19" y="378"/>
                    <a:pt x="19" y="378"/>
                  </a:cubicBezTo>
                  <a:cubicBezTo>
                    <a:pt x="17" y="378"/>
                    <a:pt x="16" y="376"/>
                    <a:pt x="16" y="374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17"/>
                    <a:pt x="17" y="16"/>
                    <a:pt x="19" y="16"/>
                  </a:cubicBezTo>
                  <a:cubicBezTo>
                    <a:pt x="235" y="16"/>
                    <a:pt x="235" y="16"/>
                    <a:pt x="235" y="16"/>
                  </a:cubicBezTo>
                  <a:cubicBezTo>
                    <a:pt x="237" y="16"/>
                    <a:pt x="239" y="17"/>
                    <a:pt x="239" y="19"/>
                  </a:cubicBezTo>
                  <a:cubicBezTo>
                    <a:pt x="239" y="45"/>
                    <a:pt x="239" y="45"/>
                    <a:pt x="239" y="45"/>
                  </a:cubicBezTo>
                  <a:cubicBezTo>
                    <a:pt x="239" y="50"/>
                    <a:pt x="242" y="53"/>
                    <a:pt x="247" y="53"/>
                  </a:cubicBezTo>
                  <a:close/>
                  <a:moveTo>
                    <a:pt x="207" y="115"/>
                  </a:moveTo>
                  <a:cubicBezTo>
                    <a:pt x="199" y="115"/>
                    <a:pt x="193" y="121"/>
                    <a:pt x="193" y="129"/>
                  </a:cubicBezTo>
                  <a:cubicBezTo>
                    <a:pt x="193" y="137"/>
                    <a:pt x="199" y="143"/>
                    <a:pt x="207" y="143"/>
                  </a:cubicBezTo>
                  <a:cubicBezTo>
                    <a:pt x="215" y="143"/>
                    <a:pt x="221" y="137"/>
                    <a:pt x="221" y="129"/>
                  </a:cubicBezTo>
                  <a:cubicBezTo>
                    <a:pt x="221" y="121"/>
                    <a:pt x="215" y="115"/>
                    <a:pt x="207" y="115"/>
                  </a:cubicBezTo>
                  <a:close/>
                  <a:moveTo>
                    <a:pt x="207" y="47"/>
                  </a:moveTo>
                  <a:cubicBezTo>
                    <a:pt x="199" y="47"/>
                    <a:pt x="193" y="53"/>
                    <a:pt x="193" y="61"/>
                  </a:cubicBezTo>
                  <a:cubicBezTo>
                    <a:pt x="193" y="69"/>
                    <a:pt x="199" y="75"/>
                    <a:pt x="207" y="75"/>
                  </a:cubicBezTo>
                  <a:cubicBezTo>
                    <a:pt x="215" y="75"/>
                    <a:pt x="221" y="69"/>
                    <a:pt x="221" y="61"/>
                  </a:cubicBezTo>
                  <a:cubicBezTo>
                    <a:pt x="221" y="53"/>
                    <a:pt x="215" y="47"/>
                    <a:pt x="207" y="47"/>
                  </a:cubicBezTo>
                  <a:close/>
                  <a:moveTo>
                    <a:pt x="207" y="318"/>
                  </a:moveTo>
                  <a:cubicBezTo>
                    <a:pt x="199" y="318"/>
                    <a:pt x="193" y="325"/>
                    <a:pt x="193" y="332"/>
                  </a:cubicBezTo>
                  <a:cubicBezTo>
                    <a:pt x="193" y="340"/>
                    <a:pt x="199" y="346"/>
                    <a:pt x="207" y="346"/>
                  </a:cubicBezTo>
                  <a:cubicBezTo>
                    <a:pt x="215" y="346"/>
                    <a:pt x="221" y="340"/>
                    <a:pt x="221" y="332"/>
                  </a:cubicBezTo>
                  <a:cubicBezTo>
                    <a:pt x="221" y="325"/>
                    <a:pt x="215" y="318"/>
                    <a:pt x="207" y="318"/>
                  </a:cubicBezTo>
                  <a:close/>
                  <a:moveTo>
                    <a:pt x="207" y="183"/>
                  </a:moveTo>
                  <a:cubicBezTo>
                    <a:pt x="199" y="183"/>
                    <a:pt x="193" y="189"/>
                    <a:pt x="193" y="197"/>
                  </a:cubicBezTo>
                  <a:cubicBezTo>
                    <a:pt x="193" y="205"/>
                    <a:pt x="199" y="211"/>
                    <a:pt x="207" y="211"/>
                  </a:cubicBezTo>
                  <a:cubicBezTo>
                    <a:pt x="215" y="211"/>
                    <a:pt x="221" y="205"/>
                    <a:pt x="221" y="197"/>
                  </a:cubicBezTo>
                  <a:cubicBezTo>
                    <a:pt x="221" y="189"/>
                    <a:pt x="215" y="183"/>
                    <a:pt x="207" y="183"/>
                  </a:cubicBezTo>
                  <a:close/>
                  <a:moveTo>
                    <a:pt x="207" y="251"/>
                  </a:moveTo>
                  <a:cubicBezTo>
                    <a:pt x="199" y="251"/>
                    <a:pt x="193" y="257"/>
                    <a:pt x="193" y="265"/>
                  </a:cubicBezTo>
                  <a:cubicBezTo>
                    <a:pt x="193" y="272"/>
                    <a:pt x="199" y="279"/>
                    <a:pt x="207" y="279"/>
                  </a:cubicBezTo>
                  <a:cubicBezTo>
                    <a:pt x="215" y="279"/>
                    <a:pt x="221" y="272"/>
                    <a:pt x="221" y="265"/>
                  </a:cubicBezTo>
                  <a:cubicBezTo>
                    <a:pt x="221" y="257"/>
                    <a:pt x="215" y="251"/>
                    <a:pt x="207" y="251"/>
                  </a:cubicBezTo>
                  <a:close/>
                  <a:moveTo>
                    <a:pt x="178" y="57"/>
                  </a:moveTo>
                  <a:cubicBezTo>
                    <a:pt x="178" y="46"/>
                    <a:pt x="169" y="37"/>
                    <a:pt x="159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43" y="37"/>
                    <a:pt x="34" y="46"/>
                    <a:pt x="34" y="57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4" y="76"/>
                    <a:pt x="43" y="85"/>
                    <a:pt x="53" y="85"/>
                  </a:cubicBezTo>
                  <a:cubicBezTo>
                    <a:pt x="159" y="85"/>
                    <a:pt x="159" y="85"/>
                    <a:pt x="159" y="85"/>
                  </a:cubicBezTo>
                  <a:cubicBezTo>
                    <a:pt x="169" y="85"/>
                    <a:pt x="178" y="76"/>
                    <a:pt x="178" y="66"/>
                  </a:cubicBezTo>
                  <a:lnTo>
                    <a:pt x="178" y="57"/>
                  </a:lnTo>
                  <a:close/>
                  <a:moveTo>
                    <a:pt x="162" y="66"/>
                  </a:moveTo>
                  <a:cubicBezTo>
                    <a:pt x="162" y="68"/>
                    <a:pt x="160" y="69"/>
                    <a:pt x="159" y="69"/>
                  </a:cubicBezTo>
                  <a:cubicBezTo>
                    <a:pt x="53" y="69"/>
                    <a:pt x="53" y="69"/>
                    <a:pt x="53" y="69"/>
                  </a:cubicBezTo>
                  <a:cubicBezTo>
                    <a:pt x="51" y="69"/>
                    <a:pt x="50" y="68"/>
                    <a:pt x="50" y="66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50" y="55"/>
                    <a:pt x="51" y="53"/>
                    <a:pt x="53" y="53"/>
                  </a:cubicBezTo>
                  <a:cubicBezTo>
                    <a:pt x="159" y="53"/>
                    <a:pt x="159" y="53"/>
                    <a:pt x="159" y="53"/>
                  </a:cubicBezTo>
                  <a:cubicBezTo>
                    <a:pt x="160" y="53"/>
                    <a:pt x="162" y="55"/>
                    <a:pt x="162" y="57"/>
                  </a:cubicBezTo>
                  <a:lnTo>
                    <a:pt x="162" y="66"/>
                  </a:lnTo>
                  <a:close/>
                  <a:moveTo>
                    <a:pt x="178" y="125"/>
                  </a:moveTo>
                  <a:cubicBezTo>
                    <a:pt x="178" y="114"/>
                    <a:pt x="169" y="105"/>
                    <a:pt x="159" y="105"/>
                  </a:cubicBezTo>
                  <a:cubicBezTo>
                    <a:pt x="53" y="105"/>
                    <a:pt x="53" y="105"/>
                    <a:pt x="53" y="105"/>
                  </a:cubicBezTo>
                  <a:cubicBezTo>
                    <a:pt x="43" y="105"/>
                    <a:pt x="34" y="114"/>
                    <a:pt x="34" y="125"/>
                  </a:cubicBezTo>
                  <a:cubicBezTo>
                    <a:pt x="34" y="133"/>
                    <a:pt x="34" y="133"/>
                    <a:pt x="34" y="133"/>
                  </a:cubicBezTo>
                  <a:cubicBezTo>
                    <a:pt x="34" y="144"/>
                    <a:pt x="43" y="153"/>
                    <a:pt x="53" y="153"/>
                  </a:cubicBezTo>
                  <a:cubicBezTo>
                    <a:pt x="159" y="153"/>
                    <a:pt x="159" y="153"/>
                    <a:pt x="159" y="153"/>
                  </a:cubicBezTo>
                  <a:cubicBezTo>
                    <a:pt x="169" y="153"/>
                    <a:pt x="178" y="144"/>
                    <a:pt x="178" y="133"/>
                  </a:cubicBezTo>
                  <a:lnTo>
                    <a:pt x="178" y="125"/>
                  </a:lnTo>
                  <a:close/>
                  <a:moveTo>
                    <a:pt x="162" y="133"/>
                  </a:moveTo>
                  <a:cubicBezTo>
                    <a:pt x="162" y="135"/>
                    <a:pt x="160" y="137"/>
                    <a:pt x="159" y="137"/>
                  </a:cubicBezTo>
                  <a:cubicBezTo>
                    <a:pt x="53" y="137"/>
                    <a:pt x="53" y="137"/>
                    <a:pt x="53" y="137"/>
                  </a:cubicBezTo>
                  <a:cubicBezTo>
                    <a:pt x="51" y="137"/>
                    <a:pt x="50" y="135"/>
                    <a:pt x="50" y="133"/>
                  </a:cubicBezTo>
                  <a:cubicBezTo>
                    <a:pt x="50" y="125"/>
                    <a:pt x="50" y="125"/>
                    <a:pt x="50" y="125"/>
                  </a:cubicBezTo>
                  <a:cubicBezTo>
                    <a:pt x="50" y="123"/>
                    <a:pt x="51" y="121"/>
                    <a:pt x="53" y="121"/>
                  </a:cubicBezTo>
                  <a:cubicBezTo>
                    <a:pt x="159" y="121"/>
                    <a:pt x="159" y="121"/>
                    <a:pt x="159" y="121"/>
                  </a:cubicBezTo>
                  <a:cubicBezTo>
                    <a:pt x="160" y="121"/>
                    <a:pt x="162" y="123"/>
                    <a:pt x="162" y="125"/>
                  </a:cubicBezTo>
                  <a:lnTo>
                    <a:pt x="162" y="133"/>
                  </a:lnTo>
                  <a:close/>
                  <a:moveTo>
                    <a:pt x="178" y="260"/>
                  </a:moveTo>
                  <a:cubicBezTo>
                    <a:pt x="178" y="249"/>
                    <a:pt x="169" y="241"/>
                    <a:pt x="159" y="241"/>
                  </a:cubicBezTo>
                  <a:cubicBezTo>
                    <a:pt x="53" y="241"/>
                    <a:pt x="53" y="241"/>
                    <a:pt x="53" y="241"/>
                  </a:cubicBezTo>
                  <a:cubicBezTo>
                    <a:pt x="43" y="241"/>
                    <a:pt x="34" y="249"/>
                    <a:pt x="34" y="260"/>
                  </a:cubicBezTo>
                  <a:cubicBezTo>
                    <a:pt x="34" y="269"/>
                    <a:pt x="34" y="269"/>
                    <a:pt x="34" y="269"/>
                  </a:cubicBezTo>
                  <a:cubicBezTo>
                    <a:pt x="34" y="280"/>
                    <a:pt x="43" y="288"/>
                    <a:pt x="53" y="288"/>
                  </a:cubicBezTo>
                  <a:cubicBezTo>
                    <a:pt x="159" y="288"/>
                    <a:pt x="159" y="288"/>
                    <a:pt x="159" y="288"/>
                  </a:cubicBezTo>
                  <a:cubicBezTo>
                    <a:pt x="169" y="288"/>
                    <a:pt x="178" y="280"/>
                    <a:pt x="178" y="269"/>
                  </a:cubicBezTo>
                  <a:lnTo>
                    <a:pt x="178" y="260"/>
                  </a:lnTo>
                  <a:close/>
                  <a:moveTo>
                    <a:pt x="162" y="269"/>
                  </a:moveTo>
                  <a:cubicBezTo>
                    <a:pt x="162" y="271"/>
                    <a:pt x="160" y="272"/>
                    <a:pt x="159" y="272"/>
                  </a:cubicBezTo>
                  <a:cubicBezTo>
                    <a:pt x="53" y="272"/>
                    <a:pt x="53" y="272"/>
                    <a:pt x="53" y="272"/>
                  </a:cubicBezTo>
                  <a:cubicBezTo>
                    <a:pt x="51" y="272"/>
                    <a:pt x="50" y="271"/>
                    <a:pt x="50" y="269"/>
                  </a:cubicBezTo>
                  <a:cubicBezTo>
                    <a:pt x="50" y="260"/>
                    <a:pt x="50" y="260"/>
                    <a:pt x="50" y="260"/>
                  </a:cubicBezTo>
                  <a:cubicBezTo>
                    <a:pt x="50" y="258"/>
                    <a:pt x="51" y="257"/>
                    <a:pt x="53" y="257"/>
                  </a:cubicBezTo>
                  <a:cubicBezTo>
                    <a:pt x="159" y="257"/>
                    <a:pt x="159" y="257"/>
                    <a:pt x="159" y="257"/>
                  </a:cubicBezTo>
                  <a:cubicBezTo>
                    <a:pt x="160" y="257"/>
                    <a:pt x="162" y="258"/>
                    <a:pt x="162" y="260"/>
                  </a:cubicBezTo>
                  <a:lnTo>
                    <a:pt x="162" y="269"/>
                  </a:lnTo>
                  <a:close/>
                  <a:moveTo>
                    <a:pt x="178" y="192"/>
                  </a:moveTo>
                  <a:cubicBezTo>
                    <a:pt x="178" y="182"/>
                    <a:pt x="169" y="173"/>
                    <a:pt x="159" y="173"/>
                  </a:cubicBezTo>
                  <a:cubicBezTo>
                    <a:pt x="53" y="173"/>
                    <a:pt x="53" y="173"/>
                    <a:pt x="53" y="173"/>
                  </a:cubicBezTo>
                  <a:cubicBezTo>
                    <a:pt x="43" y="173"/>
                    <a:pt x="34" y="182"/>
                    <a:pt x="34" y="192"/>
                  </a:cubicBezTo>
                  <a:cubicBezTo>
                    <a:pt x="34" y="201"/>
                    <a:pt x="34" y="201"/>
                    <a:pt x="34" y="201"/>
                  </a:cubicBezTo>
                  <a:cubicBezTo>
                    <a:pt x="34" y="212"/>
                    <a:pt x="43" y="221"/>
                    <a:pt x="53" y="221"/>
                  </a:cubicBezTo>
                  <a:cubicBezTo>
                    <a:pt x="159" y="221"/>
                    <a:pt x="159" y="221"/>
                    <a:pt x="159" y="221"/>
                  </a:cubicBezTo>
                  <a:cubicBezTo>
                    <a:pt x="169" y="221"/>
                    <a:pt x="178" y="212"/>
                    <a:pt x="178" y="201"/>
                  </a:cubicBezTo>
                  <a:lnTo>
                    <a:pt x="178" y="192"/>
                  </a:lnTo>
                  <a:close/>
                  <a:moveTo>
                    <a:pt x="162" y="201"/>
                  </a:moveTo>
                  <a:cubicBezTo>
                    <a:pt x="162" y="203"/>
                    <a:pt x="160" y="205"/>
                    <a:pt x="159" y="205"/>
                  </a:cubicBezTo>
                  <a:cubicBezTo>
                    <a:pt x="53" y="205"/>
                    <a:pt x="53" y="205"/>
                    <a:pt x="53" y="205"/>
                  </a:cubicBezTo>
                  <a:cubicBezTo>
                    <a:pt x="51" y="205"/>
                    <a:pt x="50" y="203"/>
                    <a:pt x="50" y="201"/>
                  </a:cubicBezTo>
                  <a:cubicBezTo>
                    <a:pt x="50" y="192"/>
                    <a:pt x="50" y="192"/>
                    <a:pt x="50" y="192"/>
                  </a:cubicBezTo>
                  <a:cubicBezTo>
                    <a:pt x="50" y="190"/>
                    <a:pt x="51" y="189"/>
                    <a:pt x="53" y="189"/>
                  </a:cubicBezTo>
                  <a:cubicBezTo>
                    <a:pt x="159" y="189"/>
                    <a:pt x="159" y="189"/>
                    <a:pt x="159" y="189"/>
                  </a:cubicBezTo>
                  <a:cubicBezTo>
                    <a:pt x="160" y="189"/>
                    <a:pt x="162" y="190"/>
                    <a:pt x="162" y="192"/>
                  </a:cubicBezTo>
                  <a:lnTo>
                    <a:pt x="162" y="201"/>
                  </a:lnTo>
                  <a:close/>
                  <a:moveTo>
                    <a:pt x="159" y="309"/>
                  </a:moveTo>
                  <a:cubicBezTo>
                    <a:pt x="53" y="309"/>
                    <a:pt x="53" y="309"/>
                    <a:pt x="53" y="309"/>
                  </a:cubicBezTo>
                  <a:cubicBezTo>
                    <a:pt x="43" y="309"/>
                    <a:pt x="34" y="317"/>
                    <a:pt x="34" y="328"/>
                  </a:cubicBezTo>
                  <a:cubicBezTo>
                    <a:pt x="34" y="337"/>
                    <a:pt x="34" y="337"/>
                    <a:pt x="34" y="337"/>
                  </a:cubicBezTo>
                  <a:cubicBezTo>
                    <a:pt x="34" y="348"/>
                    <a:pt x="43" y="356"/>
                    <a:pt x="53" y="356"/>
                  </a:cubicBezTo>
                  <a:cubicBezTo>
                    <a:pt x="159" y="356"/>
                    <a:pt x="159" y="356"/>
                    <a:pt x="159" y="356"/>
                  </a:cubicBezTo>
                  <a:cubicBezTo>
                    <a:pt x="169" y="356"/>
                    <a:pt x="178" y="348"/>
                    <a:pt x="178" y="337"/>
                  </a:cubicBezTo>
                  <a:cubicBezTo>
                    <a:pt x="178" y="328"/>
                    <a:pt x="178" y="328"/>
                    <a:pt x="178" y="328"/>
                  </a:cubicBezTo>
                  <a:cubicBezTo>
                    <a:pt x="178" y="317"/>
                    <a:pt x="169" y="309"/>
                    <a:pt x="159" y="309"/>
                  </a:cubicBezTo>
                  <a:close/>
                  <a:moveTo>
                    <a:pt x="162" y="337"/>
                  </a:moveTo>
                  <a:cubicBezTo>
                    <a:pt x="162" y="339"/>
                    <a:pt x="160" y="340"/>
                    <a:pt x="159" y="340"/>
                  </a:cubicBezTo>
                  <a:cubicBezTo>
                    <a:pt x="53" y="340"/>
                    <a:pt x="53" y="340"/>
                    <a:pt x="53" y="340"/>
                  </a:cubicBezTo>
                  <a:cubicBezTo>
                    <a:pt x="51" y="340"/>
                    <a:pt x="50" y="339"/>
                    <a:pt x="50" y="337"/>
                  </a:cubicBezTo>
                  <a:cubicBezTo>
                    <a:pt x="50" y="328"/>
                    <a:pt x="50" y="328"/>
                    <a:pt x="50" y="328"/>
                  </a:cubicBezTo>
                  <a:cubicBezTo>
                    <a:pt x="50" y="326"/>
                    <a:pt x="51" y="325"/>
                    <a:pt x="53" y="325"/>
                  </a:cubicBezTo>
                  <a:cubicBezTo>
                    <a:pt x="159" y="325"/>
                    <a:pt x="159" y="325"/>
                    <a:pt x="159" y="325"/>
                  </a:cubicBezTo>
                  <a:cubicBezTo>
                    <a:pt x="160" y="325"/>
                    <a:pt x="162" y="326"/>
                    <a:pt x="162" y="328"/>
                  </a:cubicBezTo>
                  <a:lnTo>
                    <a:pt x="162" y="337"/>
                  </a:lnTo>
                  <a:close/>
                </a:path>
              </a:pathLst>
            </a:custGeom>
            <a:solidFill>
              <a:srgbClr val="0028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" name="Freeform 3"/>
            <p:cNvSpPr>
              <a:spLocks noChangeAspect="1" noEditPoints="1"/>
            </p:cNvSpPr>
            <p:nvPr/>
          </p:nvSpPr>
          <p:spPr bwMode="auto">
            <a:xfrm>
              <a:off x="8185150" y="5162550"/>
              <a:ext cx="598488" cy="803275"/>
            </a:xfrm>
            <a:custGeom>
              <a:avLst/>
              <a:gdLst>
                <a:gd name="T0" fmla="*/ 2147483647 w 255"/>
                <a:gd name="T1" fmla="*/ 2147483647 h 394"/>
                <a:gd name="T2" fmla="*/ 0 w 255"/>
                <a:gd name="T3" fmla="*/ 2147483647 h 394"/>
                <a:gd name="T4" fmla="*/ 2147483647 w 255"/>
                <a:gd name="T5" fmla="*/ 2147483647 h 394"/>
                <a:gd name="T6" fmla="*/ 2147483647 w 255"/>
                <a:gd name="T7" fmla="*/ 2147483647 h 394"/>
                <a:gd name="T8" fmla="*/ 2147483647 w 255"/>
                <a:gd name="T9" fmla="*/ 2147483647 h 394"/>
                <a:gd name="T10" fmla="*/ 2147483647 w 255"/>
                <a:gd name="T11" fmla="*/ 2147483647 h 394"/>
                <a:gd name="T12" fmla="*/ 2147483647 w 255"/>
                <a:gd name="T13" fmla="*/ 2147483647 h 394"/>
                <a:gd name="T14" fmla="*/ 2147483647 w 255"/>
                <a:gd name="T15" fmla="*/ 2147483647 h 394"/>
                <a:gd name="T16" fmla="*/ 2147483647 w 255"/>
                <a:gd name="T17" fmla="*/ 2147483647 h 394"/>
                <a:gd name="T18" fmla="*/ 2147483647 w 255"/>
                <a:gd name="T19" fmla="*/ 2147483647 h 394"/>
                <a:gd name="T20" fmla="*/ 2147483647 w 255"/>
                <a:gd name="T21" fmla="*/ 2147483647 h 394"/>
                <a:gd name="T22" fmla="*/ 2147483647 w 255"/>
                <a:gd name="T23" fmla="*/ 2147483647 h 394"/>
                <a:gd name="T24" fmla="*/ 2147483647 w 255"/>
                <a:gd name="T25" fmla="*/ 2147483647 h 394"/>
                <a:gd name="T26" fmla="*/ 2147483647 w 255"/>
                <a:gd name="T27" fmla="*/ 2147483647 h 394"/>
                <a:gd name="T28" fmla="*/ 2147483647 w 255"/>
                <a:gd name="T29" fmla="*/ 2147483647 h 394"/>
                <a:gd name="T30" fmla="*/ 2147483647 w 255"/>
                <a:gd name="T31" fmla="*/ 2147483647 h 394"/>
                <a:gd name="T32" fmla="*/ 2147483647 w 255"/>
                <a:gd name="T33" fmla="*/ 2147483647 h 394"/>
                <a:gd name="T34" fmla="*/ 2147483647 w 255"/>
                <a:gd name="T35" fmla="*/ 2147483647 h 394"/>
                <a:gd name="T36" fmla="*/ 2147483647 w 255"/>
                <a:gd name="T37" fmla="*/ 2147483647 h 394"/>
                <a:gd name="T38" fmla="*/ 2147483647 w 255"/>
                <a:gd name="T39" fmla="*/ 2147483647 h 394"/>
                <a:gd name="T40" fmla="*/ 2147483647 w 255"/>
                <a:gd name="T41" fmla="*/ 2147483647 h 394"/>
                <a:gd name="T42" fmla="*/ 2147483647 w 255"/>
                <a:gd name="T43" fmla="*/ 2147483647 h 394"/>
                <a:gd name="T44" fmla="*/ 2147483647 w 255"/>
                <a:gd name="T45" fmla="*/ 2147483647 h 394"/>
                <a:gd name="T46" fmla="*/ 2147483647 w 255"/>
                <a:gd name="T47" fmla="*/ 2147483647 h 394"/>
                <a:gd name="T48" fmla="*/ 2147483647 w 255"/>
                <a:gd name="T49" fmla="*/ 2147483647 h 394"/>
                <a:gd name="T50" fmla="*/ 2147483647 w 255"/>
                <a:gd name="T51" fmla="*/ 2147483647 h 394"/>
                <a:gd name="T52" fmla="*/ 2147483647 w 255"/>
                <a:gd name="T53" fmla="*/ 2147483647 h 394"/>
                <a:gd name="T54" fmla="*/ 2147483647 w 255"/>
                <a:gd name="T55" fmla="*/ 2147483647 h 394"/>
                <a:gd name="T56" fmla="*/ 2147483647 w 255"/>
                <a:gd name="T57" fmla="*/ 2147483647 h 394"/>
                <a:gd name="T58" fmla="*/ 2147483647 w 255"/>
                <a:gd name="T59" fmla="*/ 2147483647 h 394"/>
                <a:gd name="T60" fmla="*/ 2147483647 w 255"/>
                <a:gd name="T61" fmla="*/ 2147483647 h 394"/>
                <a:gd name="T62" fmla="*/ 2147483647 w 255"/>
                <a:gd name="T63" fmla="*/ 2147483647 h 394"/>
                <a:gd name="T64" fmla="*/ 2147483647 w 255"/>
                <a:gd name="T65" fmla="*/ 2147483647 h 394"/>
                <a:gd name="T66" fmla="*/ 2147483647 w 255"/>
                <a:gd name="T67" fmla="*/ 2147483647 h 394"/>
                <a:gd name="T68" fmla="*/ 2147483647 w 255"/>
                <a:gd name="T69" fmla="*/ 2147483647 h 394"/>
                <a:gd name="T70" fmla="*/ 2147483647 w 255"/>
                <a:gd name="T71" fmla="*/ 2147483647 h 394"/>
                <a:gd name="T72" fmla="*/ 2147483647 w 255"/>
                <a:gd name="T73" fmla="*/ 2147483647 h 394"/>
                <a:gd name="T74" fmla="*/ 2147483647 w 255"/>
                <a:gd name="T75" fmla="*/ 2147483647 h 394"/>
                <a:gd name="T76" fmla="*/ 2147483647 w 255"/>
                <a:gd name="T77" fmla="*/ 2147483647 h 394"/>
                <a:gd name="T78" fmla="*/ 2147483647 w 255"/>
                <a:gd name="T79" fmla="*/ 2147483647 h 394"/>
                <a:gd name="T80" fmla="*/ 2147483647 w 255"/>
                <a:gd name="T81" fmla="*/ 2147483647 h 394"/>
                <a:gd name="T82" fmla="*/ 2147483647 w 255"/>
                <a:gd name="T83" fmla="*/ 2147483647 h 394"/>
                <a:gd name="T84" fmla="*/ 2147483647 w 255"/>
                <a:gd name="T85" fmla="*/ 2147483647 h 394"/>
                <a:gd name="T86" fmla="*/ 2147483647 w 255"/>
                <a:gd name="T87" fmla="*/ 2147483647 h 394"/>
                <a:gd name="T88" fmla="*/ 2147483647 w 255"/>
                <a:gd name="T89" fmla="*/ 2147483647 h 394"/>
                <a:gd name="T90" fmla="*/ 2147483647 w 255"/>
                <a:gd name="T91" fmla="*/ 2147483647 h 39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55" h="394">
                  <a:moveTo>
                    <a:pt x="247" y="53"/>
                  </a:moveTo>
                  <a:cubicBezTo>
                    <a:pt x="251" y="53"/>
                    <a:pt x="255" y="50"/>
                    <a:pt x="255" y="45"/>
                  </a:cubicBezTo>
                  <a:cubicBezTo>
                    <a:pt x="255" y="19"/>
                    <a:pt x="255" y="19"/>
                    <a:pt x="255" y="19"/>
                  </a:cubicBezTo>
                  <a:cubicBezTo>
                    <a:pt x="255" y="8"/>
                    <a:pt x="246" y="0"/>
                    <a:pt x="235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9" y="0"/>
                    <a:pt x="0" y="8"/>
                    <a:pt x="0" y="19"/>
                  </a:cubicBezTo>
                  <a:cubicBezTo>
                    <a:pt x="0" y="374"/>
                    <a:pt x="0" y="374"/>
                    <a:pt x="0" y="374"/>
                  </a:cubicBezTo>
                  <a:cubicBezTo>
                    <a:pt x="0" y="385"/>
                    <a:pt x="9" y="394"/>
                    <a:pt x="19" y="394"/>
                  </a:cubicBezTo>
                  <a:cubicBezTo>
                    <a:pt x="235" y="394"/>
                    <a:pt x="235" y="394"/>
                    <a:pt x="235" y="394"/>
                  </a:cubicBezTo>
                  <a:cubicBezTo>
                    <a:pt x="246" y="394"/>
                    <a:pt x="255" y="385"/>
                    <a:pt x="255" y="374"/>
                  </a:cubicBezTo>
                  <a:cubicBezTo>
                    <a:pt x="255" y="77"/>
                    <a:pt x="255" y="77"/>
                    <a:pt x="255" y="77"/>
                  </a:cubicBezTo>
                  <a:cubicBezTo>
                    <a:pt x="255" y="73"/>
                    <a:pt x="251" y="69"/>
                    <a:pt x="247" y="69"/>
                  </a:cubicBezTo>
                  <a:cubicBezTo>
                    <a:pt x="242" y="69"/>
                    <a:pt x="239" y="73"/>
                    <a:pt x="239" y="77"/>
                  </a:cubicBezTo>
                  <a:cubicBezTo>
                    <a:pt x="239" y="374"/>
                    <a:pt x="239" y="374"/>
                    <a:pt x="239" y="374"/>
                  </a:cubicBezTo>
                  <a:cubicBezTo>
                    <a:pt x="239" y="376"/>
                    <a:pt x="237" y="378"/>
                    <a:pt x="235" y="378"/>
                  </a:cubicBezTo>
                  <a:cubicBezTo>
                    <a:pt x="19" y="378"/>
                    <a:pt x="19" y="378"/>
                    <a:pt x="19" y="378"/>
                  </a:cubicBezTo>
                  <a:cubicBezTo>
                    <a:pt x="17" y="378"/>
                    <a:pt x="16" y="376"/>
                    <a:pt x="16" y="374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17"/>
                    <a:pt x="17" y="16"/>
                    <a:pt x="19" y="16"/>
                  </a:cubicBezTo>
                  <a:cubicBezTo>
                    <a:pt x="235" y="16"/>
                    <a:pt x="235" y="16"/>
                    <a:pt x="235" y="16"/>
                  </a:cubicBezTo>
                  <a:cubicBezTo>
                    <a:pt x="237" y="16"/>
                    <a:pt x="239" y="17"/>
                    <a:pt x="239" y="19"/>
                  </a:cubicBezTo>
                  <a:cubicBezTo>
                    <a:pt x="239" y="45"/>
                    <a:pt x="239" y="45"/>
                    <a:pt x="239" y="45"/>
                  </a:cubicBezTo>
                  <a:cubicBezTo>
                    <a:pt x="239" y="50"/>
                    <a:pt x="242" y="53"/>
                    <a:pt x="247" y="53"/>
                  </a:cubicBezTo>
                  <a:close/>
                  <a:moveTo>
                    <a:pt x="207" y="115"/>
                  </a:moveTo>
                  <a:cubicBezTo>
                    <a:pt x="199" y="115"/>
                    <a:pt x="193" y="121"/>
                    <a:pt x="193" y="129"/>
                  </a:cubicBezTo>
                  <a:cubicBezTo>
                    <a:pt x="193" y="137"/>
                    <a:pt x="199" y="143"/>
                    <a:pt x="207" y="143"/>
                  </a:cubicBezTo>
                  <a:cubicBezTo>
                    <a:pt x="215" y="143"/>
                    <a:pt x="221" y="137"/>
                    <a:pt x="221" y="129"/>
                  </a:cubicBezTo>
                  <a:cubicBezTo>
                    <a:pt x="221" y="121"/>
                    <a:pt x="215" y="115"/>
                    <a:pt x="207" y="115"/>
                  </a:cubicBezTo>
                  <a:close/>
                  <a:moveTo>
                    <a:pt x="207" y="47"/>
                  </a:moveTo>
                  <a:cubicBezTo>
                    <a:pt x="199" y="47"/>
                    <a:pt x="193" y="53"/>
                    <a:pt x="193" y="61"/>
                  </a:cubicBezTo>
                  <a:cubicBezTo>
                    <a:pt x="193" y="69"/>
                    <a:pt x="199" y="75"/>
                    <a:pt x="207" y="75"/>
                  </a:cubicBezTo>
                  <a:cubicBezTo>
                    <a:pt x="215" y="75"/>
                    <a:pt x="221" y="69"/>
                    <a:pt x="221" y="61"/>
                  </a:cubicBezTo>
                  <a:cubicBezTo>
                    <a:pt x="221" y="53"/>
                    <a:pt x="215" y="47"/>
                    <a:pt x="207" y="47"/>
                  </a:cubicBezTo>
                  <a:close/>
                  <a:moveTo>
                    <a:pt x="207" y="318"/>
                  </a:moveTo>
                  <a:cubicBezTo>
                    <a:pt x="199" y="318"/>
                    <a:pt x="193" y="325"/>
                    <a:pt x="193" y="332"/>
                  </a:cubicBezTo>
                  <a:cubicBezTo>
                    <a:pt x="193" y="340"/>
                    <a:pt x="199" y="346"/>
                    <a:pt x="207" y="346"/>
                  </a:cubicBezTo>
                  <a:cubicBezTo>
                    <a:pt x="215" y="346"/>
                    <a:pt x="221" y="340"/>
                    <a:pt x="221" y="332"/>
                  </a:cubicBezTo>
                  <a:cubicBezTo>
                    <a:pt x="221" y="325"/>
                    <a:pt x="215" y="318"/>
                    <a:pt x="207" y="318"/>
                  </a:cubicBezTo>
                  <a:close/>
                  <a:moveTo>
                    <a:pt x="207" y="183"/>
                  </a:moveTo>
                  <a:cubicBezTo>
                    <a:pt x="199" y="183"/>
                    <a:pt x="193" y="189"/>
                    <a:pt x="193" y="197"/>
                  </a:cubicBezTo>
                  <a:cubicBezTo>
                    <a:pt x="193" y="205"/>
                    <a:pt x="199" y="211"/>
                    <a:pt x="207" y="211"/>
                  </a:cubicBezTo>
                  <a:cubicBezTo>
                    <a:pt x="215" y="211"/>
                    <a:pt x="221" y="205"/>
                    <a:pt x="221" y="197"/>
                  </a:cubicBezTo>
                  <a:cubicBezTo>
                    <a:pt x="221" y="189"/>
                    <a:pt x="215" y="183"/>
                    <a:pt x="207" y="183"/>
                  </a:cubicBezTo>
                  <a:close/>
                  <a:moveTo>
                    <a:pt x="207" y="251"/>
                  </a:moveTo>
                  <a:cubicBezTo>
                    <a:pt x="199" y="251"/>
                    <a:pt x="193" y="257"/>
                    <a:pt x="193" y="265"/>
                  </a:cubicBezTo>
                  <a:cubicBezTo>
                    <a:pt x="193" y="272"/>
                    <a:pt x="199" y="279"/>
                    <a:pt x="207" y="279"/>
                  </a:cubicBezTo>
                  <a:cubicBezTo>
                    <a:pt x="215" y="279"/>
                    <a:pt x="221" y="272"/>
                    <a:pt x="221" y="265"/>
                  </a:cubicBezTo>
                  <a:cubicBezTo>
                    <a:pt x="221" y="257"/>
                    <a:pt x="215" y="251"/>
                    <a:pt x="207" y="251"/>
                  </a:cubicBezTo>
                  <a:close/>
                  <a:moveTo>
                    <a:pt x="178" y="57"/>
                  </a:moveTo>
                  <a:cubicBezTo>
                    <a:pt x="178" y="46"/>
                    <a:pt x="169" y="37"/>
                    <a:pt x="159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43" y="37"/>
                    <a:pt x="34" y="46"/>
                    <a:pt x="34" y="57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4" y="76"/>
                    <a:pt x="43" y="85"/>
                    <a:pt x="53" y="85"/>
                  </a:cubicBezTo>
                  <a:cubicBezTo>
                    <a:pt x="159" y="85"/>
                    <a:pt x="159" y="85"/>
                    <a:pt x="159" y="85"/>
                  </a:cubicBezTo>
                  <a:cubicBezTo>
                    <a:pt x="169" y="85"/>
                    <a:pt x="178" y="76"/>
                    <a:pt x="178" y="66"/>
                  </a:cubicBezTo>
                  <a:lnTo>
                    <a:pt x="178" y="57"/>
                  </a:lnTo>
                  <a:close/>
                  <a:moveTo>
                    <a:pt x="162" y="66"/>
                  </a:moveTo>
                  <a:cubicBezTo>
                    <a:pt x="162" y="68"/>
                    <a:pt x="160" y="69"/>
                    <a:pt x="159" y="69"/>
                  </a:cubicBezTo>
                  <a:cubicBezTo>
                    <a:pt x="53" y="69"/>
                    <a:pt x="53" y="69"/>
                    <a:pt x="53" y="69"/>
                  </a:cubicBezTo>
                  <a:cubicBezTo>
                    <a:pt x="51" y="69"/>
                    <a:pt x="50" y="68"/>
                    <a:pt x="50" y="66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50" y="55"/>
                    <a:pt x="51" y="53"/>
                    <a:pt x="53" y="53"/>
                  </a:cubicBezTo>
                  <a:cubicBezTo>
                    <a:pt x="159" y="53"/>
                    <a:pt x="159" y="53"/>
                    <a:pt x="159" y="53"/>
                  </a:cubicBezTo>
                  <a:cubicBezTo>
                    <a:pt x="160" y="53"/>
                    <a:pt x="162" y="55"/>
                    <a:pt x="162" y="57"/>
                  </a:cubicBezTo>
                  <a:lnTo>
                    <a:pt x="162" y="66"/>
                  </a:lnTo>
                  <a:close/>
                  <a:moveTo>
                    <a:pt x="178" y="125"/>
                  </a:moveTo>
                  <a:cubicBezTo>
                    <a:pt x="178" y="114"/>
                    <a:pt x="169" y="105"/>
                    <a:pt x="159" y="105"/>
                  </a:cubicBezTo>
                  <a:cubicBezTo>
                    <a:pt x="53" y="105"/>
                    <a:pt x="53" y="105"/>
                    <a:pt x="53" y="105"/>
                  </a:cubicBezTo>
                  <a:cubicBezTo>
                    <a:pt x="43" y="105"/>
                    <a:pt x="34" y="114"/>
                    <a:pt x="34" y="125"/>
                  </a:cubicBezTo>
                  <a:cubicBezTo>
                    <a:pt x="34" y="133"/>
                    <a:pt x="34" y="133"/>
                    <a:pt x="34" y="133"/>
                  </a:cubicBezTo>
                  <a:cubicBezTo>
                    <a:pt x="34" y="144"/>
                    <a:pt x="43" y="153"/>
                    <a:pt x="53" y="153"/>
                  </a:cubicBezTo>
                  <a:cubicBezTo>
                    <a:pt x="159" y="153"/>
                    <a:pt x="159" y="153"/>
                    <a:pt x="159" y="153"/>
                  </a:cubicBezTo>
                  <a:cubicBezTo>
                    <a:pt x="169" y="153"/>
                    <a:pt x="178" y="144"/>
                    <a:pt x="178" y="133"/>
                  </a:cubicBezTo>
                  <a:lnTo>
                    <a:pt x="178" y="125"/>
                  </a:lnTo>
                  <a:close/>
                  <a:moveTo>
                    <a:pt x="162" y="133"/>
                  </a:moveTo>
                  <a:cubicBezTo>
                    <a:pt x="162" y="135"/>
                    <a:pt x="160" y="137"/>
                    <a:pt x="159" y="137"/>
                  </a:cubicBezTo>
                  <a:cubicBezTo>
                    <a:pt x="53" y="137"/>
                    <a:pt x="53" y="137"/>
                    <a:pt x="53" y="137"/>
                  </a:cubicBezTo>
                  <a:cubicBezTo>
                    <a:pt x="51" y="137"/>
                    <a:pt x="50" y="135"/>
                    <a:pt x="50" y="133"/>
                  </a:cubicBezTo>
                  <a:cubicBezTo>
                    <a:pt x="50" y="125"/>
                    <a:pt x="50" y="125"/>
                    <a:pt x="50" y="125"/>
                  </a:cubicBezTo>
                  <a:cubicBezTo>
                    <a:pt x="50" y="123"/>
                    <a:pt x="51" y="121"/>
                    <a:pt x="53" y="121"/>
                  </a:cubicBezTo>
                  <a:cubicBezTo>
                    <a:pt x="159" y="121"/>
                    <a:pt x="159" y="121"/>
                    <a:pt x="159" y="121"/>
                  </a:cubicBezTo>
                  <a:cubicBezTo>
                    <a:pt x="160" y="121"/>
                    <a:pt x="162" y="123"/>
                    <a:pt x="162" y="125"/>
                  </a:cubicBezTo>
                  <a:lnTo>
                    <a:pt x="162" y="133"/>
                  </a:lnTo>
                  <a:close/>
                  <a:moveTo>
                    <a:pt x="178" y="260"/>
                  </a:moveTo>
                  <a:cubicBezTo>
                    <a:pt x="178" y="249"/>
                    <a:pt x="169" y="241"/>
                    <a:pt x="159" y="241"/>
                  </a:cubicBezTo>
                  <a:cubicBezTo>
                    <a:pt x="53" y="241"/>
                    <a:pt x="53" y="241"/>
                    <a:pt x="53" y="241"/>
                  </a:cubicBezTo>
                  <a:cubicBezTo>
                    <a:pt x="43" y="241"/>
                    <a:pt x="34" y="249"/>
                    <a:pt x="34" y="260"/>
                  </a:cubicBezTo>
                  <a:cubicBezTo>
                    <a:pt x="34" y="269"/>
                    <a:pt x="34" y="269"/>
                    <a:pt x="34" y="269"/>
                  </a:cubicBezTo>
                  <a:cubicBezTo>
                    <a:pt x="34" y="280"/>
                    <a:pt x="43" y="288"/>
                    <a:pt x="53" y="288"/>
                  </a:cubicBezTo>
                  <a:cubicBezTo>
                    <a:pt x="159" y="288"/>
                    <a:pt x="159" y="288"/>
                    <a:pt x="159" y="288"/>
                  </a:cubicBezTo>
                  <a:cubicBezTo>
                    <a:pt x="169" y="288"/>
                    <a:pt x="178" y="280"/>
                    <a:pt x="178" y="269"/>
                  </a:cubicBezTo>
                  <a:lnTo>
                    <a:pt x="178" y="260"/>
                  </a:lnTo>
                  <a:close/>
                  <a:moveTo>
                    <a:pt x="162" y="269"/>
                  </a:moveTo>
                  <a:cubicBezTo>
                    <a:pt x="162" y="271"/>
                    <a:pt x="160" y="272"/>
                    <a:pt x="159" y="272"/>
                  </a:cubicBezTo>
                  <a:cubicBezTo>
                    <a:pt x="53" y="272"/>
                    <a:pt x="53" y="272"/>
                    <a:pt x="53" y="272"/>
                  </a:cubicBezTo>
                  <a:cubicBezTo>
                    <a:pt x="51" y="272"/>
                    <a:pt x="50" y="271"/>
                    <a:pt x="50" y="269"/>
                  </a:cubicBezTo>
                  <a:cubicBezTo>
                    <a:pt x="50" y="260"/>
                    <a:pt x="50" y="260"/>
                    <a:pt x="50" y="260"/>
                  </a:cubicBezTo>
                  <a:cubicBezTo>
                    <a:pt x="50" y="258"/>
                    <a:pt x="51" y="257"/>
                    <a:pt x="53" y="257"/>
                  </a:cubicBezTo>
                  <a:cubicBezTo>
                    <a:pt x="159" y="257"/>
                    <a:pt x="159" y="257"/>
                    <a:pt x="159" y="257"/>
                  </a:cubicBezTo>
                  <a:cubicBezTo>
                    <a:pt x="160" y="257"/>
                    <a:pt x="162" y="258"/>
                    <a:pt x="162" y="260"/>
                  </a:cubicBezTo>
                  <a:lnTo>
                    <a:pt x="162" y="269"/>
                  </a:lnTo>
                  <a:close/>
                  <a:moveTo>
                    <a:pt x="178" y="192"/>
                  </a:moveTo>
                  <a:cubicBezTo>
                    <a:pt x="178" y="182"/>
                    <a:pt x="169" y="173"/>
                    <a:pt x="159" y="173"/>
                  </a:cubicBezTo>
                  <a:cubicBezTo>
                    <a:pt x="53" y="173"/>
                    <a:pt x="53" y="173"/>
                    <a:pt x="53" y="173"/>
                  </a:cubicBezTo>
                  <a:cubicBezTo>
                    <a:pt x="43" y="173"/>
                    <a:pt x="34" y="182"/>
                    <a:pt x="34" y="192"/>
                  </a:cubicBezTo>
                  <a:cubicBezTo>
                    <a:pt x="34" y="201"/>
                    <a:pt x="34" y="201"/>
                    <a:pt x="34" y="201"/>
                  </a:cubicBezTo>
                  <a:cubicBezTo>
                    <a:pt x="34" y="212"/>
                    <a:pt x="43" y="221"/>
                    <a:pt x="53" y="221"/>
                  </a:cubicBezTo>
                  <a:cubicBezTo>
                    <a:pt x="159" y="221"/>
                    <a:pt x="159" y="221"/>
                    <a:pt x="159" y="221"/>
                  </a:cubicBezTo>
                  <a:cubicBezTo>
                    <a:pt x="169" y="221"/>
                    <a:pt x="178" y="212"/>
                    <a:pt x="178" y="201"/>
                  </a:cubicBezTo>
                  <a:lnTo>
                    <a:pt x="178" y="192"/>
                  </a:lnTo>
                  <a:close/>
                  <a:moveTo>
                    <a:pt x="162" y="201"/>
                  </a:moveTo>
                  <a:cubicBezTo>
                    <a:pt x="162" y="203"/>
                    <a:pt x="160" y="205"/>
                    <a:pt x="159" y="205"/>
                  </a:cubicBezTo>
                  <a:cubicBezTo>
                    <a:pt x="53" y="205"/>
                    <a:pt x="53" y="205"/>
                    <a:pt x="53" y="205"/>
                  </a:cubicBezTo>
                  <a:cubicBezTo>
                    <a:pt x="51" y="205"/>
                    <a:pt x="50" y="203"/>
                    <a:pt x="50" y="201"/>
                  </a:cubicBezTo>
                  <a:cubicBezTo>
                    <a:pt x="50" y="192"/>
                    <a:pt x="50" y="192"/>
                    <a:pt x="50" y="192"/>
                  </a:cubicBezTo>
                  <a:cubicBezTo>
                    <a:pt x="50" y="190"/>
                    <a:pt x="51" y="189"/>
                    <a:pt x="53" y="189"/>
                  </a:cubicBezTo>
                  <a:cubicBezTo>
                    <a:pt x="159" y="189"/>
                    <a:pt x="159" y="189"/>
                    <a:pt x="159" y="189"/>
                  </a:cubicBezTo>
                  <a:cubicBezTo>
                    <a:pt x="160" y="189"/>
                    <a:pt x="162" y="190"/>
                    <a:pt x="162" y="192"/>
                  </a:cubicBezTo>
                  <a:lnTo>
                    <a:pt x="162" y="201"/>
                  </a:lnTo>
                  <a:close/>
                  <a:moveTo>
                    <a:pt x="159" y="309"/>
                  </a:moveTo>
                  <a:cubicBezTo>
                    <a:pt x="53" y="309"/>
                    <a:pt x="53" y="309"/>
                    <a:pt x="53" y="309"/>
                  </a:cubicBezTo>
                  <a:cubicBezTo>
                    <a:pt x="43" y="309"/>
                    <a:pt x="34" y="317"/>
                    <a:pt x="34" y="328"/>
                  </a:cubicBezTo>
                  <a:cubicBezTo>
                    <a:pt x="34" y="337"/>
                    <a:pt x="34" y="337"/>
                    <a:pt x="34" y="337"/>
                  </a:cubicBezTo>
                  <a:cubicBezTo>
                    <a:pt x="34" y="348"/>
                    <a:pt x="43" y="356"/>
                    <a:pt x="53" y="356"/>
                  </a:cubicBezTo>
                  <a:cubicBezTo>
                    <a:pt x="159" y="356"/>
                    <a:pt x="159" y="356"/>
                    <a:pt x="159" y="356"/>
                  </a:cubicBezTo>
                  <a:cubicBezTo>
                    <a:pt x="169" y="356"/>
                    <a:pt x="178" y="348"/>
                    <a:pt x="178" y="337"/>
                  </a:cubicBezTo>
                  <a:cubicBezTo>
                    <a:pt x="178" y="328"/>
                    <a:pt x="178" y="328"/>
                    <a:pt x="178" y="328"/>
                  </a:cubicBezTo>
                  <a:cubicBezTo>
                    <a:pt x="178" y="317"/>
                    <a:pt x="169" y="309"/>
                    <a:pt x="159" y="309"/>
                  </a:cubicBezTo>
                  <a:close/>
                  <a:moveTo>
                    <a:pt x="162" y="337"/>
                  </a:moveTo>
                  <a:cubicBezTo>
                    <a:pt x="162" y="339"/>
                    <a:pt x="160" y="340"/>
                    <a:pt x="159" y="340"/>
                  </a:cubicBezTo>
                  <a:cubicBezTo>
                    <a:pt x="53" y="340"/>
                    <a:pt x="53" y="340"/>
                    <a:pt x="53" y="340"/>
                  </a:cubicBezTo>
                  <a:cubicBezTo>
                    <a:pt x="51" y="340"/>
                    <a:pt x="50" y="339"/>
                    <a:pt x="50" y="337"/>
                  </a:cubicBezTo>
                  <a:cubicBezTo>
                    <a:pt x="50" y="328"/>
                    <a:pt x="50" y="328"/>
                    <a:pt x="50" y="328"/>
                  </a:cubicBezTo>
                  <a:cubicBezTo>
                    <a:pt x="50" y="326"/>
                    <a:pt x="51" y="325"/>
                    <a:pt x="53" y="325"/>
                  </a:cubicBezTo>
                  <a:cubicBezTo>
                    <a:pt x="159" y="325"/>
                    <a:pt x="159" y="325"/>
                    <a:pt x="159" y="325"/>
                  </a:cubicBezTo>
                  <a:cubicBezTo>
                    <a:pt x="160" y="325"/>
                    <a:pt x="162" y="326"/>
                    <a:pt x="162" y="328"/>
                  </a:cubicBezTo>
                  <a:lnTo>
                    <a:pt x="162" y="337"/>
                  </a:lnTo>
                  <a:close/>
                </a:path>
              </a:pathLst>
            </a:custGeom>
            <a:solidFill>
              <a:srgbClr val="0028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59" name="Group 33"/>
          <p:cNvGrpSpPr>
            <a:grpSpLocks noChangeAspect="1"/>
          </p:cNvGrpSpPr>
          <p:nvPr/>
        </p:nvGrpSpPr>
        <p:grpSpPr bwMode="auto">
          <a:xfrm>
            <a:off x="10447488" y="4162233"/>
            <a:ext cx="529865" cy="755879"/>
            <a:chOff x="183" y="860"/>
            <a:chExt cx="969" cy="139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60" name="Group 3"/>
            <p:cNvGrpSpPr>
              <a:grpSpLocks noChangeAspect="1"/>
            </p:cNvGrpSpPr>
            <p:nvPr/>
          </p:nvGrpSpPr>
          <p:grpSpPr bwMode="auto">
            <a:xfrm>
              <a:off x="183" y="860"/>
              <a:ext cx="969" cy="1391"/>
              <a:chOff x="183" y="860"/>
              <a:chExt cx="969" cy="1391"/>
            </a:xfrm>
          </p:grpSpPr>
          <p:sp>
            <p:nvSpPr>
              <p:cNvPr id="62" name="Freeform 4"/>
              <p:cNvSpPr>
                <a:spLocks noChangeAspect="1"/>
              </p:cNvSpPr>
              <p:nvPr/>
            </p:nvSpPr>
            <p:spPr bwMode="auto">
              <a:xfrm>
                <a:off x="205" y="879"/>
                <a:ext cx="928" cy="1353"/>
              </a:xfrm>
              <a:custGeom>
                <a:avLst/>
                <a:gdLst>
                  <a:gd name="T0" fmla="*/ 2117824 w 393"/>
                  <a:gd name="T1" fmla="*/ 447302 h 573"/>
                  <a:gd name="T2" fmla="*/ 2117824 w 393"/>
                  <a:gd name="T3" fmla="*/ 2913590 h 573"/>
                  <a:gd name="T4" fmla="*/ 1944873 w 393"/>
                  <a:gd name="T5" fmla="*/ 3087423 h 573"/>
                  <a:gd name="T6" fmla="*/ 173175 w 393"/>
                  <a:gd name="T7" fmla="*/ 3087423 h 573"/>
                  <a:gd name="T8" fmla="*/ 0 w 393"/>
                  <a:gd name="T9" fmla="*/ 2913590 h 573"/>
                  <a:gd name="T10" fmla="*/ 0 w 393"/>
                  <a:gd name="T11" fmla="*/ 173149 h 573"/>
                  <a:gd name="T12" fmla="*/ 173175 w 393"/>
                  <a:gd name="T13" fmla="*/ 0 h 573"/>
                  <a:gd name="T14" fmla="*/ 1944873 w 393"/>
                  <a:gd name="T15" fmla="*/ 0 h 573"/>
                  <a:gd name="T16" fmla="*/ 2117824 w 393"/>
                  <a:gd name="T17" fmla="*/ 173149 h 573"/>
                  <a:gd name="T18" fmla="*/ 2117824 w 393"/>
                  <a:gd name="T19" fmla="*/ 273351 h 57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93"/>
                  <a:gd name="T31" fmla="*/ 0 h 573"/>
                  <a:gd name="T32" fmla="*/ 393 w 393"/>
                  <a:gd name="T33" fmla="*/ 573 h 57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93" h="573">
                    <a:moveTo>
                      <a:pt x="393" y="83"/>
                    </a:moveTo>
                    <a:cubicBezTo>
                      <a:pt x="393" y="541"/>
                      <a:pt x="393" y="541"/>
                      <a:pt x="393" y="541"/>
                    </a:cubicBezTo>
                    <a:cubicBezTo>
                      <a:pt x="393" y="559"/>
                      <a:pt x="379" y="573"/>
                      <a:pt x="361" y="573"/>
                    </a:cubicBezTo>
                    <a:cubicBezTo>
                      <a:pt x="32" y="573"/>
                      <a:pt x="32" y="573"/>
                      <a:pt x="32" y="573"/>
                    </a:cubicBezTo>
                    <a:cubicBezTo>
                      <a:pt x="14" y="573"/>
                      <a:pt x="0" y="559"/>
                      <a:pt x="0" y="541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361" y="0"/>
                      <a:pt x="361" y="0"/>
                      <a:pt x="361" y="0"/>
                    </a:cubicBezTo>
                    <a:cubicBezTo>
                      <a:pt x="379" y="0"/>
                      <a:pt x="393" y="14"/>
                      <a:pt x="393" y="32"/>
                    </a:cubicBezTo>
                    <a:cubicBezTo>
                      <a:pt x="393" y="51"/>
                      <a:pt x="393" y="51"/>
                      <a:pt x="393" y="51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>
                  <a:defRPr/>
                </a:pPr>
                <a:endParaRPr lang="en-US">
                  <a:solidFill>
                    <a:srgbClr val="58585A"/>
                  </a:solidFill>
                  <a:latin typeface="+mn-lt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63" name="Freeform 5"/>
              <p:cNvSpPr>
                <a:spLocks noChangeAspect="1" noEditPoints="1"/>
              </p:cNvSpPr>
              <p:nvPr/>
            </p:nvSpPr>
            <p:spPr bwMode="auto">
              <a:xfrm>
                <a:off x="186" y="860"/>
                <a:ext cx="966" cy="1391"/>
              </a:xfrm>
              <a:custGeom>
                <a:avLst/>
                <a:gdLst>
                  <a:gd name="T0" fmla="*/ 2166022 w 409"/>
                  <a:gd name="T1" fmla="*/ 361046 h 589"/>
                  <a:gd name="T2" fmla="*/ 2209766 w 409"/>
                  <a:gd name="T3" fmla="*/ 317500 h 589"/>
                  <a:gd name="T4" fmla="*/ 2209766 w 409"/>
                  <a:gd name="T5" fmla="*/ 214575 h 589"/>
                  <a:gd name="T6" fmla="*/ 1994559 w 409"/>
                  <a:gd name="T7" fmla="*/ 0 h 589"/>
                  <a:gd name="T8" fmla="*/ 214901 w 409"/>
                  <a:gd name="T9" fmla="*/ 0 h 589"/>
                  <a:gd name="T10" fmla="*/ 0 w 409"/>
                  <a:gd name="T11" fmla="*/ 214575 h 589"/>
                  <a:gd name="T12" fmla="*/ 0 w 409"/>
                  <a:gd name="T13" fmla="*/ 2963864 h 589"/>
                  <a:gd name="T14" fmla="*/ 214901 w 409"/>
                  <a:gd name="T15" fmla="*/ 3178678 h 589"/>
                  <a:gd name="T16" fmla="*/ 1994559 w 409"/>
                  <a:gd name="T17" fmla="*/ 3178678 h 589"/>
                  <a:gd name="T18" fmla="*/ 2209766 w 409"/>
                  <a:gd name="T19" fmla="*/ 2963864 h 589"/>
                  <a:gd name="T20" fmla="*/ 2209766 w 409"/>
                  <a:gd name="T21" fmla="*/ 491665 h 589"/>
                  <a:gd name="T22" fmla="*/ 2166022 w 409"/>
                  <a:gd name="T23" fmla="*/ 447739 h 589"/>
                  <a:gd name="T24" fmla="*/ 2122453 w 409"/>
                  <a:gd name="T25" fmla="*/ 491665 h 589"/>
                  <a:gd name="T26" fmla="*/ 2122453 w 409"/>
                  <a:gd name="T27" fmla="*/ 2963864 h 589"/>
                  <a:gd name="T28" fmla="*/ 1994559 w 409"/>
                  <a:gd name="T29" fmla="*/ 3091251 h 589"/>
                  <a:gd name="T30" fmla="*/ 214901 w 409"/>
                  <a:gd name="T31" fmla="*/ 3091251 h 589"/>
                  <a:gd name="T32" fmla="*/ 87313 w 409"/>
                  <a:gd name="T33" fmla="*/ 2963864 h 589"/>
                  <a:gd name="T34" fmla="*/ 87313 w 409"/>
                  <a:gd name="T35" fmla="*/ 214575 h 589"/>
                  <a:gd name="T36" fmla="*/ 214901 w 409"/>
                  <a:gd name="T37" fmla="*/ 87291 h 589"/>
                  <a:gd name="T38" fmla="*/ 1994559 w 409"/>
                  <a:gd name="T39" fmla="*/ 87291 h 589"/>
                  <a:gd name="T40" fmla="*/ 2122453 w 409"/>
                  <a:gd name="T41" fmla="*/ 214575 h 589"/>
                  <a:gd name="T42" fmla="*/ 2122453 w 409"/>
                  <a:gd name="T43" fmla="*/ 317500 h 589"/>
                  <a:gd name="T44" fmla="*/ 2166022 w 409"/>
                  <a:gd name="T45" fmla="*/ 361046 h 589"/>
                  <a:gd name="T46" fmla="*/ 1102093 w 409"/>
                  <a:gd name="T47" fmla="*/ 409268 h 589"/>
                  <a:gd name="T48" fmla="*/ 1063065 w 409"/>
                  <a:gd name="T49" fmla="*/ 431449 h 589"/>
                  <a:gd name="T50" fmla="*/ 404600 w 409"/>
                  <a:gd name="T51" fmla="*/ 1748225 h 589"/>
                  <a:gd name="T52" fmla="*/ 411573 w 409"/>
                  <a:gd name="T53" fmla="*/ 1792154 h 589"/>
                  <a:gd name="T54" fmla="*/ 448540 w 409"/>
                  <a:gd name="T55" fmla="*/ 1807736 h 589"/>
                  <a:gd name="T56" fmla="*/ 1761422 w 409"/>
                  <a:gd name="T57" fmla="*/ 1807736 h 589"/>
                  <a:gd name="T58" fmla="*/ 1797362 w 409"/>
                  <a:gd name="T59" fmla="*/ 1792154 h 589"/>
                  <a:gd name="T60" fmla="*/ 1797362 w 409"/>
                  <a:gd name="T61" fmla="*/ 1748225 h 589"/>
                  <a:gd name="T62" fmla="*/ 1145530 w 409"/>
                  <a:gd name="T63" fmla="*/ 431449 h 589"/>
                  <a:gd name="T64" fmla="*/ 1102093 w 409"/>
                  <a:gd name="T65" fmla="*/ 409268 h 589"/>
                  <a:gd name="T66" fmla="*/ 519018 w 409"/>
                  <a:gd name="T67" fmla="*/ 1720327 h 589"/>
                  <a:gd name="T68" fmla="*/ 1102093 w 409"/>
                  <a:gd name="T69" fmla="*/ 550675 h 589"/>
                  <a:gd name="T70" fmla="*/ 1689539 w 409"/>
                  <a:gd name="T71" fmla="*/ 1720327 h 589"/>
                  <a:gd name="T72" fmla="*/ 519018 w 409"/>
                  <a:gd name="T73" fmla="*/ 1720327 h 589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409"/>
                  <a:gd name="T112" fmla="*/ 0 h 589"/>
                  <a:gd name="T113" fmla="*/ 409 w 409"/>
                  <a:gd name="T114" fmla="*/ 589 h 589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409" h="589">
                    <a:moveTo>
                      <a:pt x="401" y="67"/>
                    </a:moveTo>
                    <a:cubicBezTo>
                      <a:pt x="405" y="67"/>
                      <a:pt x="409" y="64"/>
                      <a:pt x="409" y="59"/>
                    </a:cubicBezTo>
                    <a:cubicBezTo>
                      <a:pt x="409" y="40"/>
                      <a:pt x="409" y="40"/>
                      <a:pt x="409" y="40"/>
                    </a:cubicBezTo>
                    <a:cubicBezTo>
                      <a:pt x="409" y="18"/>
                      <a:pt x="391" y="0"/>
                      <a:pt x="369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18" y="0"/>
                      <a:pt x="0" y="18"/>
                      <a:pt x="0" y="40"/>
                    </a:cubicBezTo>
                    <a:cubicBezTo>
                      <a:pt x="0" y="549"/>
                      <a:pt x="0" y="549"/>
                      <a:pt x="0" y="549"/>
                    </a:cubicBezTo>
                    <a:cubicBezTo>
                      <a:pt x="0" y="571"/>
                      <a:pt x="18" y="589"/>
                      <a:pt x="40" y="589"/>
                    </a:cubicBezTo>
                    <a:cubicBezTo>
                      <a:pt x="369" y="589"/>
                      <a:pt x="369" y="589"/>
                      <a:pt x="369" y="589"/>
                    </a:cubicBezTo>
                    <a:cubicBezTo>
                      <a:pt x="391" y="589"/>
                      <a:pt x="409" y="571"/>
                      <a:pt x="409" y="549"/>
                    </a:cubicBezTo>
                    <a:cubicBezTo>
                      <a:pt x="409" y="91"/>
                      <a:pt x="409" y="91"/>
                      <a:pt x="409" y="91"/>
                    </a:cubicBezTo>
                    <a:cubicBezTo>
                      <a:pt x="409" y="87"/>
                      <a:pt x="405" y="83"/>
                      <a:pt x="401" y="83"/>
                    </a:cubicBezTo>
                    <a:cubicBezTo>
                      <a:pt x="397" y="83"/>
                      <a:pt x="393" y="87"/>
                      <a:pt x="393" y="91"/>
                    </a:cubicBezTo>
                    <a:cubicBezTo>
                      <a:pt x="393" y="549"/>
                      <a:pt x="393" y="549"/>
                      <a:pt x="393" y="549"/>
                    </a:cubicBezTo>
                    <a:cubicBezTo>
                      <a:pt x="393" y="562"/>
                      <a:pt x="382" y="573"/>
                      <a:pt x="369" y="573"/>
                    </a:cubicBezTo>
                    <a:cubicBezTo>
                      <a:pt x="40" y="573"/>
                      <a:pt x="40" y="573"/>
                      <a:pt x="40" y="573"/>
                    </a:cubicBezTo>
                    <a:cubicBezTo>
                      <a:pt x="26" y="573"/>
                      <a:pt x="16" y="562"/>
                      <a:pt x="16" y="549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27"/>
                      <a:pt x="26" y="16"/>
                      <a:pt x="40" y="16"/>
                    </a:cubicBezTo>
                    <a:cubicBezTo>
                      <a:pt x="369" y="16"/>
                      <a:pt x="369" y="16"/>
                      <a:pt x="369" y="16"/>
                    </a:cubicBezTo>
                    <a:cubicBezTo>
                      <a:pt x="382" y="16"/>
                      <a:pt x="393" y="27"/>
                      <a:pt x="393" y="40"/>
                    </a:cubicBezTo>
                    <a:cubicBezTo>
                      <a:pt x="393" y="59"/>
                      <a:pt x="393" y="59"/>
                      <a:pt x="393" y="59"/>
                    </a:cubicBezTo>
                    <a:cubicBezTo>
                      <a:pt x="393" y="64"/>
                      <a:pt x="397" y="67"/>
                      <a:pt x="401" y="67"/>
                    </a:cubicBezTo>
                    <a:close/>
                    <a:moveTo>
                      <a:pt x="204" y="76"/>
                    </a:moveTo>
                    <a:cubicBezTo>
                      <a:pt x="201" y="76"/>
                      <a:pt x="199" y="78"/>
                      <a:pt x="197" y="80"/>
                    </a:cubicBezTo>
                    <a:cubicBezTo>
                      <a:pt x="75" y="324"/>
                      <a:pt x="75" y="324"/>
                      <a:pt x="75" y="324"/>
                    </a:cubicBezTo>
                    <a:cubicBezTo>
                      <a:pt x="74" y="326"/>
                      <a:pt x="74" y="329"/>
                      <a:pt x="76" y="332"/>
                    </a:cubicBezTo>
                    <a:cubicBezTo>
                      <a:pt x="77" y="334"/>
                      <a:pt x="80" y="335"/>
                      <a:pt x="83" y="335"/>
                    </a:cubicBezTo>
                    <a:cubicBezTo>
                      <a:pt x="326" y="335"/>
                      <a:pt x="326" y="335"/>
                      <a:pt x="326" y="335"/>
                    </a:cubicBezTo>
                    <a:cubicBezTo>
                      <a:pt x="329" y="335"/>
                      <a:pt x="332" y="334"/>
                      <a:pt x="333" y="332"/>
                    </a:cubicBezTo>
                    <a:cubicBezTo>
                      <a:pt x="334" y="329"/>
                      <a:pt x="335" y="326"/>
                      <a:pt x="333" y="324"/>
                    </a:cubicBezTo>
                    <a:cubicBezTo>
                      <a:pt x="212" y="80"/>
                      <a:pt x="212" y="80"/>
                      <a:pt x="212" y="80"/>
                    </a:cubicBezTo>
                    <a:cubicBezTo>
                      <a:pt x="210" y="78"/>
                      <a:pt x="207" y="76"/>
                      <a:pt x="204" y="76"/>
                    </a:cubicBezTo>
                    <a:close/>
                    <a:moveTo>
                      <a:pt x="96" y="319"/>
                    </a:moveTo>
                    <a:cubicBezTo>
                      <a:pt x="204" y="102"/>
                      <a:pt x="204" y="102"/>
                      <a:pt x="204" y="102"/>
                    </a:cubicBezTo>
                    <a:cubicBezTo>
                      <a:pt x="313" y="319"/>
                      <a:pt x="313" y="319"/>
                      <a:pt x="313" y="319"/>
                    </a:cubicBezTo>
                    <a:lnTo>
                      <a:pt x="96" y="319"/>
                    </a:lnTo>
                    <a:close/>
                  </a:path>
                </a:pathLst>
              </a:custGeom>
              <a:solidFill>
                <a:srgbClr val="00B0F0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anchor="ctr"/>
              <a:lstStyle/>
              <a:p>
                <a:pPr algn="ctr">
                  <a:defRPr/>
                </a:pPr>
                <a:endParaRPr lang="en-US">
                  <a:solidFill>
                    <a:srgbClr val="58585A"/>
                  </a:solidFill>
                  <a:latin typeface="+mn-lt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64" name="Text Box 6"/>
              <p:cNvSpPr txBox="1">
                <a:spLocks noChangeAspect="1" noChangeArrowheads="1"/>
              </p:cNvSpPr>
              <p:nvPr/>
            </p:nvSpPr>
            <p:spPr bwMode="auto">
              <a:xfrm>
                <a:off x="183" y="1725"/>
                <a:ext cx="969" cy="499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lIns="0" tIns="0" rIns="0" bIns="0" anchor="ctr">
                <a:spAutoFit/>
              </a:bodyPr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eaLnBrk="1" hangingPunct="1">
                  <a:lnSpc>
                    <a:spcPct val="80000"/>
                  </a:lnSpc>
                  <a:defRPr/>
                </a:pPr>
                <a:r>
                  <a:rPr lang="en-US" sz="1100" b="1" dirty="0">
                    <a:solidFill>
                      <a:srgbClr val="00B0F0"/>
                    </a:solidFill>
                    <a:ea typeface="MS PGothic" panose="020B0600070205080204" pitchFamily="34" charset="-128"/>
                    <a:cs typeface="+mn-cs"/>
                  </a:rPr>
                  <a:t>SDN CTRL</a:t>
                </a:r>
              </a:p>
            </p:txBody>
          </p:sp>
        </p:grpSp>
        <p:sp>
          <p:nvSpPr>
            <p:cNvPr id="61" name="Rectangle 23"/>
            <p:cNvSpPr>
              <a:spLocks noChangeAspect="1" noChangeArrowheads="1"/>
            </p:cNvSpPr>
            <p:nvPr/>
          </p:nvSpPr>
          <p:spPr bwMode="auto">
            <a:xfrm>
              <a:off x="183" y="860"/>
              <a:ext cx="969" cy="139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rIns="0" anchor="ctr"/>
            <a:lstStyle/>
            <a:p>
              <a:pPr algn="ctr">
                <a:spcBef>
                  <a:spcPct val="50000"/>
                </a:spcBef>
                <a:defRPr/>
              </a:pPr>
              <a:endParaRPr lang="sv-SE" sz="1200" b="1">
                <a:solidFill>
                  <a:srgbClr val="00B0F0"/>
                </a:solidFill>
                <a:latin typeface="+mn-lt"/>
                <a:ea typeface="ＭＳ Ｐゴシック" charset="0"/>
                <a:cs typeface="ＭＳ Ｐゴシック" charset="0"/>
              </a:endParaRPr>
            </a:p>
          </p:txBody>
        </p:sp>
      </p:grpSp>
      <p:sp>
        <p:nvSpPr>
          <p:cNvPr id="65" name="Rectangle 39"/>
          <p:cNvSpPr>
            <a:spLocks noChangeArrowheads="1"/>
          </p:cNvSpPr>
          <p:nvPr/>
        </p:nvSpPr>
        <p:spPr bwMode="auto">
          <a:xfrm>
            <a:off x="10248109" y="3209842"/>
            <a:ext cx="371475" cy="4381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99999"/>
                  </a:outerShdw>
                </a:effectLst>
              </a14:hiddenEffects>
            </a:ext>
          </a:extLst>
        </p:spPr>
        <p:txBody>
          <a:bodyPr wrap="none" lIns="91436" tIns="45719" rIns="91436" bIns="45719" anchor="ctr"/>
          <a:lstStyle/>
          <a:p>
            <a:pPr algn="ctr" defTabSz="685800"/>
            <a:r>
              <a:rPr lang="en-US" sz="1200">
                <a:solidFill>
                  <a:srgbClr val="FFFFFF"/>
                </a:solidFill>
                <a:ea typeface="MS PGothic" pitchFamily="34" charset="-128"/>
              </a:rPr>
              <a:t>VM</a:t>
            </a:r>
          </a:p>
        </p:txBody>
      </p:sp>
      <p:sp>
        <p:nvSpPr>
          <p:cNvPr id="66" name="Rectangle 40" descr="Dark upward diagonal"/>
          <p:cNvSpPr>
            <a:spLocks noChangeArrowheads="1"/>
          </p:cNvSpPr>
          <p:nvPr/>
        </p:nvSpPr>
        <p:spPr bwMode="auto">
          <a:xfrm>
            <a:off x="8597109" y="3209842"/>
            <a:ext cx="371475" cy="438150"/>
          </a:xfrm>
          <a:prstGeom prst="rect">
            <a:avLst/>
          </a:prstGeom>
          <a:pattFill prst="dkUpDiag">
            <a:fgClr>
              <a:schemeClr val="accent1"/>
            </a:fgClr>
            <a:bgClr>
              <a:schemeClr val="bg1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52700E"/>
                  </a:outerShdw>
                </a:effectLst>
              </a14:hiddenEffects>
            </a:ext>
          </a:extLst>
        </p:spPr>
        <p:txBody>
          <a:bodyPr wrap="none" lIns="91436" tIns="45719" rIns="91436" bIns="45719" anchor="ctr"/>
          <a:lstStyle/>
          <a:p>
            <a:pPr algn="ctr" defTabSz="685800"/>
            <a:r>
              <a:rPr lang="en-US" sz="1200">
                <a:solidFill>
                  <a:srgbClr val="FFFFFF"/>
                </a:solidFill>
                <a:ea typeface="MS PGothic" pitchFamily="34" charset="-128"/>
              </a:rPr>
              <a:t>VM</a:t>
            </a:r>
          </a:p>
        </p:txBody>
      </p:sp>
      <p:sp>
        <p:nvSpPr>
          <p:cNvPr id="67" name="Rectangle 41"/>
          <p:cNvSpPr>
            <a:spLocks noChangeArrowheads="1"/>
          </p:cNvSpPr>
          <p:nvPr/>
        </p:nvSpPr>
        <p:spPr bwMode="auto">
          <a:xfrm>
            <a:off x="7068345" y="3209842"/>
            <a:ext cx="371475" cy="4381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52700E"/>
                  </a:outerShdw>
                </a:effectLst>
              </a14:hiddenEffects>
            </a:ext>
          </a:extLst>
        </p:spPr>
        <p:txBody>
          <a:bodyPr wrap="none" lIns="91436" tIns="45719" rIns="91436" bIns="45719" anchor="ctr"/>
          <a:lstStyle/>
          <a:p>
            <a:pPr algn="ctr" defTabSz="685800"/>
            <a:r>
              <a:rPr lang="en-US" sz="1200">
                <a:solidFill>
                  <a:srgbClr val="FFFFFF"/>
                </a:solidFill>
                <a:ea typeface="MS PGothic" pitchFamily="34" charset="-128"/>
              </a:rPr>
              <a:t>VM</a:t>
            </a:r>
          </a:p>
        </p:txBody>
      </p:sp>
      <p:sp>
        <p:nvSpPr>
          <p:cNvPr id="68" name="Line 43"/>
          <p:cNvSpPr>
            <a:spLocks noChangeShapeType="1"/>
          </p:cNvSpPr>
          <p:nvPr/>
        </p:nvSpPr>
        <p:spPr bwMode="auto">
          <a:xfrm>
            <a:off x="7238207" y="3633709"/>
            <a:ext cx="0" cy="417513"/>
          </a:xfrm>
          <a:prstGeom prst="line">
            <a:avLst/>
          </a:prstGeom>
          <a:noFill/>
          <a:ln w="38100">
            <a:solidFill>
              <a:srgbClr val="00A9D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657F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9" name="Line 44"/>
          <p:cNvSpPr>
            <a:spLocks noChangeShapeType="1"/>
          </p:cNvSpPr>
          <p:nvPr/>
        </p:nvSpPr>
        <p:spPr bwMode="auto">
          <a:xfrm>
            <a:off x="8795544" y="3644822"/>
            <a:ext cx="0" cy="414337"/>
          </a:xfrm>
          <a:prstGeom prst="line">
            <a:avLst/>
          </a:prstGeom>
          <a:noFill/>
          <a:ln w="38100">
            <a:solidFill>
              <a:srgbClr val="00A9D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657F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0" name="Line 45"/>
          <p:cNvSpPr>
            <a:spLocks noChangeShapeType="1"/>
          </p:cNvSpPr>
          <p:nvPr/>
        </p:nvSpPr>
        <p:spPr bwMode="auto">
          <a:xfrm>
            <a:off x="10440195" y="3644822"/>
            <a:ext cx="0" cy="414337"/>
          </a:xfrm>
          <a:prstGeom prst="line">
            <a:avLst/>
          </a:prstGeom>
          <a:noFill/>
          <a:ln w="38100">
            <a:solidFill>
              <a:srgbClr val="00A9D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657F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1" name="Line 46"/>
          <p:cNvSpPr>
            <a:spLocks noChangeShapeType="1"/>
          </p:cNvSpPr>
          <p:nvPr/>
        </p:nvSpPr>
        <p:spPr bwMode="auto">
          <a:xfrm flipH="1">
            <a:off x="7639848" y="3473367"/>
            <a:ext cx="682625" cy="0"/>
          </a:xfrm>
          <a:prstGeom prst="line">
            <a:avLst/>
          </a:prstGeom>
          <a:noFill/>
          <a:ln w="38100">
            <a:solidFill>
              <a:srgbClr val="00A9D4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657F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2" name="Text Box 48"/>
          <p:cNvSpPr txBox="1">
            <a:spLocks noChangeArrowheads="1"/>
          </p:cNvSpPr>
          <p:nvPr/>
        </p:nvSpPr>
        <p:spPr bwMode="auto">
          <a:xfrm>
            <a:off x="7277898" y="3735304"/>
            <a:ext cx="1250655" cy="2539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52700E"/>
                  </a:outerShdw>
                </a:effectLst>
              </a14:hiddenEffects>
            </a:ext>
          </a:extLst>
        </p:spPr>
        <p:txBody>
          <a:bodyPr wrap="none" lIns="91436" tIns="45719" rIns="91436" bIns="45719">
            <a:spAutoFit/>
          </a:bodyPr>
          <a:lstStyle>
            <a:lvl1pPr defTabSz="6858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6858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6858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6858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6858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sz="1050" smtClean="0">
                <a:solidFill>
                  <a:srgbClr val="58585A"/>
                </a:solidFill>
                <a:ea typeface="MS PGothic" pitchFamily="34" charset="-128"/>
              </a:rPr>
              <a:t>preserved identity</a:t>
            </a:r>
          </a:p>
        </p:txBody>
      </p:sp>
      <p:sp>
        <p:nvSpPr>
          <p:cNvPr id="73" name="Text Box 49"/>
          <p:cNvSpPr txBox="1">
            <a:spLocks noChangeArrowheads="1"/>
          </p:cNvSpPr>
          <p:nvPr/>
        </p:nvSpPr>
        <p:spPr bwMode="auto">
          <a:xfrm>
            <a:off x="7395369" y="3587668"/>
            <a:ext cx="1101576" cy="2539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52700E"/>
                  </a:outerShdw>
                </a:effectLst>
              </a14:hiddenEffects>
            </a:ext>
          </a:extLst>
        </p:spPr>
        <p:txBody>
          <a:bodyPr wrap="none" lIns="91436" tIns="45719" rIns="91436" bIns="45719">
            <a:spAutoFit/>
          </a:bodyPr>
          <a:lstStyle>
            <a:lvl1pPr defTabSz="6858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6858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6858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6858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6858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sz="1050" smtClean="0">
                <a:solidFill>
                  <a:srgbClr val="58585A"/>
                </a:solidFill>
                <a:ea typeface="MS PGothic" pitchFamily="34" charset="-128"/>
              </a:rPr>
              <a:t>Relocation with</a:t>
            </a:r>
          </a:p>
        </p:txBody>
      </p:sp>
      <p:sp>
        <p:nvSpPr>
          <p:cNvPr id="74" name="Line 51"/>
          <p:cNvSpPr>
            <a:spLocks noChangeShapeType="1"/>
          </p:cNvSpPr>
          <p:nvPr/>
        </p:nvSpPr>
        <p:spPr bwMode="auto">
          <a:xfrm>
            <a:off x="9590883" y="3390817"/>
            <a:ext cx="0" cy="673100"/>
          </a:xfrm>
          <a:prstGeom prst="line">
            <a:avLst/>
          </a:prstGeom>
          <a:noFill/>
          <a:ln w="38100">
            <a:solidFill>
              <a:srgbClr val="00A9D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657F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5" name="Rectangle 52"/>
          <p:cNvSpPr>
            <a:spLocks noChangeArrowheads="1"/>
          </p:cNvSpPr>
          <p:nvPr/>
        </p:nvSpPr>
        <p:spPr bwMode="auto">
          <a:xfrm>
            <a:off x="9405145" y="3214604"/>
            <a:ext cx="371475" cy="438150"/>
          </a:xfrm>
          <a:prstGeom prst="rect">
            <a:avLst/>
          </a:prstGeom>
          <a:solidFill>
            <a:srgbClr val="89BA1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52700E"/>
                  </a:outerShdw>
                </a:effectLst>
              </a14:hiddenEffects>
            </a:ext>
          </a:extLst>
        </p:spPr>
        <p:txBody>
          <a:bodyPr wrap="none" lIns="91436" tIns="45719" rIns="91436" bIns="45719" anchor="ctr"/>
          <a:lstStyle/>
          <a:p>
            <a:pPr algn="ctr" defTabSz="685800"/>
            <a:r>
              <a:rPr lang="en-US" sz="1200">
                <a:solidFill>
                  <a:srgbClr val="FFFFFF"/>
                </a:solidFill>
                <a:ea typeface="MS PGothic" pitchFamily="34" charset="-128"/>
              </a:rPr>
              <a:t>VM</a:t>
            </a:r>
          </a:p>
        </p:txBody>
      </p:sp>
      <p:sp>
        <p:nvSpPr>
          <p:cNvPr id="76" name="Text Box 55"/>
          <p:cNvSpPr txBox="1">
            <a:spLocks noChangeArrowheads="1"/>
          </p:cNvSpPr>
          <p:nvPr/>
        </p:nvSpPr>
        <p:spPr bwMode="auto">
          <a:xfrm>
            <a:off x="9782969" y="3181268"/>
            <a:ext cx="319310" cy="36933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52700E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6" tIns="45719" rIns="91436" bIns="45719">
            <a:spAutoFit/>
          </a:bodyPr>
          <a:lstStyle>
            <a:lvl1pPr defTabSz="6858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6858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6858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6858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6858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1800">
                <a:solidFill>
                  <a:srgbClr val="00A9D4"/>
                </a:solidFill>
                <a:ea typeface="MS PGothic" pitchFamily="34" charset="-128"/>
              </a:rPr>
              <a:t>+</a:t>
            </a:r>
          </a:p>
        </p:txBody>
      </p:sp>
      <p:sp>
        <p:nvSpPr>
          <p:cNvPr id="77" name="AutoShape 347"/>
          <p:cNvSpPr>
            <a:spLocks noChangeAspect="1" noChangeArrowheads="1"/>
          </p:cNvSpPr>
          <p:nvPr/>
        </p:nvSpPr>
        <p:spPr bwMode="auto">
          <a:xfrm>
            <a:off x="7209632" y="1938254"/>
            <a:ext cx="1824037" cy="768350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2D05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3244" tIns="36623" rIns="73244" bIns="36623" anchor="ctr"/>
          <a:lstStyle>
            <a:lvl1pPr defTabSz="549275" eaLnBrk="0" hangingPunct="0">
              <a:defRPr sz="15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549275" eaLnBrk="0" hangingPunct="0">
              <a:defRPr sz="15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549275" eaLnBrk="0" hangingPunct="0">
              <a:defRPr sz="15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549275" eaLnBrk="0" hangingPunct="0">
              <a:defRPr sz="15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549275" eaLnBrk="0" hangingPunct="0">
              <a:defRPr sz="15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549275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549275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549275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549275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50000"/>
              </a:spcBef>
              <a:defRPr/>
            </a:pPr>
            <a:r>
              <a:rPr lang="sv-SE" sz="1600" b="1" dirty="0">
                <a:solidFill>
                  <a:srgbClr val="FFFFFF"/>
                </a:solidFill>
                <a:cs typeface="+mn-cs"/>
              </a:rPr>
              <a:t>   Distributed</a:t>
            </a:r>
            <a:endParaRPr lang="en-US" sz="1600" b="1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78" name="AutoShape 347"/>
          <p:cNvSpPr>
            <a:spLocks noChangeAspect="1" noChangeArrowheads="1"/>
          </p:cNvSpPr>
          <p:nvPr/>
        </p:nvSpPr>
        <p:spPr bwMode="auto">
          <a:xfrm>
            <a:off x="9020973" y="1938254"/>
            <a:ext cx="1824039" cy="768350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2D05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3244" tIns="36623" rIns="73244" bIns="36623" anchor="ctr"/>
          <a:lstStyle>
            <a:lvl1pPr defTabSz="549275" eaLnBrk="0" hangingPunct="0">
              <a:defRPr sz="15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549275" eaLnBrk="0" hangingPunct="0">
              <a:defRPr sz="15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549275" eaLnBrk="0" hangingPunct="0">
              <a:defRPr sz="15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549275" eaLnBrk="0" hangingPunct="0">
              <a:defRPr sz="15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549275" eaLnBrk="0" hangingPunct="0">
              <a:defRPr sz="15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549275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549275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549275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549275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50000"/>
              </a:spcBef>
              <a:defRPr/>
            </a:pPr>
            <a:r>
              <a:rPr lang="sv-SE" sz="1600" b="1" dirty="0">
                <a:solidFill>
                  <a:srgbClr val="FFFFFF"/>
                </a:solidFill>
                <a:cs typeface="+mn-cs"/>
              </a:rPr>
              <a:t>Elastic</a:t>
            </a:r>
            <a:endParaRPr lang="en-US" sz="1600" b="1" dirty="0">
              <a:solidFill>
                <a:srgbClr val="FFFFFF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62470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538164" y="269875"/>
            <a:ext cx="9991725" cy="1085850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CA" dirty="0" smtClean="0"/>
              <a:t>Telco cloud</a:t>
            </a:r>
            <a:endParaRPr lang="en-US" dirty="0" smtClean="0"/>
          </a:p>
        </p:txBody>
      </p:sp>
      <p:sp>
        <p:nvSpPr>
          <p:cNvPr id="11272" name="Rectangle 2"/>
          <p:cNvSpPr>
            <a:spLocks noChangeArrowheads="1"/>
          </p:cNvSpPr>
          <p:nvPr/>
        </p:nvSpPr>
        <p:spPr bwMode="auto">
          <a:xfrm>
            <a:off x="7188201" y="1655763"/>
            <a:ext cx="4881563" cy="239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 anchor="b">
            <a:spAutoFit/>
          </a:bodyPr>
          <a:lstStyle/>
          <a:p>
            <a:pPr algn="ctr">
              <a:lnSpc>
                <a:spcPct val="75000"/>
              </a:lnSpc>
              <a:spcBef>
                <a:spcPct val="50000"/>
              </a:spcBef>
              <a:defRPr/>
            </a:pPr>
            <a:r>
              <a:rPr lang="en-CA" b="1" dirty="0">
                <a:solidFill>
                  <a:srgbClr val="89BA17"/>
                </a:solidFill>
                <a:latin typeface="+mn-lt"/>
                <a:cs typeface="Arial" charset="0"/>
              </a:rPr>
              <a:t>Telco Cloud</a:t>
            </a:r>
            <a:endParaRPr lang="en-US" b="1" dirty="0">
              <a:solidFill>
                <a:srgbClr val="89BA17"/>
              </a:solidFill>
              <a:latin typeface="+mn-lt"/>
              <a:cs typeface="Arial" charset="0"/>
            </a:endParaRPr>
          </a:p>
        </p:txBody>
      </p:sp>
      <p:sp>
        <p:nvSpPr>
          <p:cNvPr id="21509" name="Rectangle 3"/>
          <p:cNvSpPr>
            <a:spLocks noChangeArrowheads="1"/>
          </p:cNvSpPr>
          <p:nvPr/>
        </p:nvSpPr>
        <p:spPr bwMode="auto">
          <a:xfrm>
            <a:off x="7188202" y="2616418"/>
            <a:ext cx="4883151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 anchor="b">
            <a:spAutoFit/>
          </a:bodyPr>
          <a:lstStyle/>
          <a:p>
            <a:pPr algn="ctr">
              <a:lnSpc>
                <a:spcPct val="75000"/>
              </a:lnSpc>
              <a:spcBef>
                <a:spcPct val="50000"/>
              </a:spcBef>
            </a:pPr>
            <a:endParaRPr lang="en-US" sz="1800">
              <a:solidFill>
                <a:srgbClr val="F08A00"/>
              </a:solidFill>
              <a:latin typeface="Ericsson Capital TT" pitchFamily="2" charset="0"/>
            </a:endParaRPr>
          </a:p>
        </p:txBody>
      </p:sp>
      <p:grpSp>
        <p:nvGrpSpPr>
          <p:cNvPr id="21510" name="Group 207"/>
          <p:cNvGrpSpPr>
            <a:grpSpLocks/>
          </p:cNvGrpSpPr>
          <p:nvPr/>
        </p:nvGrpSpPr>
        <p:grpSpPr bwMode="auto">
          <a:xfrm>
            <a:off x="7667941" y="3951281"/>
            <a:ext cx="485775" cy="413178"/>
            <a:chOff x="2632" y="3374"/>
            <a:chExt cx="320" cy="344"/>
          </a:xfrm>
        </p:grpSpPr>
        <p:sp>
          <p:nvSpPr>
            <p:cNvPr id="21604" name="AutoShape 3"/>
            <p:cNvSpPr>
              <a:spLocks noChangeArrowheads="1"/>
            </p:cNvSpPr>
            <p:nvPr/>
          </p:nvSpPr>
          <p:spPr bwMode="auto">
            <a:xfrm>
              <a:off x="2651" y="3439"/>
              <a:ext cx="140" cy="50"/>
            </a:xfrm>
            <a:prstGeom prst="flowChartAlternateProcess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</a:pPr>
              <a:r>
                <a:rPr lang="en-US" sz="100">
                  <a:solidFill>
                    <a:schemeClr val="bg1"/>
                  </a:solidFill>
                </a:rPr>
                <a:t>Compute</a:t>
              </a:r>
            </a:p>
          </p:txBody>
        </p:sp>
        <p:sp>
          <p:nvSpPr>
            <p:cNvPr id="7" name="AutoShape 7"/>
            <p:cNvSpPr>
              <a:spLocks noChangeArrowheads="1"/>
            </p:cNvSpPr>
            <p:nvPr/>
          </p:nvSpPr>
          <p:spPr bwMode="auto">
            <a:xfrm>
              <a:off x="2653" y="3563"/>
              <a:ext cx="271" cy="114"/>
            </a:xfrm>
            <a:prstGeom prst="roundRect">
              <a:avLst>
                <a:gd name="adj" fmla="val 16667"/>
              </a:avLst>
            </a:prstGeom>
            <a:solidFill>
              <a:schemeClr val="bg2"/>
            </a:solidFill>
            <a:ln w="12700">
              <a:solidFill>
                <a:schemeClr val="bg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  <a:defRPr/>
              </a:pPr>
              <a:endParaRPr lang="en-US" sz="100">
                <a:latin typeface="Arial" charset="0"/>
                <a:cs typeface="+mn-cs"/>
              </a:endParaRPr>
            </a:p>
          </p:txBody>
        </p:sp>
        <p:sp>
          <p:nvSpPr>
            <p:cNvPr id="21606" name="AutoShape 3"/>
            <p:cNvSpPr>
              <a:spLocks noChangeArrowheads="1"/>
            </p:cNvSpPr>
            <p:nvPr/>
          </p:nvSpPr>
          <p:spPr bwMode="auto">
            <a:xfrm>
              <a:off x="2652" y="3500"/>
              <a:ext cx="141" cy="51"/>
            </a:xfrm>
            <a:prstGeom prst="flowChartAlternateProcess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</a:pPr>
              <a:r>
                <a:rPr lang="en-CA" sz="100">
                  <a:solidFill>
                    <a:schemeClr val="bg1"/>
                  </a:solidFill>
                </a:rPr>
                <a:t>Firewall</a:t>
              </a:r>
              <a:endParaRPr lang="en-US" sz="100">
                <a:solidFill>
                  <a:schemeClr val="bg1"/>
                </a:solidFill>
              </a:endParaRPr>
            </a:p>
          </p:txBody>
        </p:sp>
        <p:sp>
          <p:nvSpPr>
            <p:cNvPr id="21607" name="AutoShape 3"/>
            <p:cNvSpPr>
              <a:spLocks noChangeArrowheads="1"/>
            </p:cNvSpPr>
            <p:nvPr/>
          </p:nvSpPr>
          <p:spPr bwMode="auto">
            <a:xfrm>
              <a:off x="2808" y="3499"/>
              <a:ext cx="121" cy="51"/>
            </a:xfrm>
            <a:prstGeom prst="flowChartAlternateProcess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</a:pPr>
              <a:r>
                <a:rPr lang="en-CA" sz="100">
                  <a:solidFill>
                    <a:schemeClr val="bg1"/>
                  </a:solidFill>
                </a:rPr>
                <a:t>LB</a:t>
              </a:r>
              <a:endParaRPr lang="en-US" sz="100">
                <a:solidFill>
                  <a:schemeClr val="bg1"/>
                </a:solidFill>
              </a:endParaRPr>
            </a:p>
          </p:txBody>
        </p:sp>
        <p:sp>
          <p:nvSpPr>
            <p:cNvPr id="21608" name="AutoShape 4"/>
            <p:cNvSpPr>
              <a:spLocks noChangeArrowheads="1"/>
            </p:cNvSpPr>
            <p:nvPr/>
          </p:nvSpPr>
          <p:spPr bwMode="auto">
            <a:xfrm>
              <a:off x="2807" y="3438"/>
              <a:ext cx="123" cy="51"/>
            </a:xfrm>
            <a:prstGeom prst="flowChartAlternateProcess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</a:pPr>
              <a:r>
                <a:rPr lang="en-US" sz="100">
                  <a:solidFill>
                    <a:schemeClr val="bg1"/>
                  </a:solidFill>
                </a:rPr>
                <a:t>Storage</a:t>
              </a:r>
            </a:p>
          </p:txBody>
        </p:sp>
        <p:sp>
          <p:nvSpPr>
            <p:cNvPr id="9" name="Text Box 11"/>
            <p:cNvSpPr txBox="1">
              <a:spLocks noChangeArrowheads="1"/>
            </p:cNvSpPr>
            <p:nvPr/>
          </p:nvSpPr>
          <p:spPr bwMode="auto">
            <a:xfrm>
              <a:off x="2634" y="3545"/>
              <a:ext cx="296" cy="1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72000" rIns="7200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defRPr/>
              </a:pPr>
              <a:r>
                <a:rPr lang="en-CA" sz="200" b="1">
                  <a:solidFill>
                    <a:schemeClr val="bg1"/>
                  </a:solidFill>
                  <a:latin typeface="Ericsson Capital TT" charset="0"/>
                  <a:cs typeface="Arial" charset="0"/>
                </a:rPr>
                <a:t>NETWORK FABRIC</a:t>
              </a:r>
              <a:endParaRPr lang="en-US" sz="200" b="1">
                <a:solidFill>
                  <a:schemeClr val="bg1"/>
                </a:solidFill>
                <a:latin typeface="Ericsson Capital TT" charset="0"/>
                <a:cs typeface="Arial" charset="0"/>
              </a:endParaRPr>
            </a:p>
          </p:txBody>
        </p:sp>
        <p:sp>
          <p:nvSpPr>
            <p:cNvPr id="10" name="AutoShape 12"/>
            <p:cNvSpPr>
              <a:spLocks noChangeArrowheads="1"/>
            </p:cNvSpPr>
            <p:nvPr/>
          </p:nvSpPr>
          <p:spPr bwMode="auto">
            <a:xfrm>
              <a:off x="2632" y="3389"/>
              <a:ext cx="320" cy="329"/>
            </a:xfrm>
            <a:prstGeom prst="roundRect">
              <a:avLst>
                <a:gd name="adj" fmla="val 16667"/>
              </a:avLst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  <a:defRPr/>
              </a:pPr>
              <a:endParaRPr lang="en-CA" sz="700">
                <a:latin typeface="Arial" charset="0"/>
                <a:cs typeface="+mn-cs"/>
              </a:endParaRPr>
            </a:p>
          </p:txBody>
        </p:sp>
        <p:sp>
          <p:nvSpPr>
            <p:cNvPr id="11" name="Text Box 13"/>
            <p:cNvSpPr txBox="1">
              <a:spLocks noChangeArrowheads="1"/>
            </p:cNvSpPr>
            <p:nvPr/>
          </p:nvSpPr>
          <p:spPr bwMode="auto">
            <a:xfrm>
              <a:off x="2694" y="3374"/>
              <a:ext cx="187" cy="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72000" rIns="7200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defRPr/>
              </a:pPr>
              <a:r>
                <a:rPr lang="en-CA" sz="100" b="1">
                  <a:cs typeface="Arial" charset="0"/>
                </a:rPr>
                <a:t>POD</a:t>
              </a:r>
              <a:r>
                <a:rPr lang="en-CA" sz="100">
                  <a:cs typeface="Arial" charset="0"/>
                </a:rPr>
                <a:t> </a:t>
              </a:r>
              <a:r>
                <a:rPr lang="en-CA" sz="100" b="1">
                  <a:cs typeface="Arial" charset="0"/>
                </a:rPr>
                <a:t>1</a:t>
              </a:r>
              <a:endParaRPr lang="en-US" sz="100" b="1">
                <a:cs typeface="Arial" charset="0"/>
              </a:endParaRPr>
            </a:p>
          </p:txBody>
        </p:sp>
      </p:grpSp>
      <p:sp>
        <p:nvSpPr>
          <p:cNvPr id="15371" name="AutoShape 14"/>
          <p:cNvSpPr>
            <a:spLocks noChangeArrowheads="1"/>
          </p:cNvSpPr>
          <p:nvPr/>
        </p:nvSpPr>
        <p:spPr bwMode="auto">
          <a:xfrm>
            <a:off x="7607613" y="3597271"/>
            <a:ext cx="1689100" cy="836612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00A9D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72000" rIns="72000" anchor="ctr"/>
          <a:lstStyle/>
          <a:p>
            <a:pPr algn="ctr">
              <a:spcBef>
                <a:spcPct val="50000"/>
              </a:spcBef>
              <a:defRPr/>
            </a:pPr>
            <a:endParaRPr lang="en-CA" sz="700">
              <a:latin typeface="Arial" charset="0"/>
              <a:cs typeface="+mn-cs"/>
            </a:endParaRPr>
          </a:p>
        </p:txBody>
      </p:sp>
      <p:sp>
        <p:nvSpPr>
          <p:cNvPr id="15372" name="Text Box 15"/>
          <p:cNvSpPr txBox="1">
            <a:spLocks noChangeArrowheads="1"/>
          </p:cNvSpPr>
          <p:nvPr/>
        </p:nvSpPr>
        <p:spPr bwMode="auto">
          <a:xfrm>
            <a:off x="7712391" y="3573461"/>
            <a:ext cx="141922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72000" rIns="72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en-CA" sz="1000" dirty="0">
                <a:cs typeface="Arial" charset="0"/>
              </a:rPr>
              <a:t>DATACENTER 1</a:t>
            </a:r>
            <a:br>
              <a:rPr lang="en-CA" sz="1000" dirty="0">
                <a:cs typeface="Arial" charset="0"/>
              </a:rPr>
            </a:br>
            <a:r>
              <a:rPr lang="en-CA" sz="600" dirty="0">
                <a:cs typeface="Arial" charset="0"/>
              </a:rPr>
              <a:t>(geographical location X)</a:t>
            </a:r>
            <a:endParaRPr lang="en-US" sz="600" dirty="0">
              <a:cs typeface="Arial" charset="0"/>
            </a:endParaRPr>
          </a:p>
        </p:txBody>
      </p:sp>
      <p:sp>
        <p:nvSpPr>
          <p:cNvPr id="15373" name="Text Box 22"/>
          <p:cNvSpPr txBox="1">
            <a:spLocks noChangeArrowheads="1"/>
          </p:cNvSpPr>
          <p:nvPr/>
        </p:nvSpPr>
        <p:spPr bwMode="auto">
          <a:xfrm>
            <a:off x="8258491" y="4184648"/>
            <a:ext cx="3841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72000" rIns="72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en-CA" sz="200" b="1">
                <a:solidFill>
                  <a:schemeClr val="bg1"/>
                </a:solidFill>
                <a:latin typeface="Ericsson Capital TT" charset="0"/>
                <a:cs typeface="Arial" charset="0"/>
              </a:rPr>
              <a:t>NETWORK FABRIC</a:t>
            </a:r>
            <a:endParaRPr lang="en-US" sz="200" b="1">
              <a:solidFill>
                <a:schemeClr val="bg1"/>
              </a:solidFill>
              <a:latin typeface="Ericsson Capital TT" charset="0"/>
              <a:cs typeface="Arial" charset="0"/>
            </a:endParaRPr>
          </a:p>
        </p:txBody>
      </p:sp>
      <p:sp>
        <p:nvSpPr>
          <p:cNvPr id="15374" name="Text Box 31"/>
          <p:cNvSpPr txBox="1">
            <a:spLocks noChangeArrowheads="1"/>
          </p:cNvSpPr>
          <p:nvPr/>
        </p:nvSpPr>
        <p:spPr bwMode="auto">
          <a:xfrm>
            <a:off x="8791890" y="4183060"/>
            <a:ext cx="38576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72000" rIns="72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en-CA" sz="200" b="1">
                <a:solidFill>
                  <a:schemeClr val="bg1"/>
                </a:solidFill>
                <a:latin typeface="Ericsson Capital TT" charset="0"/>
                <a:cs typeface="Arial" charset="0"/>
              </a:rPr>
              <a:t>NETWORK FABRIC</a:t>
            </a:r>
            <a:endParaRPr lang="en-US" sz="200" b="1">
              <a:solidFill>
                <a:schemeClr val="bg1"/>
              </a:solidFill>
              <a:latin typeface="Ericsson Capital TT" charset="0"/>
              <a:cs typeface="Arial" charset="0"/>
            </a:endParaRPr>
          </a:p>
        </p:txBody>
      </p:sp>
      <p:sp>
        <p:nvSpPr>
          <p:cNvPr id="15375" name="Text Box 34"/>
          <p:cNvSpPr txBox="1">
            <a:spLocks noChangeArrowheads="1"/>
          </p:cNvSpPr>
          <p:nvPr/>
        </p:nvSpPr>
        <p:spPr bwMode="auto">
          <a:xfrm>
            <a:off x="9320528" y="3594100"/>
            <a:ext cx="871537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72000" rIns="72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en-CA" sz="1000">
                <a:cs typeface="Arial" charset="0"/>
              </a:rPr>
              <a:t>DC 2</a:t>
            </a:r>
            <a:br>
              <a:rPr lang="en-CA" sz="1000">
                <a:cs typeface="Arial" charset="0"/>
              </a:rPr>
            </a:br>
            <a:r>
              <a:rPr lang="en-CA" sz="600">
                <a:cs typeface="Arial" charset="0"/>
              </a:rPr>
              <a:t>(geo loc Y)</a:t>
            </a:r>
            <a:endParaRPr lang="en-US" sz="600">
              <a:cs typeface="Arial" charset="0"/>
            </a:endParaRPr>
          </a:p>
        </p:txBody>
      </p:sp>
      <p:sp>
        <p:nvSpPr>
          <p:cNvPr id="21516" name="Freeform 65" descr="bpct-blend3"/>
          <p:cNvSpPr>
            <a:spLocks noChangeAspect="1"/>
          </p:cNvSpPr>
          <p:nvPr/>
        </p:nvSpPr>
        <p:spPr bwMode="auto">
          <a:xfrm>
            <a:off x="7163115" y="2352675"/>
            <a:ext cx="5033963" cy="2509837"/>
          </a:xfrm>
          <a:custGeom>
            <a:avLst/>
            <a:gdLst>
              <a:gd name="T0" fmla="*/ 2147483647 w 474"/>
              <a:gd name="T1" fmla="*/ 2147483647 h 295"/>
              <a:gd name="T2" fmla="*/ 2147483647 w 474"/>
              <a:gd name="T3" fmla="*/ 2147483647 h 295"/>
              <a:gd name="T4" fmla="*/ 2147483647 w 474"/>
              <a:gd name="T5" fmla="*/ 2147483647 h 295"/>
              <a:gd name="T6" fmla="*/ 2147483647 w 474"/>
              <a:gd name="T7" fmla="*/ 2147483647 h 295"/>
              <a:gd name="T8" fmla="*/ 2147483647 w 474"/>
              <a:gd name="T9" fmla="*/ 2147483647 h 295"/>
              <a:gd name="T10" fmla="*/ 2147483647 w 474"/>
              <a:gd name="T11" fmla="*/ 2147483647 h 295"/>
              <a:gd name="T12" fmla="*/ 2147483647 w 474"/>
              <a:gd name="T13" fmla="*/ 2147483647 h 295"/>
              <a:gd name="T14" fmla="*/ 2147483647 w 474"/>
              <a:gd name="T15" fmla="*/ 2147483647 h 295"/>
              <a:gd name="T16" fmla="*/ 2147483647 w 474"/>
              <a:gd name="T17" fmla="*/ 2147483647 h 295"/>
              <a:gd name="T18" fmla="*/ 2147483647 w 474"/>
              <a:gd name="T19" fmla="*/ 2147483647 h 295"/>
              <a:gd name="T20" fmla="*/ 2147483647 w 474"/>
              <a:gd name="T21" fmla="*/ 2147483647 h 295"/>
              <a:gd name="T22" fmla="*/ 2147483647 w 474"/>
              <a:gd name="T23" fmla="*/ 2147483647 h 295"/>
              <a:gd name="T24" fmla="*/ 2147483647 w 474"/>
              <a:gd name="T25" fmla="*/ 2147483647 h 295"/>
              <a:gd name="T26" fmla="*/ 2147483647 w 474"/>
              <a:gd name="T27" fmla="*/ 2147483647 h 295"/>
              <a:gd name="T28" fmla="*/ 2147483647 w 474"/>
              <a:gd name="T29" fmla="*/ 2147483647 h 295"/>
              <a:gd name="T30" fmla="*/ 2147483647 w 474"/>
              <a:gd name="T31" fmla="*/ 2147483647 h 295"/>
              <a:gd name="T32" fmla="*/ 2147483647 w 474"/>
              <a:gd name="T33" fmla="*/ 2147483647 h 295"/>
              <a:gd name="T34" fmla="*/ 2147483647 w 474"/>
              <a:gd name="T35" fmla="*/ 2147483647 h 295"/>
              <a:gd name="T36" fmla="*/ 2147483647 w 474"/>
              <a:gd name="T37" fmla="*/ 2147483647 h 295"/>
              <a:gd name="T38" fmla="*/ 2147483647 w 474"/>
              <a:gd name="T39" fmla="*/ 2147483647 h 295"/>
              <a:gd name="T40" fmla="*/ 2147483647 w 474"/>
              <a:gd name="T41" fmla="*/ 2147483647 h 295"/>
              <a:gd name="T42" fmla="*/ 2147483647 w 474"/>
              <a:gd name="T43" fmla="*/ 2147483647 h 295"/>
              <a:gd name="T44" fmla="*/ 2147483647 w 474"/>
              <a:gd name="T45" fmla="*/ 2147483647 h 295"/>
              <a:gd name="T46" fmla="*/ 2147483647 w 474"/>
              <a:gd name="T47" fmla="*/ 2147483647 h 295"/>
              <a:gd name="T48" fmla="*/ 2147483647 w 474"/>
              <a:gd name="T49" fmla="*/ 2147483647 h 295"/>
              <a:gd name="T50" fmla="*/ 2147483647 w 474"/>
              <a:gd name="T51" fmla="*/ 2147483647 h 295"/>
              <a:gd name="T52" fmla="*/ 2147483647 w 474"/>
              <a:gd name="T53" fmla="*/ 2147483647 h 295"/>
              <a:gd name="T54" fmla="*/ 2147483647 w 474"/>
              <a:gd name="T55" fmla="*/ 2147483647 h 295"/>
              <a:gd name="T56" fmla="*/ 2147483647 w 474"/>
              <a:gd name="T57" fmla="*/ 2147483647 h 295"/>
              <a:gd name="T58" fmla="*/ 2147483647 w 474"/>
              <a:gd name="T59" fmla="*/ 0 h 295"/>
              <a:gd name="T60" fmla="*/ 2147483647 w 474"/>
              <a:gd name="T61" fmla="*/ 2147483647 h 295"/>
              <a:gd name="T62" fmla="*/ 0 w 474"/>
              <a:gd name="T63" fmla="*/ 2147483647 h 295"/>
              <a:gd name="T64" fmla="*/ 2147483647 w 474"/>
              <a:gd name="T65" fmla="*/ 2147483647 h 295"/>
              <a:gd name="T66" fmla="*/ 2147483647 w 474"/>
              <a:gd name="T67" fmla="*/ 2147483647 h 295"/>
              <a:gd name="T68" fmla="*/ 2147483647 w 474"/>
              <a:gd name="T69" fmla="*/ 2147483647 h 295"/>
              <a:gd name="T70" fmla="*/ 2147483647 w 474"/>
              <a:gd name="T71" fmla="*/ 2147483647 h 295"/>
              <a:gd name="T72" fmla="*/ 2147483647 w 474"/>
              <a:gd name="T73" fmla="*/ 2147483647 h 295"/>
              <a:gd name="T74" fmla="*/ 2147483647 w 474"/>
              <a:gd name="T75" fmla="*/ 2147483647 h 295"/>
              <a:gd name="T76" fmla="*/ 2147483647 w 474"/>
              <a:gd name="T77" fmla="*/ 2147483647 h 295"/>
              <a:gd name="T78" fmla="*/ 2147483647 w 474"/>
              <a:gd name="T79" fmla="*/ 2147483647 h 295"/>
              <a:gd name="T80" fmla="*/ 2147483647 w 474"/>
              <a:gd name="T81" fmla="*/ 2147483647 h 295"/>
              <a:gd name="T82" fmla="*/ 2147483647 w 474"/>
              <a:gd name="T83" fmla="*/ 2147483647 h 295"/>
              <a:gd name="T84" fmla="*/ 2147483647 w 474"/>
              <a:gd name="T85" fmla="*/ 2147483647 h 29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474" h="295">
                <a:moveTo>
                  <a:pt x="454" y="182"/>
                </a:moveTo>
                <a:cubicBezTo>
                  <a:pt x="461" y="168"/>
                  <a:pt x="466" y="153"/>
                  <a:pt x="466" y="136"/>
                </a:cubicBezTo>
                <a:cubicBezTo>
                  <a:pt x="466" y="106"/>
                  <a:pt x="452" y="80"/>
                  <a:pt x="432" y="61"/>
                </a:cubicBezTo>
                <a:cubicBezTo>
                  <a:pt x="428" y="58"/>
                  <a:pt x="423" y="59"/>
                  <a:pt x="420" y="63"/>
                </a:cubicBezTo>
                <a:cubicBezTo>
                  <a:pt x="418" y="66"/>
                  <a:pt x="418" y="71"/>
                  <a:pt x="422" y="74"/>
                </a:cubicBezTo>
                <a:cubicBezTo>
                  <a:pt x="422" y="74"/>
                  <a:pt x="422" y="74"/>
                  <a:pt x="422" y="74"/>
                </a:cubicBezTo>
                <a:cubicBezTo>
                  <a:pt x="439" y="90"/>
                  <a:pt x="450" y="112"/>
                  <a:pt x="450" y="136"/>
                </a:cubicBezTo>
                <a:cubicBezTo>
                  <a:pt x="450" y="152"/>
                  <a:pt x="445" y="167"/>
                  <a:pt x="437" y="179"/>
                </a:cubicBezTo>
                <a:cubicBezTo>
                  <a:pt x="435" y="183"/>
                  <a:pt x="436" y="187"/>
                  <a:pt x="439" y="189"/>
                </a:cubicBezTo>
                <a:cubicBezTo>
                  <a:pt x="450" y="200"/>
                  <a:pt x="458" y="214"/>
                  <a:pt x="458" y="230"/>
                </a:cubicBezTo>
                <a:cubicBezTo>
                  <a:pt x="458" y="240"/>
                  <a:pt x="453" y="253"/>
                  <a:pt x="445" y="262"/>
                </a:cubicBezTo>
                <a:cubicBezTo>
                  <a:pt x="436" y="272"/>
                  <a:pt x="424" y="279"/>
                  <a:pt x="410" y="279"/>
                </a:cubicBezTo>
                <a:cubicBezTo>
                  <a:pt x="350" y="279"/>
                  <a:pt x="350" y="279"/>
                  <a:pt x="350" y="279"/>
                </a:cubicBezTo>
                <a:cubicBezTo>
                  <a:pt x="74" y="279"/>
                  <a:pt x="74" y="279"/>
                  <a:pt x="74" y="279"/>
                </a:cubicBezTo>
                <a:cubicBezTo>
                  <a:pt x="58" y="279"/>
                  <a:pt x="44" y="270"/>
                  <a:pt x="33" y="256"/>
                </a:cubicBezTo>
                <a:cubicBezTo>
                  <a:pt x="22" y="243"/>
                  <a:pt x="16" y="225"/>
                  <a:pt x="16" y="209"/>
                </a:cubicBezTo>
                <a:cubicBezTo>
                  <a:pt x="16" y="172"/>
                  <a:pt x="42" y="141"/>
                  <a:pt x="77" y="134"/>
                </a:cubicBezTo>
                <a:cubicBezTo>
                  <a:pt x="81" y="133"/>
                  <a:pt x="83" y="130"/>
                  <a:pt x="84" y="127"/>
                </a:cubicBezTo>
                <a:cubicBezTo>
                  <a:pt x="90" y="65"/>
                  <a:pt x="142" y="16"/>
                  <a:pt x="206" y="16"/>
                </a:cubicBezTo>
                <a:cubicBezTo>
                  <a:pt x="247" y="16"/>
                  <a:pt x="282" y="36"/>
                  <a:pt x="305" y="66"/>
                </a:cubicBezTo>
                <a:cubicBezTo>
                  <a:pt x="308" y="70"/>
                  <a:pt x="313" y="70"/>
                  <a:pt x="316" y="68"/>
                </a:cubicBezTo>
                <a:cubicBezTo>
                  <a:pt x="330" y="58"/>
                  <a:pt x="347" y="52"/>
                  <a:pt x="365" y="52"/>
                </a:cubicBezTo>
                <a:cubicBezTo>
                  <a:pt x="376" y="52"/>
                  <a:pt x="386" y="54"/>
                  <a:pt x="395" y="57"/>
                </a:cubicBezTo>
                <a:cubicBezTo>
                  <a:pt x="395" y="57"/>
                  <a:pt x="396" y="58"/>
                  <a:pt x="396" y="58"/>
                </a:cubicBezTo>
                <a:cubicBezTo>
                  <a:pt x="400" y="59"/>
                  <a:pt x="405" y="58"/>
                  <a:pt x="406" y="54"/>
                </a:cubicBezTo>
                <a:cubicBezTo>
                  <a:pt x="407" y="52"/>
                  <a:pt x="407" y="51"/>
                  <a:pt x="407" y="49"/>
                </a:cubicBezTo>
                <a:cubicBezTo>
                  <a:pt x="407" y="47"/>
                  <a:pt x="405" y="44"/>
                  <a:pt x="403" y="43"/>
                </a:cubicBezTo>
                <a:cubicBezTo>
                  <a:pt x="391" y="38"/>
                  <a:pt x="378" y="36"/>
                  <a:pt x="365" y="36"/>
                </a:cubicBezTo>
                <a:cubicBezTo>
                  <a:pt x="346" y="36"/>
                  <a:pt x="328" y="41"/>
                  <a:pt x="313" y="51"/>
                </a:cubicBezTo>
                <a:cubicBezTo>
                  <a:pt x="288" y="20"/>
                  <a:pt x="249" y="0"/>
                  <a:pt x="206" y="0"/>
                </a:cubicBezTo>
                <a:cubicBezTo>
                  <a:pt x="136" y="0"/>
                  <a:pt x="78" y="52"/>
                  <a:pt x="68" y="120"/>
                </a:cubicBezTo>
                <a:cubicBezTo>
                  <a:pt x="29" y="130"/>
                  <a:pt x="0" y="166"/>
                  <a:pt x="0" y="209"/>
                </a:cubicBezTo>
                <a:cubicBezTo>
                  <a:pt x="0" y="229"/>
                  <a:pt x="7" y="250"/>
                  <a:pt x="20" y="266"/>
                </a:cubicBezTo>
                <a:cubicBezTo>
                  <a:pt x="33" y="283"/>
                  <a:pt x="52" y="295"/>
                  <a:pt x="74" y="295"/>
                </a:cubicBezTo>
                <a:cubicBezTo>
                  <a:pt x="350" y="295"/>
                  <a:pt x="350" y="295"/>
                  <a:pt x="350" y="295"/>
                </a:cubicBezTo>
                <a:cubicBezTo>
                  <a:pt x="350" y="295"/>
                  <a:pt x="351" y="295"/>
                  <a:pt x="351" y="295"/>
                </a:cubicBezTo>
                <a:cubicBezTo>
                  <a:pt x="382" y="295"/>
                  <a:pt x="382" y="295"/>
                  <a:pt x="382" y="295"/>
                </a:cubicBezTo>
                <a:cubicBezTo>
                  <a:pt x="382" y="295"/>
                  <a:pt x="382" y="295"/>
                  <a:pt x="382" y="295"/>
                </a:cubicBezTo>
                <a:cubicBezTo>
                  <a:pt x="382" y="295"/>
                  <a:pt x="382" y="295"/>
                  <a:pt x="382" y="295"/>
                </a:cubicBezTo>
                <a:cubicBezTo>
                  <a:pt x="410" y="295"/>
                  <a:pt x="410" y="295"/>
                  <a:pt x="410" y="295"/>
                </a:cubicBezTo>
                <a:cubicBezTo>
                  <a:pt x="430" y="295"/>
                  <a:pt x="446" y="286"/>
                  <a:pt x="457" y="273"/>
                </a:cubicBezTo>
                <a:cubicBezTo>
                  <a:pt x="468" y="260"/>
                  <a:pt x="474" y="244"/>
                  <a:pt x="474" y="230"/>
                </a:cubicBezTo>
                <a:cubicBezTo>
                  <a:pt x="474" y="211"/>
                  <a:pt x="466" y="194"/>
                  <a:pt x="454" y="182"/>
                </a:cubicBezTo>
                <a:close/>
              </a:path>
            </a:pathLst>
          </a:custGeom>
          <a:blipFill dpi="0" rotWithShape="0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542" name="AutoShape 66"/>
          <p:cNvSpPr>
            <a:spLocks noChangeArrowheads="1"/>
          </p:cNvSpPr>
          <p:nvPr/>
        </p:nvSpPr>
        <p:spPr bwMode="auto">
          <a:xfrm>
            <a:off x="8347391" y="3059108"/>
            <a:ext cx="3248025" cy="261938"/>
          </a:xfrm>
          <a:prstGeom prst="roundRect">
            <a:avLst>
              <a:gd name="adj" fmla="val 16667"/>
            </a:avLst>
          </a:prstGeom>
          <a:noFill/>
          <a:ln w="57150" algn="ctr">
            <a:solidFill>
              <a:srgbClr val="5B659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spcBef>
                <a:spcPct val="50000"/>
              </a:spcBef>
              <a:defRPr/>
            </a:pPr>
            <a:endParaRPr lang="en-US" sz="1050">
              <a:ea typeface="MS PGothic" pitchFamily="34" charset="-128"/>
              <a:cs typeface="+mn-cs"/>
            </a:endParaRPr>
          </a:p>
        </p:txBody>
      </p:sp>
      <p:sp>
        <p:nvSpPr>
          <p:cNvPr id="22543" name="Text Box 67"/>
          <p:cNvSpPr txBox="1">
            <a:spLocks noChangeArrowheads="1"/>
          </p:cNvSpPr>
          <p:nvPr/>
        </p:nvSpPr>
        <p:spPr bwMode="auto">
          <a:xfrm>
            <a:off x="8471214" y="3041648"/>
            <a:ext cx="2894013" cy="261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en-CA" sz="1050" dirty="0" smtClean="0">
                <a:ea typeface="MS PGothic" pitchFamily="34" charset="-128"/>
              </a:rPr>
              <a:t>Cloud Management System</a:t>
            </a:r>
            <a:endParaRPr lang="en-US" sz="1050" dirty="0" smtClean="0">
              <a:ea typeface="MS PGothic" pitchFamily="34" charset="-128"/>
            </a:endParaRPr>
          </a:p>
        </p:txBody>
      </p:sp>
      <p:sp>
        <p:nvSpPr>
          <p:cNvPr id="15379" name="Text Box 68"/>
          <p:cNvSpPr txBox="1">
            <a:spLocks noChangeArrowheads="1"/>
          </p:cNvSpPr>
          <p:nvPr/>
        </p:nvSpPr>
        <p:spPr bwMode="auto">
          <a:xfrm>
            <a:off x="8387078" y="2697158"/>
            <a:ext cx="1914525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en-CA" sz="1100" b="1">
                <a:cs typeface="Arial" charset="0"/>
              </a:rPr>
              <a:t>One logical Cloud</a:t>
            </a:r>
            <a:endParaRPr lang="en-US" sz="1100" b="1">
              <a:cs typeface="Arial" charset="0"/>
            </a:endParaRPr>
          </a:p>
        </p:txBody>
      </p:sp>
      <p:grpSp>
        <p:nvGrpSpPr>
          <p:cNvPr id="21520" name="Group 46"/>
          <p:cNvGrpSpPr>
            <a:grpSpLocks noChangeAspect="1"/>
          </p:cNvGrpSpPr>
          <p:nvPr/>
        </p:nvGrpSpPr>
        <p:grpSpPr bwMode="auto">
          <a:xfrm>
            <a:off x="8328339" y="4402133"/>
            <a:ext cx="222251" cy="254000"/>
            <a:chOff x="3455" y="860"/>
            <a:chExt cx="966" cy="1391"/>
          </a:xfrm>
        </p:grpSpPr>
        <p:sp>
          <p:nvSpPr>
            <p:cNvPr id="21601" name="Freeform 28"/>
            <p:cNvSpPr>
              <a:spLocks noChangeAspect="1"/>
            </p:cNvSpPr>
            <p:nvPr/>
          </p:nvSpPr>
          <p:spPr bwMode="auto">
            <a:xfrm>
              <a:off x="3474" y="879"/>
              <a:ext cx="928" cy="1353"/>
            </a:xfrm>
            <a:custGeom>
              <a:avLst/>
              <a:gdLst>
                <a:gd name="T0" fmla="*/ 2147483647 w 393"/>
                <a:gd name="T1" fmla="*/ 2147483647 h 573"/>
                <a:gd name="T2" fmla="*/ 2147483647 w 393"/>
                <a:gd name="T3" fmla="*/ 2147483647 h 573"/>
                <a:gd name="T4" fmla="*/ 2147483647 w 393"/>
                <a:gd name="T5" fmla="*/ 2147483647 h 573"/>
                <a:gd name="T6" fmla="*/ 2147483647 w 393"/>
                <a:gd name="T7" fmla="*/ 2147483647 h 573"/>
                <a:gd name="T8" fmla="*/ 0 w 393"/>
                <a:gd name="T9" fmla="*/ 2147483647 h 573"/>
                <a:gd name="T10" fmla="*/ 0 w 393"/>
                <a:gd name="T11" fmla="*/ 2147483647 h 573"/>
                <a:gd name="T12" fmla="*/ 2147483647 w 393"/>
                <a:gd name="T13" fmla="*/ 0 h 573"/>
                <a:gd name="T14" fmla="*/ 2147483647 w 393"/>
                <a:gd name="T15" fmla="*/ 0 h 573"/>
                <a:gd name="T16" fmla="*/ 2147483647 w 393"/>
                <a:gd name="T17" fmla="*/ 2147483647 h 573"/>
                <a:gd name="T18" fmla="*/ 2147483647 w 393"/>
                <a:gd name="T19" fmla="*/ 2147483647 h 57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93"/>
                <a:gd name="T31" fmla="*/ 0 h 573"/>
                <a:gd name="T32" fmla="*/ 393 w 393"/>
                <a:gd name="T33" fmla="*/ 573 h 57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93" h="573">
                  <a:moveTo>
                    <a:pt x="393" y="83"/>
                  </a:moveTo>
                  <a:cubicBezTo>
                    <a:pt x="393" y="541"/>
                    <a:pt x="393" y="541"/>
                    <a:pt x="393" y="541"/>
                  </a:cubicBezTo>
                  <a:cubicBezTo>
                    <a:pt x="393" y="559"/>
                    <a:pt x="379" y="573"/>
                    <a:pt x="361" y="573"/>
                  </a:cubicBezTo>
                  <a:cubicBezTo>
                    <a:pt x="32" y="573"/>
                    <a:pt x="32" y="573"/>
                    <a:pt x="32" y="573"/>
                  </a:cubicBezTo>
                  <a:cubicBezTo>
                    <a:pt x="14" y="573"/>
                    <a:pt x="0" y="559"/>
                    <a:pt x="0" y="54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361" y="0"/>
                    <a:pt x="361" y="0"/>
                    <a:pt x="361" y="0"/>
                  </a:cubicBezTo>
                  <a:cubicBezTo>
                    <a:pt x="379" y="0"/>
                    <a:pt x="393" y="14"/>
                    <a:pt x="393" y="32"/>
                  </a:cubicBezTo>
                  <a:cubicBezTo>
                    <a:pt x="393" y="51"/>
                    <a:pt x="393" y="51"/>
                    <a:pt x="393" y="5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21602" name="Freeform 29"/>
            <p:cNvSpPr>
              <a:spLocks noChangeAspect="1" noEditPoints="1"/>
            </p:cNvSpPr>
            <p:nvPr/>
          </p:nvSpPr>
          <p:spPr bwMode="auto">
            <a:xfrm>
              <a:off x="3455" y="860"/>
              <a:ext cx="966" cy="1391"/>
            </a:xfrm>
            <a:custGeom>
              <a:avLst/>
              <a:gdLst>
                <a:gd name="T0" fmla="*/ 2147483647 w 409"/>
                <a:gd name="T1" fmla="*/ 2147483647 h 589"/>
                <a:gd name="T2" fmla="*/ 2147483647 w 409"/>
                <a:gd name="T3" fmla="*/ 0 h 589"/>
                <a:gd name="T4" fmla="*/ 0 w 409"/>
                <a:gd name="T5" fmla="*/ 2147483647 h 589"/>
                <a:gd name="T6" fmla="*/ 2147483647 w 409"/>
                <a:gd name="T7" fmla="*/ 2147483647 h 589"/>
                <a:gd name="T8" fmla="*/ 2147483647 w 409"/>
                <a:gd name="T9" fmla="*/ 2147483647 h 589"/>
                <a:gd name="T10" fmla="*/ 2147483647 w 409"/>
                <a:gd name="T11" fmla="*/ 2147483647 h 589"/>
                <a:gd name="T12" fmla="*/ 2147483647 w 409"/>
                <a:gd name="T13" fmla="*/ 2147483647 h 589"/>
                <a:gd name="T14" fmla="*/ 2147483647 w 409"/>
                <a:gd name="T15" fmla="*/ 2147483647 h 589"/>
                <a:gd name="T16" fmla="*/ 2147483647 w 409"/>
                <a:gd name="T17" fmla="*/ 2147483647 h 589"/>
                <a:gd name="T18" fmla="*/ 2147483647 w 409"/>
                <a:gd name="T19" fmla="*/ 2147483647 h 589"/>
                <a:gd name="T20" fmla="*/ 2147483647 w 409"/>
                <a:gd name="T21" fmla="*/ 2147483647 h 589"/>
                <a:gd name="T22" fmla="*/ 2147483647 w 409"/>
                <a:gd name="T23" fmla="*/ 2147483647 h 589"/>
                <a:gd name="T24" fmla="*/ 2147483647 w 409"/>
                <a:gd name="T25" fmla="*/ 2147483647 h 589"/>
                <a:gd name="T26" fmla="*/ 2147483647 w 409"/>
                <a:gd name="T27" fmla="*/ 2147483647 h 589"/>
                <a:gd name="T28" fmla="*/ 2147483647 w 409"/>
                <a:gd name="T29" fmla="*/ 2147483647 h 589"/>
                <a:gd name="T30" fmla="*/ 2147483647 w 409"/>
                <a:gd name="T31" fmla="*/ 2147483647 h 589"/>
                <a:gd name="T32" fmla="*/ 2147483647 w 409"/>
                <a:gd name="T33" fmla="*/ 2147483647 h 589"/>
                <a:gd name="T34" fmla="*/ 2147483647 w 409"/>
                <a:gd name="T35" fmla="*/ 2147483647 h 589"/>
                <a:gd name="T36" fmla="*/ 2147483647 w 409"/>
                <a:gd name="T37" fmla="*/ 2147483647 h 589"/>
                <a:gd name="T38" fmla="*/ 2147483647 w 409"/>
                <a:gd name="T39" fmla="*/ 2147483647 h 589"/>
                <a:gd name="T40" fmla="*/ 2147483647 w 409"/>
                <a:gd name="T41" fmla="*/ 2147483647 h 589"/>
                <a:gd name="T42" fmla="*/ 2147483647 w 409"/>
                <a:gd name="T43" fmla="*/ 2147483647 h 589"/>
                <a:gd name="T44" fmla="*/ 2147483647 w 409"/>
                <a:gd name="T45" fmla="*/ 2147483647 h 589"/>
                <a:gd name="T46" fmla="*/ 2147483647 w 409"/>
                <a:gd name="T47" fmla="*/ 2147483647 h 589"/>
                <a:gd name="T48" fmla="*/ 2147483647 w 409"/>
                <a:gd name="T49" fmla="*/ 2147483647 h 589"/>
                <a:gd name="T50" fmla="*/ 2147483647 w 409"/>
                <a:gd name="T51" fmla="*/ 2147483647 h 589"/>
                <a:gd name="T52" fmla="*/ 2147483647 w 409"/>
                <a:gd name="T53" fmla="*/ 2147483647 h 589"/>
                <a:gd name="T54" fmla="*/ 2147483647 w 409"/>
                <a:gd name="T55" fmla="*/ 2147483647 h 589"/>
                <a:gd name="T56" fmla="*/ 2147483647 w 409"/>
                <a:gd name="T57" fmla="*/ 2147483647 h 589"/>
                <a:gd name="T58" fmla="*/ 2147483647 w 409"/>
                <a:gd name="T59" fmla="*/ 2147483647 h 589"/>
                <a:gd name="T60" fmla="*/ 2147483647 w 409"/>
                <a:gd name="T61" fmla="*/ 2147483647 h 589"/>
                <a:gd name="T62" fmla="*/ 2147483647 w 409"/>
                <a:gd name="T63" fmla="*/ 2147483647 h 589"/>
                <a:gd name="T64" fmla="*/ 2147483647 w 409"/>
                <a:gd name="T65" fmla="*/ 2147483647 h 589"/>
                <a:gd name="T66" fmla="*/ 2147483647 w 409"/>
                <a:gd name="T67" fmla="*/ 2147483647 h 589"/>
                <a:gd name="T68" fmla="*/ 2147483647 w 409"/>
                <a:gd name="T69" fmla="*/ 2147483647 h 589"/>
                <a:gd name="T70" fmla="*/ 2147483647 w 409"/>
                <a:gd name="T71" fmla="*/ 2147483647 h 589"/>
                <a:gd name="T72" fmla="*/ 2147483647 w 409"/>
                <a:gd name="T73" fmla="*/ 2147483647 h 58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409"/>
                <a:gd name="T112" fmla="*/ 0 h 589"/>
                <a:gd name="T113" fmla="*/ 409 w 409"/>
                <a:gd name="T114" fmla="*/ 589 h 589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409" h="589">
                  <a:moveTo>
                    <a:pt x="401" y="67"/>
                  </a:moveTo>
                  <a:cubicBezTo>
                    <a:pt x="405" y="67"/>
                    <a:pt x="409" y="64"/>
                    <a:pt x="409" y="59"/>
                  </a:cubicBezTo>
                  <a:cubicBezTo>
                    <a:pt x="409" y="40"/>
                    <a:pt x="409" y="40"/>
                    <a:pt x="409" y="40"/>
                  </a:cubicBezTo>
                  <a:cubicBezTo>
                    <a:pt x="409" y="18"/>
                    <a:pt x="391" y="0"/>
                    <a:pt x="369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549"/>
                    <a:pt x="0" y="549"/>
                    <a:pt x="0" y="549"/>
                  </a:cubicBezTo>
                  <a:cubicBezTo>
                    <a:pt x="0" y="571"/>
                    <a:pt x="18" y="589"/>
                    <a:pt x="40" y="589"/>
                  </a:cubicBezTo>
                  <a:cubicBezTo>
                    <a:pt x="369" y="589"/>
                    <a:pt x="369" y="589"/>
                    <a:pt x="369" y="589"/>
                  </a:cubicBezTo>
                  <a:cubicBezTo>
                    <a:pt x="391" y="589"/>
                    <a:pt x="409" y="571"/>
                    <a:pt x="409" y="549"/>
                  </a:cubicBezTo>
                  <a:cubicBezTo>
                    <a:pt x="409" y="91"/>
                    <a:pt x="409" y="91"/>
                    <a:pt x="409" y="91"/>
                  </a:cubicBezTo>
                  <a:cubicBezTo>
                    <a:pt x="409" y="87"/>
                    <a:pt x="405" y="83"/>
                    <a:pt x="401" y="83"/>
                  </a:cubicBezTo>
                  <a:cubicBezTo>
                    <a:pt x="397" y="83"/>
                    <a:pt x="393" y="87"/>
                    <a:pt x="393" y="91"/>
                  </a:cubicBezTo>
                  <a:cubicBezTo>
                    <a:pt x="393" y="549"/>
                    <a:pt x="393" y="549"/>
                    <a:pt x="393" y="549"/>
                  </a:cubicBezTo>
                  <a:cubicBezTo>
                    <a:pt x="393" y="562"/>
                    <a:pt x="382" y="573"/>
                    <a:pt x="369" y="573"/>
                  </a:cubicBezTo>
                  <a:cubicBezTo>
                    <a:pt x="40" y="573"/>
                    <a:pt x="40" y="573"/>
                    <a:pt x="40" y="573"/>
                  </a:cubicBezTo>
                  <a:cubicBezTo>
                    <a:pt x="26" y="573"/>
                    <a:pt x="16" y="562"/>
                    <a:pt x="16" y="549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27"/>
                    <a:pt x="26" y="16"/>
                    <a:pt x="40" y="16"/>
                  </a:cubicBezTo>
                  <a:cubicBezTo>
                    <a:pt x="369" y="16"/>
                    <a:pt x="369" y="16"/>
                    <a:pt x="369" y="16"/>
                  </a:cubicBezTo>
                  <a:cubicBezTo>
                    <a:pt x="382" y="16"/>
                    <a:pt x="393" y="27"/>
                    <a:pt x="393" y="40"/>
                  </a:cubicBezTo>
                  <a:cubicBezTo>
                    <a:pt x="393" y="59"/>
                    <a:pt x="393" y="59"/>
                    <a:pt x="393" y="59"/>
                  </a:cubicBezTo>
                  <a:cubicBezTo>
                    <a:pt x="393" y="64"/>
                    <a:pt x="397" y="67"/>
                    <a:pt x="401" y="67"/>
                  </a:cubicBezTo>
                  <a:close/>
                  <a:moveTo>
                    <a:pt x="319" y="153"/>
                  </a:moveTo>
                  <a:cubicBezTo>
                    <a:pt x="323" y="153"/>
                    <a:pt x="327" y="149"/>
                    <a:pt x="327" y="145"/>
                  </a:cubicBezTo>
                  <a:cubicBezTo>
                    <a:pt x="327" y="145"/>
                    <a:pt x="327" y="145"/>
                    <a:pt x="327" y="145"/>
                  </a:cubicBezTo>
                  <a:cubicBezTo>
                    <a:pt x="327" y="86"/>
                    <a:pt x="327" y="86"/>
                    <a:pt x="327" y="86"/>
                  </a:cubicBezTo>
                  <a:cubicBezTo>
                    <a:pt x="327" y="84"/>
                    <a:pt x="326" y="82"/>
                    <a:pt x="324" y="80"/>
                  </a:cubicBezTo>
                  <a:cubicBezTo>
                    <a:pt x="323" y="79"/>
                    <a:pt x="321" y="78"/>
                    <a:pt x="319" y="78"/>
                  </a:cubicBezTo>
                  <a:cubicBezTo>
                    <a:pt x="260" y="78"/>
                    <a:pt x="260" y="78"/>
                    <a:pt x="260" y="78"/>
                  </a:cubicBezTo>
                  <a:cubicBezTo>
                    <a:pt x="255" y="78"/>
                    <a:pt x="252" y="82"/>
                    <a:pt x="252" y="86"/>
                  </a:cubicBezTo>
                  <a:cubicBezTo>
                    <a:pt x="252" y="91"/>
                    <a:pt x="255" y="94"/>
                    <a:pt x="260" y="94"/>
                  </a:cubicBezTo>
                  <a:cubicBezTo>
                    <a:pt x="299" y="94"/>
                    <a:pt x="299" y="94"/>
                    <a:pt x="299" y="94"/>
                  </a:cubicBezTo>
                  <a:cubicBezTo>
                    <a:pt x="198" y="195"/>
                    <a:pt x="198" y="195"/>
                    <a:pt x="198" y="195"/>
                  </a:cubicBezTo>
                  <a:cubicBezTo>
                    <a:pt x="97" y="94"/>
                    <a:pt x="97" y="94"/>
                    <a:pt x="97" y="94"/>
                  </a:cubicBezTo>
                  <a:cubicBezTo>
                    <a:pt x="137" y="94"/>
                    <a:pt x="137" y="94"/>
                    <a:pt x="137" y="94"/>
                  </a:cubicBezTo>
                  <a:cubicBezTo>
                    <a:pt x="141" y="94"/>
                    <a:pt x="145" y="91"/>
                    <a:pt x="145" y="86"/>
                  </a:cubicBezTo>
                  <a:cubicBezTo>
                    <a:pt x="145" y="82"/>
                    <a:pt x="141" y="78"/>
                    <a:pt x="137" y="78"/>
                  </a:cubicBezTo>
                  <a:cubicBezTo>
                    <a:pt x="78" y="78"/>
                    <a:pt x="78" y="78"/>
                    <a:pt x="78" y="78"/>
                  </a:cubicBezTo>
                  <a:cubicBezTo>
                    <a:pt x="76" y="78"/>
                    <a:pt x="74" y="79"/>
                    <a:pt x="73" y="80"/>
                  </a:cubicBezTo>
                  <a:cubicBezTo>
                    <a:pt x="71" y="82"/>
                    <a:pt x="70" y="84"/>
                    <a:pt x="70" y="86"/>
                  </a:cubicBezTo>
                  <a:cubicBezTo>
                    <a:pt x="70" y="145"/>
                    <a:pt x="70" y="145"/>
                    <a:pt x="70" y="145"/>
                  </a:cubicBezTo>
                  <a:cubicBezTo>
                    <a:pt x="70" y="149"/>
                    <a:pt x="74" y="153"/>
                    <a:pt x="78" y="153"/>
                  </a:cubicBezTo>
                  <a:cubicBezTo>
                    <a:pt x="83" y="153"/>
                    <a:pt x="86" y="149"/>
                    <a:pt x="86" y="145"/>
                  </a:cubicBezTo>
                  <a:cubicBezTo>
                    <a:pt x="86" y="105"/>
                    <a:pt x="86" y="105"/>
                    <a:pt x="86" y="105"/>
                  </a:cubicBezTo>
                  <a:cubicBezTo>
                    <a:pt x="187" y="206"/>
                    <a:pt x="187" y="206"/>
                    <a:pt x="187" y="206"/>
                  </a:cubicBezTo>
                  <a:cubicBezTo>
                    <a:pt x="86" y="307"/>
                    <a:pt x="86" y="307"/>
                    <a:pt x="86" y="307"/>
                  </a:cubicBezTo>
                  <a:cubicBezTo>
                    <a:pt x="86" y="268"/>
                    <a:pt x="86" y="268"/>
                    <a:pt x="86" y="268"/>
                  </a:cubicBezTo>
                  <a:cubicBezTo>
                    <a:pt x="86" y="263"/>
                    <a:pt x="83" y="260"/>
                    <a:pt x="78" y="260"/>
                  </a:cubicBezTo>
                  <a:cubicBezTo>
                    <a:pt x="74" y="260"/>
                    <a:pt x="70" y="263"/>
                    <a:pt x="70" y="268"/>
                  </a:cubicBezTo>
                  <a:cubicBezTo>
                    <a:pt x="70" y="268"/>
                    <a:pt x="70" y="268"/>
                    <a:pt x="70" y="268"/>
                  </a:cubicBezTo>
                  <a:cubicBezTo>
                    <a:pt x="70" y="327"/>
                    <a:pt x="70" y="327"/>
                    <a:pt x="70" y="327"/>
                  </a:cubicBezTo>
                  <a:cubicBezTo>
                    <a:pt x="70" y="329"/>
                    <a:pt x="71" y="331"/>
                    <a:pt x="73" y="332"/>
                  </a:cubicBezTo>
                  <a:cubicBezTo>
                    <a:pt x="74" y="334"/>
                    <a:pt x="76" y="335"/>
                    <a:pt x="78" y="335"/>
                  </a:cubicBezTo>
                  <a:cubicBezTo>
                    <a:pt x="137" y="335"/>
                    <a:pt x="137" y="335"/>
                    <a:pt x="137" y="335"/>
                  </a:cubicBezTo>
                  <a:cubicBezTo>
                    <a:pt x="141" y="335"/>
                    <a:pt x="145" y="331"/>
                    <a:pt x="145" y="327"/>
                  </a:cubicBezTo>
                  <a:cubicBezTo>
                    <a:pt x="145" y="322"/>
                    <a:pt x="141" y="319"/>
                    <a:pt x="137" y="319"/>
                  </a:cubicBezTo>
                  <a:cubicBezTo>
                    <a:pt x="97" y="319"/>
                    <a:pt x="97" y="319"/>
                    <a:pt x="97" y="319"/>
                  </a:cubicBezTo>
                  <a:cubicBezTo>
                    <a:pt x="198" y="218"/>
                    <a:pt x="198" y="218"/>
                    <a:pt x="198" y="218"/>
                  </a:cubicBezTo>
                  <a:cubicBezTo>
                    <a:pt x="299" y="319"/>
                    <a:pt x="299" y="319"/>
                    <a:pt x="299" y="319"/>
                  </a:cubicBezTo>
                  <a:cubicBezTo>
                    <a:pt x="260" y="319"/>
                    <a:pt x="260" y="319"/>
                    <a:pt x="260" y="319"/>
                  </a:cubicBezTo>
                  <a:cubicBezTo>
                    <a:pt x="255" y="319"/>
                    <a:pt x="252" y="322"/>
                    <a:pt x="252" y="327"/>
                  </a:cubicBezTo>
                  <a:cubicBezTo>
                    <a:pt x="252" y="331"/>
                    <a:pt x="255" y="335"/>
                    <a:pt x="260" y="335"/>
                  </a:cubicBezTo>
                  <a:cubicBezTo>
                    <a:pt x="260" y="335"/>
                    <a:pt x="260" y="335"/>
                    <a:pt x="260" y="335"/>
                  </a:cubicBezTo>
                  <a:cubicBezTo>
                    <a:pt x="319" y="335"/>
                    <a:pt x="319" y="335"/>
                    <a:pt x="319" y="335"/>
                  </a:cubicBezTo>
                  <a:cubicBezTo>
                    <a:pt x="321" y="335"/>
                    <a:pt x="323" y="334"/>
                    <a:pt x="324" y="332"/>
                  </a:cubicBezTo>
                  <a:cubicBezTo>
                    <a:pt x="326" y="331"/>
                    <a:pt x="327" y="329"/>
                    <a:pt x="327" y="327"/>
                  </a:cubicBezTo>
                  <a:cubicBezTo>
                    <a:pt x="327" y="268"/>
                    <a:pt x="327" y="268"/>
                    <a:pt x="327" y="268"/>
                  </a:cubicBezTo>
                  <a:cubicBezTo>
                    <a:pt x="327" y="263"/>
                    <a:pt x="323" y="260"/>
                    <a:pt x="319" y="260"/>
                  </a:cubicBezTo>
                  <a:cubicBezTo>
                    <a:pt x="314" y="260"/>
                    <a:pt x="311" y="263"/>
                    <a:pt x="311" y="268"/>
                  </a:cubicBezTo>
                  <a:cubicBezTo>
                    <a:pt x="311" y="307"/>
                    <a:pt x="311" y="307"/>
                    <a:pt x="311" y="307"/>
                  </a:cubicBezTo>
                  <a:cubicBezTo>
                    <a:pt x="210" y="206"/>
                    <a:pt x="210" y="206"/>
                    <a:pt x="210" y="206"/>
                  </a:cubicBezTo>
                  <a:cubicBezTo>
                    <a:pt x="311" y="105"/>
                    <a:pt x="311" y="105"/>
                    <a:pt x="311" y="105"/>
                  </a:cubicBezTo>
                  <a:cubicBezTo>
                    <a:pt x="311" y="145"/>
                    <a:pt x="311" y="145"/>
                    <a:pt x="311" y="145"/>
                  </a:cubicBezTo>
                  <a:cubicBezTo>
                    <a:pt x="311" y="149"/>
                    <a:pt x="314" y="153"/>
                    <a:pt x="319" y="153"/>
                  </a:cubicBezTo>
                  <a:close/>
                </a:path>
              </a:pathLst>
            </a:custGeom>
            <a:solidFill>
              <a:srgbClr val="F08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21603" name="Text Box 30"/>
            <p:cNvSpPr txBox="1">
              <a:spLocks noChangeAspect="1" noChangeArrowheads="1"/>
            </p:cNvSpPr>
            <p:nvPr/>
          </p:nvSpPr>
          <p:spPr bwMode="auto">
            <a:xfrm>
              <a:off x="3527" y="1736"/>
              <a:ext cx="822" cy="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lnSpc>
                  <a:spcPct val="80000"/>
                </a:lnSpc>
                <a:spcBef>
                  <a:spcPct val="50000"/>
                </a:spcBef>
              </a:pPr>
              <a:r>
                <a:rPr lang="en-CA" sz="700">
                  <a:solidFill>
                    <a:srgbClr val="F08A00"/>
                  </a:solidFill>
                  <a:ea typeface="MS PGothic" pitchFamily="34" charset="-128"/>
                </a:rPr>
                <a:t>BG</a:t>
              </a:r>
              <a:endParaRPr lang="en-US" sz="700">
                <a:solidFill>
                  <a:srgbClr val="F08A00"/>
                </a:solidFill>
                <a:ea typeface="MS PGothic" pitchFamily="34" charset="-128"/>
              </a:endParaRPr>
            </a:p>
          </p:txBody>
        </p:sp>
      </p:grpSp>
      <p:sp>
        <p:nvSpPr>
          <p:cNvPr id="2" name="Rectangle 47"/>
          <p:cNvSpPr>
            <a:spLocks noChangeAspect="1" noChangeArrowheads="1"/>
          </p:cNvSpPr>
          <p:nvPr/>
        </p:nvSpPr>
        <p:spPr bwMode="auto">
          <a:xfrm>
            <a:off x="8328339" y="4402133"/>
            <a:ext cx="222251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lIns="0" rIns="0" anchor="ctr"/>
          <a:lstStyle/>
          <a:p>
            <a:pPr algn="ctr">
              <a:spcBef>
                <a:spcPct val="50000"/>
              </a:spcBef>
              <a:defRPr/>
            </a:pPr>
            <a:endParaRPr lang="sv-SE" sz="600">
              <a:ea typeface="MS PGothic" pitchFamily="34" charset="-128"/>
              <a:cs typeface="+mn-cs"/>
            </a:endParaRPr>
          </a:p>
        </p:txBody>
      </p:sp>
      <p:sp>
        <p:nvSpPr>
          <p:cNvPr id="15382" name="Line 87"/>
          <p:cNvSpPr>
            <a:spLocks noChangeShapeType="1"/>
          </p:cNvSpPr>
          <p:nvPr/>
        </p:nvSpPr>
        <p:spPr bwMode="auto">
          <a:xfrm flipV="1">
            <a:off x="8434703" y="4687887"/>
            <a:ext cx="2978151" cy="9525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spcBef>
                <a:spcPct val="50000"/>
              </a:spcBef>
              <a:defRPr/>
            </a:pPr>
            <a:endParaRPr lang="en-US">
              <a:latin typeface="Arial" charset="0"/>
              <a:cs typeface="+mn-cs"/>
            </a:endParaRPr>
          </a:p>
        </p:txBody>
      </p:sp>
      <p:sp>
        <p:nvSpPr>
          <p:cNvPr id="15383" name="Line 88"/>
          <p:cNvSpPr>
            <a:spLocks noChangeShapeType="1"/>
          </p:cNvSpPr>
          <p:nvPr/>
        </p:nvSpPr>
        <p:spPr bwMode="auto">
          <a:xfrm flipV="1">
            <a:off x="8433113" y="4648196"/>
            <a:ext cx="0" cy="49212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spcBef>
                <a:spcPct val="50000"/>
              </a:spcBef>
              <a:defRPr/>
            </a:pPr>
            <a:endParaRPr lang="en-US">
              <a:latin typeface="Arial" charset="0"/>
              <a:cs typeface="+mn-cs"/>
            </a:endParaRPr>
          </a:p>
        </p:txBody>
      </p:sp>
      <p:sp>
        <p:nvSpPr>
          <p:cNvPr id="15384" name="AutoShape 35"/>
          <p:cNvSpPr>
            <a:spLocks noChangeArrowheads="1"/>
          </p:cNvSpPr>
          <p:nvPr/>
        </p:nvSpPr>
        <p:spPr bwMode="auto">
          <a:xfrm>
            <a:off x="9374504" y="3606796"/>
            <a:ext cx="739775" cy="831850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00A9D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72000" rIns="72000" anchor="ctr"/>
          <a:lstStyle/>
          <a:p>
            <a:pPr algn="ctr">
              <a:spcBef>
                <a:spcPct val="50000"/>
              </a:spcBef>
              <a:defRPr/>
            </a:pPr>
            <a:endParaRPr lang="en-CA" sz="700">
              <a:latin typeface="Arial" charset="0"/>
              <a:cs typeface="+mn-cs"/>
            </a:endParaRPr>
          </a:p>
        </p:txBody>
      </p:sp>
      <p:grpSp>
        <p:nvGrpSpPr>
          <p:cNvPr id="21525" name="Group 57"/>
          <p:cNvGrpSpPr>
            <a:grpSpLocks noChangeAspect="1"/>
          </p:cNvGrpSpPr>
          <p:nvPr/>
        </p:nvGrpSpPr>
        <p:grpSpPr bwMode="auto">
          <a:xfrm>
            <a:off x="9633265" y="4400546"/>
            <a:ext cx="223839" cy="252412"/>
            <a:chOff x="3454" y="860"/>
            <a:chExt cx="967" cy="1392"/>
          </a:xfrm>
        </p:grpSpPr>
        <p:grpSp>
          <p:nvGrpSpPr>
            <p:cNvPr id="21596" name="Group 46"/>
            <p:cNvGrpSpPr>
              <a:grpSpLocks noChangeAspect="1"/>
            </p:cNvGrpSpPr>
            <p:nvPr/>
          </p:nvGrpSpPr>
          <p:grpSpPr bwMode="auto">
            <a:xfrm>
              <a:off x="3455" y="860"/>
              <a:ext cx="966" cy="1391"/>
              <a:chOff x="3455" y="860"/>
              <a:chExt cx="966" cy="1391"/>
            </a:xfrm>
          </p:grpSpPr>
          <p:sp>
            <p:nvSpPr>
              <p:cNvPr id="21598" name="Freeform 28"/>
              <p:cNvSpPr>
                <a:spLocks noChangeAspect="1"/>
              </p:cNvSpPr>
              <p:nvPr/>
            </p:nvSpPr>
            <p:spPr bwMode="auto">
              <a:xfrm>
                <a:off x="3474" y="879"/>
                <a:ext cx="928" cy="1353"/>
              </a:xfrm>
              <a:custGeom>
                <a:avLst/>
                <a:gdLst>
                  <a:gd name="T0" fmla="*/ 2147483647 w 393"/>
                  <a:gd name="T1" fmla="*/ 2147483647 h 573"/>
                  <a:gd name="T2" fmla="*/ 2147483647 w 393"/>
                  <a:gd name="T3" fmla="*/ 2147483647 h 573"/>
                  <a:gd name="T4" fmla="*/ 2147483647 w 393"/>
                  <a:gd name="T5" fmla="*/ 2147483647 h 573"/>
                  <a:gd name="T6" fmla="*/ 2147483647 w 393"/>
                  <a:gd name="T7" fmla="*/ 2147483647 h 573"/>
                  <a:gd name="T8" fmla="*/ 0 w 393"/>
                  <a:gd name="T9" fmla="*/ 2147483647 h 573"/>
                  <a:gd name="T10" fmla="*/ 0 w 393"/>
                  <a:gd name="T11" fmla="*/ 2147483647 h 573"/>
                  <a:gd name="T12" fmla="*/ 2147483647 w 393"/>
                  <a:gd name="T13" fmla="*/ 0 h 573"/>
                  <a:gd name="T14" fmla="*/ 2147483647 w 393"/>
                  <a:gd name="T15" fmla="*/ 0 h 573"/>
                  <a:gd name="T16" fmla="*/ 2147483647 w 393"/>
                  <a:gd name="T17" fmla="*/ 2147483647 h 573"/>
                  <a:gd name="T18" fmla="*/ 2147483647 w 393"/>
                  <a:gd name="T19" fmla="*/ 2147483647 h 57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93"/>
                  <a:gd name="T31" fmla="*/ 0 h 573"/>
                  <a:gd name="T32" fmla="*/ 393 w 393"/>
                  <a:gd name="T33" fmla="*/ 573 h 57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93" h="573">
                    <a:moveTo>
                      <a:pt x="393" y="83"/>
                    </a:moveTo>
                    <a:cubicBezTo>
                      <a:pt x="393" y="541"/>
                      <a:pt x="393" y="541"/>
                      <a:pt x="393" y="541"/>
                    </a:cubicBezTo>
                    <a:cubicBezTo>
                      <a:pt x="393" y="559"/>
                      <a:pt x="379" y="573"/>
                      <a:pt x="361" y="573"/>
                    </a:cubicBezTo>
                    <a:cubicBezTo>
                      <a:pt x="32" y="573"/>
                      <a:pt x="32" y="573"/>
                      <a:pt x="32" y="573"/>
                    </a:cubicBezTo>
                    <a:cubicBezTo>
                      <a:pt x="14" y="573"/>
                      <a:pt x="0" y="559"/>
                      <a:pt x="0" y="541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361" y="0"/>
                      <a:pt x="361" y="0"/>
                      <a:pt x="361" y="0"/>
                    </a:cubicBezTo>
                    <a:cubicBezTo>
                      <a:pt x="379" y="0"/>
                      <a:pt x="393" y="14"/>
                      <a:pt x="393" y="32"/>
                    </a:cubicBezTo>
                    <a:cubicBezTo>
                      <a:pt x="393" y="51"/>
                      <a:pt x="393" y="51"/>
                      <a:pt x="393" y="5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en-US"/>
              </a:p>
            </p:txBody>
          </p:sp>
          <p:sp>
            <p:nvSpPr>
              <p:cNvPr id="21599" name="Freeform 29"/>
              <p:cNvSpPr>
                <a:spLocks noChangeAspect="1" noEditPoints="1"/>
              </p:cNvSpPr>
              <p:nvPr/>
            </p:nvSpPr>
            <p:spPr bwMode="auto">
              <a:xfrm>
                <a:off x="3455" y="860"/>
                <a:ext cx="966" cy="1391"/>
              </a:xfrm>
              <a:custGeom>
                <a:avLst/>
                <a:gdLst>
                  <a:gd name="T0" fmla="*/ 2147483647 w 409"/>
                  <a:gd name="T1" fmla="*/ 2147483647 h 589"/>
                  <a:gd name="T2" fmla="*/ 2147483647 w 409"/>
                  <a:gd name="T3" fmla="*/ 0 h 589"/>
                  <a:gd name="T4" fmla="*/ 0 w 409"/>
                  <a:gd name="T5" fmla="*/ 2147483647 h 589"/>
                  <a:gd name="T6" fmla="*/ 2147483647 w 409"/>
                  <a:gd name="T7" fmla="*/ 2147483647 h 589"/>
                  <a:gd name="T8" fmla="*/ 2147483647 w 409"/>
                  <a:gd name="T9" fmla="*/ 2147483647 h 589"/>
                  <a:gd name="T10" fmla="*/ 2147483647 w 409"/>
                  <a:gd name="T11" fmla="*/ 2147483647 h 589"/>
                  <a:gd name="T12" fmla="*/ 2147483647 w 409"/>
                  <a:gd name="T13" fmla="*/ 2147483647 h 589"/>
                  <a:gd name="T14" fmla="*/ 2147483647 w 409"/>
                  <a:gd name="T15" fmla="*/ 2147483647 h 589"/>
                  <a:gd name="T16" fmla="*/ 2147483647 w 409"/>
                  <a:gd name="T17" fmla="*/ 2147483647 h 589"/>
                  <a:gd name="T18" fmla="*/ 2147483647 w 409"/>
                  <a:gd name="T19" fmla="*/ 2147483647 h 589"/>
                  <a:gd name="T20" fmla="*/ 2147483647 w 409"/>
                  <a:gd name="T21" fmla="*/ 2147483647 h 589"/>
                  <a:gd name="T22" fmla="*/ 2147483647 w 409"/>
                  <a:gd name="T23" fmla="*/ 2147483647 h 589"/>
                  <a:gd name="T24" fmla="*/ 2147483647 w 409"/>
                  <a:gd name="T25" fmla="*/ 2147483647 h 589"/>
                  <a:gd name="T26" fmla="*/ 2147483647 w 409"/>
                  <a:gd name="T27" fmla="*/ 2147483647 h 589"/>
                  <a:gd name="T28" fmla="*/ 2147483647 w 409"/>
                  <a:gd name="T29" fmla="*/ 2147483647 h 589"/>
                  <a:gd name="T30" fmla="*/ 2147483647 w 409"/>
                  <a:gd name="T31" fmla="*/ 2147483647 h 589"/>
                  <a:gd name="T32" fmla="*/ 2147483647 w 409"/>
                  <a:gd name="T33" fmla="*/ 2147483647 h 589"/>
                  <a:gd name="T34" fmla="*/ 2147483647 w 409"/>
                  <a:gd name="T35" fmla="*/ 2147483647 h 589"/>
                  <a:gd name="T36" fmla="*/ 2147483647 w 409"/>
                  <a:gd name="T37" fmla="*/ 2147483647 h 589"/>
                  <a:gd name="T38" fmla="*/ 2147483647 w 409"/>
                  <a:gd name="T39" fmla="*/ 2147483647 h 589"/>
                  <a:gd name="T40" fmla="*/ 2147483647 w 409"/>
                  <a:gd name="T41" fmla="*/ 2147483647 h 589"/>
                  <a:gd name="T42" fmla="*/ 2147483647 w 409"/>
                  <a:gd name="T43" fmla="*/ 2147483647 h 589"/>
                  <a:gd name="T44" fmla="*/ 2147483647 w 409"/>
                  <a:gd name="T45" fmla="*/ 2147483647 h 589"/>
                  <a:gd name="T46" fmla="*/ 2147483647 w 409"/>
                  <a:gd name="T47" fmla="*/ 2147483647 h 589"/>
                  <a:gd name="T48" fmla="*/ 2147483647 w 409"/>
                  <a:gd name="T49" fmla="*/ 2147483647 h 589"/>
                  <a:gd name="T50" fmla="*/ 2147483647 w 409"/>
                  <a:gd name="T51" fmla="*/ 2147483647 h 589"/>
                  <a:gd name="T52" fmla="*/ 2147483647 w 409"/>
                  <a:gd name="T53" fmla="*/ 2147483647 h 589"/>
                  <a:gd name="T54" fmla="*/ 2147483647 w 409"/>
                  <a:gd name="T55" fmla="*/ 2147483647 h 589"/>
                  <a:gd name="T56" fmla="*/ 2147483647 w 409"/>
                  <a:gd name="T57" fmla="*/ 2147483647 h 589"/>
                  <a:gd name="T58" fmla="*/ 2147483647 w 409"/>
                  <a:gd name="T59" fmla="*/ 2147483647 h 589"/>
                  <a:gd name="T60" fmla="*/ 2147483647 w 409"/>
                  <a:gd name="T61" fmla="*/ 2147483647 h 589"/>
                  <a:gd name="T62" fmla="*/ 2147483647 w 409"/>
                  <a:gd name="T63" fmla="*/ 2147483647 h 589"/>
                  <a:gd name="T64" fmla="*/ 2147483647 w 409"/>
                  <a:gd name="T65" fmla="*/ 2147483647 h 589"/>
                  <a:gd name="T66" fmla="*/ 2147483647 w 409"/>
                  <a:gd name="T67" fmla="*/ 2147483647 h 589"/>
                  <a:gd name="T68" fmla="*/ 2147483647 w 409"/>
                  <a:gd name="T69" fmla="*/ 2147483647 h 589"/>
                  <a:gd name="T70" fmla="*/ 2147483647 w 409"/>
                  <a:gd name="T71" fmla="*/ 2147483647 h 589"/>
                  <a:gd name="T72" fmla="*/ 2147483647 w 409"/>
                  <a:gd name="T73" fmla="*/ 2147483647 h 589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409"/>
                  <a:gd name="T112" fmla="*/ 0 h 589"/>
                  <a:gd name="T113" fmla="*/ 409 w 409"/>
                  <a:gd name="T114" fmla="*/ 589 h 589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409" h="589">
                    <a:moveTo>
                      <a:pt x="401" y="67"/>
                    </a:moveTo>
                    <a:cubicBezTo>
                      <a:pt x="405" y="67"/>
                      <a:pt x="409" y="64"/>
                      <a:pt x="409" y="59"/>
                    </a:cubicBezTo>
                    <a:cubicBezTo>
                      <a:pt x="409" y="40"/>
                      <a:pt x="409" y="40"/>
                      <a:pt x="409" y="40"/>
                    </a:cubicBezTo>
                    <a:cubicBezTo>
                      <a:pt x="409" y="18"/>
                      <a:pt x="391" y="0"/>
                      <a:pt x="369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18" y="0"/>
                      <a:pt x="0" y="18"/>
                      <a:pt x="0" y="40"/>
                    </a:cubicBezTo>
                    <a:cubicBezTo>
                      <a:pt x="0" y="549"/>
                      <a:pt x="0" y="549"/>
                      <a:pt x="0" y="549"/>
                    </a:cubicBezTo>
                    <a:cubicBezTo>
                      <a:pt x="0" y="571"/>
                      <a:pt x="18" y="589"/>
                      <a:pt x="40" y="589"/>
                    </a:cubicBezTo>
                    <a:cubicBezTo>
                      <a:pt x="369" y="589"/>
                      <a:pt x="369" y="589"/>
                      <a:pt x="369" y="589"/>
                    </a:cubicBezTo>
                    <a:cubicBezTo>
                      <a:pt x="391" y="589"/>
                      <a:pt x="409" y="571"/>
                      <a:pt x="409" y="549"/>
                    </a:cubicBezTo>
                    <a:cubicBezTo>
                      <a:pt x="409" y="91"/>
                      <a:pt x="409" y="91"/>
                      <a:pt x="409" y="91"/>
                    </a:cubicBezTo>
                    <a:cubicBezTo>
                      <a:pt x="409" y="87"/>
                      <a:pt x="405" y="83"/>
                      <a:pt x="401" y="83"/>
                    </a:cubicBezTo>
                    <a:cubicBezTo>
                      <a:pt x="397" y="83"/>
                      <a:pt x="393" y="87"/>
                      <a:pt x="393" y="91"/>
                    </a:cubicBezTo>
                    <a:cubicBezTo>
                      <a:pt x="393" y="549"/>
                      <a:pt x="393" y="549"/>
                      <a:pt x="393" y="549"/>
                    </a:cubicBezTo>
                    <a:cubicBezTo>
                      <a:pt x="393" y="562"/>
                      <a:pt x="382" y="573"/>
                      <a:pt x="369" y="573"/>
                    </a:cubicBezTo>
                    <a:cubicBezTo>
                      <a:pt x="40" y="573"/>
                      <a:pt x="40" y="573"/>
                      <a:pt x="40" y="573"/>
                    </a:cubicBezTo>
                    <a:cubicBezTo>
                      <a:pt x="26" y="573"/>
                      <a:pt x="16" y="562"/>
                      <a:pt x="16" y="549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27"/>
                      <a:pt x="26" y="16"/>
                      <a:pt x="40" y="16"/>
                    </a:cubicBezTo>
                    <a:cubicBezTo>
                      <a:pt x="369" y="16"/>
                      <a:pt x="369" y="16"/>
                      <a:pt x="369" y="16"/>
                    </a:cubicBezTo>
                    <a:cubicBezTo>
                      <a:pt x="382" y="16"/>
                      <a:pt x="393" y="27"/>
                      <a:pt x="393" y="40"/>
                    </a:cubicBezTo>
                    <a:cubicBezTo>
                      <a:pt x="393" y="59"/>
                      <a:pt x="393" y="59"/>
                      <a:pt x="393" y="59"/>
                    </a:cubicBezTo>
                    <a:cubicBezTo>
                      <a:pt x="393" y="64"/>
                      <a:pt x="397" y="67"/>
                      <a:pt x="401" y="67"/>
                    </a:cubicBezTo>
                    <a:close/>
                    <a:moveTo>
                      <a:pt x="319" y="153"/>
                    </a:moveTo>
                    <a:cubicBezTo>
                      <a:pt x="323" y="153"/>
                      <a:pt x="327" y="149"/>
                      <a:pt x="327" y="145"/>
                    </a:cubicBezTo>
                    <a:cubicBezTo>
                      <a:pt x="327" y="145"/>
                      <a:pt x="327" y="145"/>
                      <a:pt x="327" y="145"/>
                    </a:cubicBezTo>
                    <a:cubicBezTo>
                      <a:pt x="327" y="86"/>
                      <a:pt x="327" y="86"/>
                      <a:pt x="327" y="86"/>
                    </a:cubicBezTo>
                    <a:cubicBezTo>
                      <a:pt x="327" y="84"/>
                      <a:pt x="326" y="82"/>
                      <a:pt x="324" y="80"/>
                    </a:cubicBezTo>
                    <a:cubicBezTo>
                      <a:pt x="323" y="79"/>
                      <a:pt x="321" y="78"/>
                      <a:pt x="319" y="78"/>
                    </a:cubicBezTo>
                    <a:cubicBezTo>
                      <a:pt x="260" y="78"/>
                      <a:pt x="260" y="78"/>
                      <a:pt x="260" y="78"/>
                    </a:cubicBezTo>
                    <a:cubicBezTo>
                      <a:pt x="255" y="78"/>
                      <a:pt x="252" y="82"/>
                      <a:pt x="252" y="86"/>
                    </a:cubicBezTo>
                    <a:cubicBezTo>
                      <a:pt x="252" y="91"/>
                      <a:pt x="255" y="94"/>
                      <a:pt x="260" y="94"/>
                    </a:cubicBezTo>
                    <a:cubicBezTo>
                      <a:pt x="299" y="94"/>
                      <a:pt x="299" y="94"/>
                      <a:pt x="299" y="94"/>
                    </a:cubicBezTo>
                    <a:cubicBezTo>
                      <a:pt x="198" y="195"/>
                      <a:pt x="198" y="195"/>
                      <a:pt x="198" y="195"/>
                    </a:cubicBezTo>
                    <a:cubicBezTo>
                      <a:pt x="97" y="94"/>
                      <a:pt x="97" y="94"/>
                      <a:pt x="97" y="94"/>
                    </a:cubicBezTo>
                    <a:cubicBezTo>
                      <a:pt x="137" y="94"/>
                      <a:pt x="137" y="94"/>
                      <a:pt x="137" y="94"/>
                    </a:cubicBezTo>
                    <a:cubicBezTo>
                      <a:pt x="141" y="94"/>
                      <a:pt x="145" y="91"/>
                      <a:pt x="145" y="86"/>
                    </a:cubicBezTo>
                    <a:cubicBezTo>
                      <a:pt x="145" y="82"/>
                      <a:pt x="141" y="78"/>
                      <a:pt x="137" y="78"/>
                    </a:cubicBezTo>
                    <a:cubicBezTo>
                      <a:pt x="78" y="78"/>
                      <a:pt x="78" y="78"/>
                      <a:pt x="78" y="78"/>
                    </a:cubicBezTo>
                    <a:cubicBezTo>
                      <a:pt x="76" y="78"/>
                      <a:pt x="74" y="79"/>
                      <a:pt x="73" y="80"/>
                    </a:cubicBezTo>
                    <a:cubicBezTo>
                      <a:pt x="71" y="82"/>
                      <a:pt x="70" y="84"/>
                      <a:pt x="70" y="86"/>
                    </a:cubicBezTo>
                    <a:cubicBezTo>
                      <a:pt x="70" y="145"/>
                      <a:pt x="70" y="145"/>
                      <a:pt x="70" y="145"/>
                    </a:cubicBezTo>
                    <a:cubicBezTo>
                      <a:pt x="70" y="149"/>
                      <a:pt x="74" y="153"/>
                      <a:pt x="78" y="153"/>
                    </a:cubicBezTo>
                    <a:cubicBezTo>
                      <a:pt x="83" y="153"/>
                      <a:pt x="86" y="149"/>
                      <a:pt x="86" y="145"/>
                    </a:cubicBezTo>
                    <a:cubicBezTo>
                      <a:pt x="86" y="105"/>
                      <a:pt x="86" y="105"/>
                      <a:pt x="86" y="105"/>
                    </a:cubicBezTo>
                    <a:cubicBezTo>
                      <a:pt x="187" y="206"/>
                      <a:pt x="187" y="206"/>
                      <a:pt x="187" y="206"/>
                    </a:cubicBezTo>
                    <a:cubicBezTo>
                      <a:pt x="86" y="307"/>
                      <a:pt x="86" y="307"/>
                      <a:pt x="86" y="307"/>
                    </a:cubicBezTo>
                    <a:cubicBezTo>
                      <a:pt x="86" y="268"/>
                      <a:pt x="86" y="268"/>
                      <a:pt x="86" y="268"/>
                    </a:cubicBezTo>
                    <a:cubicBezTo>
                      <a:pt x="86" y="263"/>
                      <a:pt x="83" y="260"/>
                      <a:pt x="78" y="260"/>
                    </a:cubicBezTo>
                    <a:cubicBezTo>
                      <a:pt x="74" y="260"/>
                      <a:pt x="70" y="263"/>
                      <a:pt x="70" y="268"/>
                    </a:cubicBezTo>
                    <a:cubicBezTo>
                      <a:pt x="70" y="268"/>
                      <a:pt x="70" y="268"/>
                      <a:pt x="70" y="268"/>
                    </a:cubicBezTo>
                    <a:cubicBezTo>
                      <a:pt x="70" y="327"/>
                      <a:pt x="70" y="327"/>
                      <a:pt x="70" y="327"/>
                    </a:cubicBezTo>
                    <a:cubicBezTo>
                      <a:pt x="70" y="329"/>
                      <a:pt x="71" y="331"/>
                      <a:pt x="73" y="332"/>
                    </a:cubicBezTo>
                    <a:cubicBezTo>
                      <a:pt x="74" y="334"/>
                      <a:pt x="76" y="335"/>
                      <a:pt x="78" y="335"/>
                    </a:cubicBezTo>
                    <a:cubicBezTo>
                      <a:pt x="137" y="335"/>
                      <a:pt x="137" y="335"/>
                      <a:pt x="137" y="335"/>
                    </a:cubicBezTo>
                    <a:cubicBezTo>
                      <a:pt x="141" y="335"/>
                      <a:pt x="145" y="331"/>
                      <a:pt x="145" y="327"/>
                    </a:cubicBezTo>
                    <a:cubicBezTo>
                      <a:pt x="145" y="322"/>
                      <a:pt x="141" y="319"/>
                      <a:pt x="137" y="319"/>
                    </a:cubicBezTo>
                    <a:cubicBezTo>
                      <a:pt x="97" y="319"/>
                      <a:pt x="97" y="319"/>
                      <a:pt x="97" y="319"/>
                    </a:cubicBezTo>
                    <a:cubicBezTo>
                      <a:pt x="198" y="218"/>
                      <a:pt x="198" y="218"/>
                      <a:pt x="198" y="218"/>
                    </a:cubicBezTo>
                    <a:cubicBezTo>
                      <a:pt x="299" y="319"/>
                      <a:pt x="299" y="319"/>
                      <a:pt x="299" y="319"/>
                    </a:cubicBezTo>
                    <a:cubicBezTo>
                      <a:pt x="260" y="319"/>
                      <a:pt x="260" y="319"/>
                      <a:pt x="260" y="319"/>
                    </a:cubicBezTo>
                    <a:cubicBezTo>
                      <a:pt x="255" y="319"/>
                      <a:pt x="252" y="322"/>
                      <a:pt x="252" y="327"/>
                    </a:cubicBezTo>
                    <a:cubicBezTo>
                      <a:pt x="252" y="331"/>
                      <a:pt x="255" y="335"/>
                      <a:pt x="260" y="335"/>
                    </a:cubicBezTo>
                    <a:cubicBezTo>
                      <a:pt x="260" y="335"/>
                      <a:pt x="260" y="335"/>
                      <a:pt x="260" y="335"/>
                    </a:cubicBezTo>
                    <a:cubicBezTo>
                      <a:pt x="319" y="335"/>
                      <a:pt x="319" y="335"/>
                      <a:pt x="319" y="335"/>
                    </a:cubicBezTo>
                    <a:cubicBezTo>
                      <a:pt x="321" y="335"/>
                      <a:pt x="323" y="334"/>
                      <a:pt x="324" y="332"/>
                    </a:cubicBezTo>
                    <a:cubicBezTo>
                      <a:pt x="326" y="331"/>
                      <a:pt x="327" y="329"/>
                      <a:pt x="327" y="327"/>
                    </a:cubicBezTo>
                    <a:cubicBezTo>
                      <a:pt x="327" y="268"/>
                      <a:pt x="327" y="268"/>
                      <a:pt x="327" y="268"/>
                    </a:cubicBezTo>
                    <a:cubicBezTo>
                      <a:pt x="327" y="263"/>
                      <a:pt x="323" y="260"/>
                      <a:pt x="319" y="260"/>
                    </a:cubicBezTo>
                    <a:cubicBezTo>
                      <a:pt x="314" y="260"/>
                      <a:pt x="311" y="263"/>
                      <a:pt x="311" y="268"/>
                    </a:cubicBezTo>
                    <a:cubicBezTo>
                      <a:pt x="311" y="307"/>
                      <a:pt x="311" y="307"/>
                      <a:pt x="311" y="307"/>
                    </a:cubicBezTo>
                    <a:cubicBezTo>
                      <a:pt x="210" y="206"/>
                      <a:pt x="210" y="206"/>
                      <a:pt x="210" y="206"/>
                    </a:cubicBezTo>
                    <a:cubicBezTo>
                      <a:pt x="311" y="105"/>
                      <a:pt x="311" y="105"/>
                      <a:pt x="311" y="105"/>
                    </a:cubicBezTo>
                    <a:cubicBezTo>
                      <a:pt x="311" y="145"/>
                      <a:pt x="311" y="145"/>
                      <a:pt x="311" y="145"/>
                    </a:cubicBezTo>
                    <a:cubicBezTo>
                      <a:pt x="311" y="149"/>
                      <a:pt x="314" y="153"/>
                      <a:pt x="319" y="153"/>
                    </a:cubicBezTo>
                    <a:close/>
                  </a:path>
                </a:pathLst>
              </a:custGeom>
              <a:solidFill>
                <a:srgbClr val="F08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en-US"/>
              </a:p>
            </p:txBody>
          </p:sp>
          <p:sp>
            <p:nvSpPr>
              <p:cNvPr id="21600" name="Text Box 30"/>
              <p:cNvSpPr txBox="1">
                <a:spLocks noChangeAspect="1" noChangeArrowheads="1"/>
              </p:cNvSpPr>
              <p:nvPr/>
            </p:nvSpPr>
            <p:spPr bwMode="auto">
              <a:xfrm>
                <a:off x="3527" y="1726"/>
                <a:ext cx="822" cy="49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>
                <a:spAutoFit/>
              </a:bodyPr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algn="ctr" eaLnBrk="1" hangingPunct="1">
                  <a:lnSpc>
                    <a:spcPct val="80000"/>
                  </a:lnSpc>
                  <a:spcBef>
                    <a:spcPct val="50000"/>
                  </a:spcBef>
                </a:pPr>
                <a:r>
                  <a:rPr lang="en-CA" sz="600">
                    <a:solidFill>
                      <a:srgbClr val="F08A00"/>
                    </a:solidFill>
                    <a:ea typeface="MS PGothic" pitchFamily="34" charset="-128"/>
                  </a:rPr>
                  <a:t>B</a:t>
                </a:r>
                <a:r>
                  <a:rPr lang="en-CA" sz="700">
                    <a:solidFill>
                      <a:srgbClr val="F08A00"/>
                    </a:solidFill>
                    <a:ea typeface="MS PGothic" pitchFamily="34" charset="-128"/>
                  </a:rPr>
                  <a:t>G</a:t>
                </a:r>
                <a:endParaRPr lang="en-US" sz="700">
                  <a:solidFill>
                    <a:srgbClr val="F08A00"/>
                  </a:solidFill>
                  <a:ea typeface="MS PGothic" pitchFamily="34" charset="-128"/>
                </a:endParaRPr>
              </a:p>
            </p:txBody>
          </p:sp>
        </p:grpSp>
        <p:sp>
          <p:nvSpPr>
            <p:cNvPr id="3" name="Rectangle 47"/>
            <p:cNvSpPr>
              <a:spLocks noChangeAspect="1" noChangeArrowheads="1"/>
            </p:cNvSpPr>
            <p:nvPr/>
          </p:nvSpPr>
          <p:spPr bwMode="auto">
            <a:xfrm>
              <a:off x="3454" y="860"/>
              <a:ext cx="967" cy="13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wrap="none" lIns="0" rIns="0" anchor="ctr"/>
            <a:lstStyle/>
            <a:p>
              <a:pPr algn="ctr">
                <a:spcBef>
                  <a:spcPct val="50000"/>
                </a:spcBef>
                <a:defRPr/>
              </a:pPr>
              <a:endParaRPr lang="sv-SE" sz="600">
                <a:ea typeface="MS PGothic" pitchFamily="34" charset="-128"/>
                <a:cs typeface="+mn-cs"/>
              </a:endParaRPr>
            </a:p>
          </p:txBody>
        </p:sp>
      </p:grpSp>
      <p:sp>
        <p:nvSpPr>
          <p:cNvPr id="15386" name="Line 89"/>
          <p:cNvSpPr>
            <a:spLocks noChangeShapeType="1"/>
          </p:cNvSpPr>
          <p:nvPr/>
        </p:nvSpPr>
        <p:spPr bwMode="auto">
          <a:xfrm flipV="1">
            <a:off x="9750738" y="4649787"/>
            <a:ext cx="0" cy="47625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spcBef>
                <a:spcPct val="50000"/>
              </a:spcBef>
              <a:defRPr/>
            </a:pPr>
            <a:endParaRPr lang="en-US">
              <a:latin typeface="Arial" charset="0"/>
              <a:cs typeface="+mn-cs"/>
            </a:endParaRPr>
          </a:p>
        </p:txBody>
      </p:sp>
      <p:sp>
        <p:nvSpPr>
          <p:cNvPr id="15387" name="AutoShape 93"/>
          <p:cNvSpPr>
            <a:spLocks noChangeArrowheads="1"/>
          </p:cNvSpPr>
          <p:nvPr/>
        </p:nvSpPr>
        <p:spPr bwMode="auto">
          <a:xfrm>
            <a:off x="10196827" y="3602037"/>
            <a:ext cx="741363" cy="8302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00A9D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72000" rIns="72000" anchor="ctr"/>
          <a:lstStyle/>
          <a:p>
            <a:pPr algn="ctr">
              <a:spcBef>
                <a:spcPct val="50000"/>
              </a:spcBef>
              <a:defRPr/>
            </a:pPr>
            <a:endParaRPr lang="en-CA" sz="700">
              <a:latin typeface="Arial" charset="0"/>
              <a:cs typeface="+mn-cs"/>
            </a:endParaRPr>
          </a:p>
        </p:txBody>
      </p:sp>
      <p:grpSp>
        <p:nvGrpSpPr>
          <p:cNvPr id="21528" name="Group 57"/>
          <p:cNvGrpSpPr>
            <a:grpSpLocks noChangeAspect="1"/>
          </p:cNvGrpSpPr>
          <p:nvPr/>
        </p:nvGrpSpPr>
        <p:grpSpPr bwMode="auto">
          <a:xfrm>
            <a:off x="10457178" y="4394196"/>
            <a:ext cx="223837" cy="254000"/>
            <a:chOff x="3454" y="860"/>
            <a:chExt cx="967" cy="1392"/>
          </a:xfrm>
        </p:grpSpPr>
        <p:grpSp>
          <p:nvGrpSpPr>
            <p:cNvPr id="21591" name="Group 46"/>
            <p:cNvGrpSpPr>
              <a:grpSpLocks noChangeAspect="1"/>
            </p:cNvGrpSpPr>
            <p:nvPr/>
          </p:nvGrpSpPr>
          <p:grpSpPr bwMode="auto">
            <a:xfrm>
              <a:off x="3455" y="860"/>
              <a:ext cx="966" cy="1391"/>
              <a:chOff x="3455" y="860"/>
              <a:chExt cx="966" cy="1391"/>
            </a:xfrm>
          </p:grpSpPr>
          <p:sp>
            <p:nvSpPr>
              <p:cNvPr id="21593" name="Freeform 28"/>
              <p:cNvSpPr>
                <a:spLocks noChangeAspect="1"/>
              </p:cNvSpPr>
              <p:nvPr/>
            </p:nvSpPr>
            <p:spPr bwMode="auto">
              <a:xfrm>
                <a:off x="3474" y="879"/>
                <a:ext cx="928" cy="1353"/>
              </a:xfrm>
              <a:custGeom>
                <a:avLst/>
                <a:gdLst>
                  <a:gd name="T0" fmla="*/ 2147483647 w 393"/>
                  <a:gd name="T1" fmla="*/ 2147483647 h 573"/>
                  <a:gd name="T2" fmla="*/ 2147483647 w 393"/>
                  <a:gd name="T3" fmla="*/ 2147483647 h 573"/>
                  <a:gd name="T4" fmla="*/ 2147483647 w 393"/>
                  <a:gd name="T5" fmla="*/ 2147483647 h 573"/>
                  <a:gd name="T6" fmla="*/ 2147483647 w 393"/>
                  <a:gd name="T7" fmla="*/ 2147483647 h 573"/>
                  <a:gd name="T8" fmla="*/ 0 w 393"/>
                  <a:gd name="T9" fmla="*/ 2147483647 h 573"/>
                  <a:gd name="T10" fmla="*/ 0 w 393"/>
                  <a:gd name="T11" fmla="*/ 2147483647 h 573"/>
                  <a:gd name="T12" fmla="*/ 2147483647 w 393"/>
                  <a:gd name="T13" fmla="*/ 0 h 573"/>
                  <a:gd name="T14" fmla="*/ 2147483647 w 393"/>
                  <a:gd name="T15" fmla="*/ 0 h 573"/>
                  <a:gd name="T16" fmla="*/ 2147483647 w 393"/>
                  <a:gd name="T17" fmla="*/ 2147483647 h 573"/>
                  <a:gd name="T18" fmla="*/ 2147483647 w 393"/>
                  <a:gd name="T19" fmla="*/ 2147483647 h 57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93"/>
                  <a:gd name="T31" fmla="*/ 0 h 573"/>
                  <a:gd name="T32" fmla="*/ 393 w 393"/>
                  <a:gd name="T33" fmla="*/ 573 h 57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93" h="573">
                    <a:moveTo>
                      <a:pt x="393" y="83"/>
                    </a:moveTo>
                    <a:cubicBezTo>
                      <a:pt x="393" y="541"/>
                      <a:pt x="393" y="541"/>
                      <a:pt x="393" y="541"/>
                    </a:cubicBezTo>
                    <a:cubicBezTo>
                      <a:pt x="393" y="559"/>
                      <a:pt x="379" y="573"/>
                      <a:pt x="361" y="573"/>
                    </a:cubicBezTo>
                    <a:cubicBezTo>
                      <a:pt x="32" y="573"/>
                      <a:pt x="32" y="573"/>
                      <a:pt x="32" y="573"/>
                    </a:cubicBezTo>
                    <a:cubicBezTo>
                      <a:pt x="14" y="573"/>
                      <a:pt x="0" y="559"/>
                      <a:pt x="0" y="541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361" y="0"/>
                      <a:pt x="361" y="0"/>
                      <a:pt x="361" y="0"/>
                    </a:cubicBezTo>
                    <a:cubicBezTo>
                      <a:pt x="379" y="0"/>
                      <a:pt x="393" y="14"/>
                      <a:pt x="393" y="32"/>
                    </a:cubicBezTo>
                    <a:cubicBezTo>
                      <a:pt x="393" y="51"/>
                      <a:pt x="393" y="51"/>
                      <a:pt x="393" y="5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en-US"/>
              </a:p>
            </p:txBody>
          </p:sp>
          <p:sp>
            <p:nvSpPr>
              <p:cNvPr id="21594" name="Freeform 29"/>
              <p:cNvSpPr>
                <a:spLocks noChangeAspect="1" noEditPoints="1"/>
              </p:cNvSpPr>
              <p:nvPr/>
            </p:nvSpPr>
            <p:spPr bwMode="auto">
              <a:xfrm>
                <a:off x="3455" y="860"/>
                <a:ext cx="966" cy="1391"/>
              </a:xfrm>
              <a:custGeom>
                <a:avLst/>
                <a:gdLst>
                  <a:gd name="T0" fmla="*/ 2147483647 w 409"/>
                  <a:gd name="T1" fmla="*/ 2147483647 h 589"/>
                  <a:gd name="T2" fmla="*/ 2147483647 w 409"/>
                  <a:gd name="T3" fmla="*/ 0 h 589"/>
                  <a:gd name="T4" fmla="*/ 0 w 409"/>
                  <a:gd name="T5" fmla="*/ 2147483647 h 589"/>
                  <a:gd name="T6" fmla="*/ 2147483647 w 409"/>
                  <a:gd name="T7" fmla="*/ 2147483647 h 589"/>
                  <a:gd name="T8" fmla="*/ 2147483647 w 409"/>
                  <a:gd name="T9" fmla="*/ 2147483647 h 589"/>
                  <a:gd name="T10" fmla="*/ 2147483647 w 409"/>
                  <a:gd name="T11" fmla="*/ 2147483647 h 589"/>
                  <a:gd name="T12" fmla="*/ 2147483647 w 409"/>
                  <a:gd name="T13" fmla="*/ 2147483647 h 589"/>
                  <a:gd name="T14" fmla="*/ 2147483647 w 409"/>
                  <a:gd name="T15" fmla="*/ 2147483647 h 589"/>
                  <a:gd name="T16" fmla="*/ 2147483647 w 409"/>
                  <a:gd name="T17" fmla="*/ 2147483647 h 589"/>
                  <a:gd name="T18" fmla="*/ 2147483647 w 409"/>
                  <a:gd name="T19" fmla="*/ 2147483647 h 589"/>
                  <a:gd name="T20" fmla="*/ 2147483647 w 409"/>
                  <a:gd name="T21" fmla="*/ 2147483647 h 589"/>
                  <a:gd name="T22" fmla="*/ 2147483647 w 409"/>
                  <a:gd name="T23" fmla="*/ 2147483647 h 589"/>
                  <a:gd name="T24" fmla="*/ 2147483647 w 409"/>
                  <a:gd name="T25" fmla="*/ 2147483647 h 589"/>
                  <a:gd name="T26" fmla="*/ 2147483647 w 409"/>
                  <a:gd name="T27" fmla="*/ 2147483647 h 589"/>
                  <a:gd name="T28" fmla="*/ 2147483647 w 409"/>
                  <a:gd name="T29" fmla="*/ 2147483647 h 589"/>
                  <a:gd name="T30" fmla="*/ 2147483647 w 409"/>
                  <a:gd name="T31" fmla="*/ 2147483647 h 589"/>
                  <a:gd name="T32" fmla="*/ 2147483647 w 409"/>
                  <a:gd name="T33" fmla="*/ 2147483647 h 589"/>
                  <a:gd name="T34" fmla="*/ 2147483647 w 409"/>
                  <a:gd name="T35" fmla="*/ 2147483647 h 589"/>
                  <a:gd name="T36" fmla="*/ 2147483647 w 409"/>
                  <a:gd name="T37" fmla="*/ 2147483647 h 589"/>
                  <a:gd name="T38" fmla="*/ 2147483647 w 409"/>
                  <a:gd name="T39" fmla="*/ 2147483647 h 589"/>
                  <a:gd name="T40" fmla="*/ 2147483647 w 409"/>
                  <a:gd name="T41" fmla="*/ 2147483647 h 589"/>
                  <a:gd name="T42" fmla="*/ 2147483647 w 409"/>
                  <a:gd name="T43" fmla="*/ 2147483647 h 589"/>
                  <a:gd name="T44" fmla="*/ 2147483647 w 409"/>
                  <a:gd name="T45" fmla="*/ 2147483647 h 589"/>
                  <a:gd name="T46" fmla="*/ 2147483647 w 409"/>
                  <a:gd name="T47" fmla="*/ 2147483647 h 589"/>
                  <a:gd name="T48" fmla="*/ 2147483647 w 409"/>
                  <a:gd name="T49" fmla="*/ 2147483647 h 589"/>
                  <a:gd name="T50" fmla="*/ 2147483647 w 409"/>
                  <a:gd name="T51" fmla="*/ 2147483647 h 589"/>
                  <a:gd name="T52" fmla="*/ 2147483647 w 409"/>
                  <a:gd name="T53" fmla="*/ 2147483647 h 589"/>
                  <a:gd name="T54" fmla="*/ 2147483647 w 409"/>
                  <a:gd name="T55" fmla="*/ 2147483647 h 589"/>
                  <a:gd name="T56" fmla="*/ 2147483647 w 409"/>
                  <a:gd name="T57" fmla="*/ 2147483647 h 589"/>
                  <a:gd name="T58" fmla="*/ 2147483647 w 409"/>
                  <a:gd name="T59" fmla="*/ 2147483647 h 589"/>
                  <a:gd name="T60" fmla="*/ 2147483647 w 409"/>
                  <a:gd name="T61" fmla="*/ 2147483647 h 589"/>
                  <a:gd name="T62" fmla="*/ 2147483647 w 409"/>
                  <a:gd name="T63" fmla="*/ 2147483647 h 589"/>
                  <a:gd name="T64" fmla="*/ 2147483647 w 409"/>
                  <a:gd name="T65" fmla="*/ 2147483647 h 589"/>
                  <a:gd name="T66" fmla="*/ 2147483647 w 409"/>
                  <a:gd name="T67" fmla="*/ 2147483647 h 589"/>
                  <a:gd name="T68" fmla="*/ 2147483647 w 409"/>
                  <a:gd name="T69" fmla="*/ 2147483647 h 589"/>
                  <a:gd name="T70" fmla="*/ 2147483647 w 409"/>
                  <a:gd name="T71" fmla="*/ 2147483647 h 589"/>
                  <a:gd name="T72" fmla="*/ 2147483647 w 409"/>
                  <a:gd name="T73" fmla="*/ 2147483647 h 589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409"/>
                  <a:gd name="T112" fmla="*/ 0 h 589"/>
                  <a:gd name="T113" fmla="*/ 409 w 409"/>
                  <a:gd name="T114" fmla="*/ 589 h 589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409" h="589">
                    <a:moveTo>
                      <a:pt x="401" y="67"/>
                    </a:moveTo>
                    <a:cubicBezTo>
                      <a:pt x="405" y="67"/>
                      <a:pt x="409" y="64"/>
                      <a:pt x="409" y="59"/>
                    </a:cubicBezTo>
                    <a:cubicBezTo>
                      <a:pt x="409" y="40"/>
                      <a:pt x="409" y="40"/>
                      <a:pt x="409" y="40"/>
                    </a:cubicBezTo>
                    <a:cubicBezTo>
                      <a:pt x="409" y="18"/>
                      <a:pt x="391" y="0"/>
                      <a:pt x="369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18" y="0"/>
                      <a:pt x="0" y="18"/>
                      <a:pt x="0" y="40"/>
                    </a:cubicBezTo>
                    <a:cubicBezTo>
                      <a:pt x="0" y="549"/>
                      <a:pt x="0" y="549"/>
                      <a:pt x="0" y="549"/>
                    </a:cubicBezTo>
                    <a:cubicBezTo>
                      <a:pt x="0" y="571"/>
                      <a:pt x="18" y="589"/>
                      <a:pt x="40" y="589"/>
                    </a:cubicBezTo>
                    <a:cubicBezTo>
                      <a:pt x="369" y="589"/>
                      <a:pt x="369" y="589"/>
                      <a:pt x="369" y="589"/>
                    </a:cubicBezTo>
                    <a:cubicBezTo>
                      <a:pt x="391" y="589"/>
                      <a:pt x="409" y="571"/>
                      <a:pt x="409" y="549"/>
                    </a:cubicBezTo>
                    <a:cubicBezTo>
                      <a:pt x="409" y="91"/>
                      <a:pt x="409" y="91"/>
                      <a:pt x="409" y="91"/>
                    </a:cubicBezTo>
                    <a:cubicBezTo>
                      <a:pt x="409" y="87"/>
                      <a:pt x="405" y="83"/>
                      <a:pt x="401" y="83"/>
                    </a:cubicBezTo>
                    <a:cubicBezTo>
                      <a:pt x="397" y="83"/>
                      <a:pt x="393" y="87"/>
                      <a:pt x="393" y="91"/>
                    </a:cubicBezTo>
                    <a:cubicBezTo>
                      <a:pt x="393" y="549"/>
                      <a:pt x="393" y="549"/>
                      <a:pt x="393" y="549"/>
                    </a:cubicBezTo>
                    <a:cubicBezTo>
                      <a:pt x="393" y="562"/>
                      <a:pt x="382" y="573"/>
                      <a:pt x="369" y="573"/>
                    </a:cubicBezTo>
                    <a:cubicBezTo>
                      <a:pt x="40" y="573"/>
                      <a:pt x="40" y="573"/>
                      <a:pt x="40" y="573"/>
                    </a:cubicBezTo>
                    <a:cubicBezTo>
                      <a:pt x="26" y="573"/>
                      <a:pt x="16" y="562"/>
                      <a:pt x="16" y="549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27"/>
                      <a:pt x="26" y="16"/>
                      <a:pt x="40" y="16"/>
                    </a:cubicBezTo>
                    <a:cubicBezTo>
                      <a:pt x="369" y="16"/>
                      <a:pt x="369" y="16"/>
                      <a:pt x="369" y="16"/>
                    </a:cubicBezTo>
                    <a:cubicBezTo>
                      <a:pt x="382" y="16"/>
                      <a:pt x="393" y="27"/>
                      <a:pt x="393" y="40"/>
                    </a:cubicBezTo>
                    <a:cubicBezTo>
                      <a:pt x="393" y="59"/>
                      <a:pt x="393" y="59"/>
                      <a:pt x="393" y="59"/>
                    </a:cubicBezTo>
                    <a:cubicBezTo>
                      <a:pt x="393" y="64"/>
                      <a:pt x="397" y="67"/>
                      <a:pt x="401" y="67"/>
                    </a:cubicBezTo>
                    <a:close/>
                    <a:moveTo>
                      <a:pt x="319" y="153"/>
                    </a:moveTo>
                    <a:cubicBezTo>
                      <a:pt x="323" y="153"/>
                      <a:pt x="327" y="149"/>
                      <a:pt x="327" y="145"/>
                    </a:cubicBezTo>
                    <a:cubicBezTo>
                      <a:pt x="327" y="145"/>
                      <a:pt x="327" y="145"/>
                      <a:pt x="327" y="145"/>
                    </a:cubicBezTo>
                    <a:cubicBezTo>
                      <a:pt x="327" y="86"/>
                      <a:pt x="327" y="86"/>
                      <a:pt x="327" y="86"/>
                    </a:cubicBezTo>
                    <a:cubicBezTo>
                      <a:pt x="327" y="84"/>
                      <a:pt x="326" y="82"/>
                      <a:pt x="324" y="80"/>
                    </a:cubicBezTo>
                    <a:cubicBezTo>
                      <a:pt x="323" y="79"/>
                      <a:pt x="321" y="78"/>
                      <a:pt x="319" y="78"/>
                    </a:cubicBezTo>
                    <a:cubicBezTo>
                      <a:pt x="260" y="78"/>
                      <a:pt x="260" y="78"/>
                      <a:pt x="260" y="78"/>
                    </a:cubicBezTo>
                    <a:cubicBezTo>
                      <a:pt x="255" y="78"/>
                      <a:pt x="252" y="82"/>
                      <a:pt x="252" y="86"/>
                    </a:cubicBezTo>
                    <a:cubicBezTo>
                      <a:pt x="252" y="91"/>
                      <a:pt x="255" y="94"/>
                      <a:pt x="260" y="94"/>
                    </a:cubicBezTo>
                    <a:cubicBezTo>
                      <a:pt x="299" y="94"/>
                      <a:pt x="299" y="94"/>
                      <a:pt x="299" y="94"/>
                    </a:cubicBezTo>
                    <a:cubicBezTo>
                      <a:pt x="198" y="195"/>
                      <a:pt x="198" y="195"/>
                      <a:pt x="198" y="195"/>
                    </a:cubicBezTo>
                    <a:cubicBezTo>
                      <a:pt x="97" y="94"/>
                      <a:pt x="97" y="94"/>
                      <a:pt x="97" y="94"/>
                    </a:cubicBezTo>
                    <a:cubicBezTo>
                      <a:pt x="137" y="94"/>
                      <a:pt x="137" y="94"/>
                      <a:pt x="137" y="94"/>
                    </a:cubicBezTo>
                    <a:cubicBezTo>
                      <a:pt x="141" y="94"/>
                      <a:pt x="145" y="91"/>
                      <a:pt x="145" y="86"/>
                    </a:cubicBezTo>
                    <a:cubicBezTo>
                      <a:pt x="145" y="82"/>
                      <a:pt x="141" y="78"/>
                      <a:pt x="137" y="78"/>
                    </a:cubicBezTo>
                    <a:cubicBezTo>
                      <a:pt x="78" y="78"/>
                      <a:pt x="78" y="78"/>
                      <a:pt x="78" y="78"/>
                    </a:cubicBezTo>
                    <a:cubicBezTo>
                      <a:pt x="76" y="78"/>
                      <a:pt x="74" y="79"/>
                      <a:pt x="73" y="80"/>
                    </a:cubicBezTo>
                    <a:cubicBezTo>
                      <a:pt x="71" y="82"/>
                      <a:pt x="70" y="84"/>
                      <a:pt x="70" y="86"/>
                    </a:cubicBezTo>
                    <a:cubicBezTo>
                      <a:pt x="70" y="145"/>
                      <a:pt x="70" y="145"/>
                      <a:pt x="70" y="145"/>
                    </a:cubicBezTo>
                    <a:cubicBezTo>
                      <a:pt x="70" y="149"/>
                      <a:pt x="74" y="153"/>
                      <a:pt x="78" y="153"/>
                    </a:cubicBezTo>
                    <a:cubicBezTo>
                      <a:pt x="83" y="153"/>
                      <a:pt x="86" y="149"/>
                      <a:pt x="86" y="145"/>
                    </a:cubicBezTo>
                    <a:cubicBezTo>
                      <a:pt x="86" y="105"/>
                      <a:pt x="86" y="105"/>
                      <a:pt x="86" y="105"/>
                    </a:cubicBezTo>
                    <a:cubicBezTo>
                      <a:pt x="187" y="206"/>
                      <a:pt x="187" y="206"/>
                      <a:pt x="187" y="206"/>
                    </a:cubicBezTo>
                    <a:cubicBezTo>
                      <a:pt x="86" y="307"/>
                      <a:pt x="86" y="307"/>
                      <a:pt x="86" y="307"/>
                    </a:cubicBezTo>
                    <a:cubicBezTo>
                      <a:pt x="86" y="268"/>
                      <a:pt x="86" y="268"/>
                      <a:pt x="86" y="268"/>
                    </a:cubicBezTo>
                    <a:cubicBezTo>
                      <a:pt x="86" y="263"/>
                      <a:pt x="83" y="260"/>
                      <a:pt x="78" y="260"/>
                    </a:cubicBezTo>
                    <a:cubicBezTo>
                      <a:pt x="74" y="260"/>
                      <a:pt x="70" y="263"/>
                      <a:pt x="70" y="268"/>
                    </a:cubicBezTo>
                    <a:cubicBezTo>
                      <a:pt x="70" y="268"/>
                      <a:pt x="70" y="268"/>
                      <a:pt x="70" y="268"/>
                    </a:cubicBezTo>
                    <a:cubicBezTo>
                      <a:pt x="70" y="327"/>
                      <a:pt x="70" y="327"/>
                      <a:pt x="70" y="327"/>
                    </a:cubicBezTo>
                    <a:cubicBezTo>
                      <a:pt x="70" y="329"/>
                      <a:pt x="71" y="331"/>
                      <a:pt x="73" y="332"/>
                    </a:cubicBezTo>
                    <a:cubicBezTo>
                      <a:pt x="74" y="334"/>
                      <a:pt x="76" y="335"/>
                      <a:pt x="78" y="335"/>
                    </a:cubicBezTo>
                    <a:cubicBezTo>
                      <a:pt x="137" y="335"/>
                      <a:pt x="137" y="335"/>
                      <a:pt x="137" y="335"/>
                    </a:cubicBezTo>
                    <a:cubicBezTo>
                      <a:pt x="141" y="335"/>
                      <a:pt x="145" y="331"/>
                      <a:pt x="145" y="327"/>
                    </a:cubicBezTo>
                    <a:cubicBezTo>
                      <a:pt x="145" y="322"/>
                      <a:pt x="141" y="319"/>
                      <a:pt x="137" y="319"/>
                    </a:cubicBezTo>
                    <a:cubicBezTo>
                      <a:pt x="97" y="319"/>
                      <a:pt x="97" y="319"/>
                      <a:pt x="97" y="319"/>
                    </a:cubicBezTo>
                    <a:cubicBezTo>
                      <a:pt x="198" y="218"/>
                      <a:pt x="198" y="218"/>
                      <a:pt x="198" y="218"/>
                    </a:cubicBezTo>
                    <a:cubicBezTo>
                      <a:pt x="299" y="319"/>
                      <a:pt x="299" y="319"/>
                      <a:pt x="299" y="319"/>
                    </a:cubicBezTo>
                    <a:cubicBezTo>
                      <a:pt x="260" y="319"/>
                      <a:pt x="260" y="319"/>
                      <a:pt x="260" y="319"/>
                    </a:cubicBezTo>
                    <a:cubicBezTo>
                      <a:pt x="255" y="319"/>
                      <a:pt x="252" y="322"/>
                      <a:pt x="252" y="327"/>
                    </a:cubicBezTo>
                    <a:cubicBezTo>
                      <a:pt x="252" y="331"/>
                      <a:pt x="255" y="335"/>
                      <a:pt x="260" y="335"/>
                    </a:cubicBezTo>
                    <a:cubicBezTo>
                      <a:pt x="260" y="335"/>
                      <a:pt x="260" y="335"/>
                      <a:pt x="260" y="335"/>
                    </a:cubicBezTo>
                    <a:cubicBezTo>
                      <a:pt x="319" y="335"/>
                      <a:pt x="319" y="335"/>
                      <a:pt x="319" y="335"/>
                    </a:cubicBezTo>
                    <a:cubicBezTo>
                      <a:pt x="321" y="335"/>
                      <a:pt x="323" y="334"/>
                      <a:pt x="324" y="332"/>
                    </a:cubicBezTo>
                    <a:cubicBezTo>
                      <a:pt x="326" y="331"/>
                      <a:pt x="327" y="329"/>
                      <a:pt x="327" y="327"/>
                    </a:cubicBezTo>
                    <a:cubicBezTo>
                      <a:pt x="327" y="268"/>
                      <a:pt x="327" y="268"/>
                      <a:pt x="327" y="268"/>
                    </a:cubicBezTo>
                    <a:cubicBezTo>
                      <a:pt x="327" y="263"/>
                      <a:pt x="323" y="260"/>
                      <a:pt x="319" y="260"/>
                    </a:cubicBezTo>
                    <a:cubicBezTo>
                      <a:pt x="314" y="260"/>
                      <a:pt x="311" y="263"/>
                      <a:pt x="311" y="268"/>
                    </a:cubicBezTo>
                    <a:cubicBezTo>
                      <a:pt x="311" y="307"/>
                      <a:pt x="311" y="307"/>
                      <a:pt x="311" y="307"/>
                    </a:cubicBezTo>
                    <a:cubicBezTo>
                      <a:pt x="210" y="206"/>
                      <a:pt x="210" y="206"/>
                      <a:pt x="210" y="206"/>
                    </a:cubicBezTo>
                    <a:cubicBezTo>
                      <a:pt x="311" y="105"/>
                      <a:pt x="311" y="105"/>
                      <a:pt x="311" y="105"/>
                    </a:cubicBezTo>
                    <a:cubicBezTo>
                      <a:pt x="311" y="145"/>
                      <a:pt x="311" y="145"/>
                      <a:pt x="311" y="145"/>
                    </a:cubicBezTo>
                    <a:cubicBezTo>
                      <a:pt x="311" y="149"/>
                      <a:pt x="314" y="153"/>
                      <a:pt x="319" y="153"/>
                    </a:cubicBezTo>
                    <a:close/>
                  </a:path>
                </a:pathLst>
              </a:custGeom>
              <a:solidFill>
                <a:srgbClr val="F08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en-US"/>
              </a:p>
            </p:txBody>
          </p:sp>
          <p:sp>
            <p:nvSpPr>
              <p:cNvPr id="21595" name="Text Box 30"/>
              <p:cNvSpPr txBox="1">
                <a:spLocks noChangeAspect="1" noChangeArrowheads="1"/>
              </p:cNvSpPr>
              <p:nvPr/>
            </p:nvSpPr>
            <p:spPr bwMode="auto">
              <a:xfrm>
                <a:off x="3527" y="1737"/>
                <a:ext cx="822" cy="4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>
                <a:spAutoFit/>
              </a:bodyPr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algn="ctr" eaLnBrk="1" hangingPunct="1">
                  <a:lnSpc>
                    <a:spcPct val="80000"/>
                  </a:lnSpc>
                  <a:spcBef>
                    <a:spcPct val="50000"/>
                  </a:spcBef>
                </a:pPr>
                <a:r>
                  <a:rPr lang="en-CA" sz="700">
                    <a:solidFill>
                      <a:srgbClr val="F08A00"/>
                    </a:solidFill>
                    <a:ea typeface="MS PGothic" pitchFamily="34" charset="-128"/>
                  </a:rPr>
                  <a:t>BG</a:t>
                </a:r>
                <a:endParaRPr lang="en-US" sz="700">
                  <a:solidFill>
                    <a:srgbClr val="F08A00"/>
                  </a:solidFill>
                  <a:ea typeface="MS PGothic" pitchFamily="34" charset="-128"/>
                </a:endParaRPr>
              </a:p>
            </p:txBody>
          </p:sp>
        </p:grpSp>
        <p:sp>
          <p:nvSpPr>
            <p:cNvPr id="4" name="Rectangle 47"/>
            <p:cNvSpPr>
              <a:spLocks noChangeAspect="1" noChangeArrowheads="1"/>
            </p:cNvSpPr>
            <p:nvPr/>
          </p:nvSpPr>
          <p:spPr bwMode="auto">
            <a:xfrm>
              <a:off x="3454" y="860"/>
              <a:ext cx="967" cy="13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wrap="none" lIns="0" rIns="0" anchor="ctr"/>
            <a:lstStyle/>
            <a:p>
              <a:pPr algn="ctr">
                <a:spcBef>
                  <a:spcPct val="50000"/>
                </a:spcBef>
                <a:defRPr/>
              </a:pPr>
              <a:endParaRPr lang="sv-SE" sz="600">
                <a:ea typeface="MS PGothic" pitchFamily="34" charset="-128"/>
                <a:cs typeface="+mn-cs"/>
              </a:endParaRPr>
            </a:p>
          </p:txBody>
        </p:sp>
      </p:grpSp>
      <p:sp>
        <p:nvSpPr>
          <p:cNvPr id="15389" name="Line 109"/>
          <p:cNvSpPr>
            <a:spLocks noChangeShapeType="1"/>
          </p:cNvSpPr>
          <p:nvPr/>
        </p:nvSpPr>
        <p:spPr bwMode="auto">
          <a:xfrm flipV="1">
            <a:off x="10573063" y="4643437"/>
            <a:ext cx="0" cy="49213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spcBef>
                <a:spcPct val="50000"/>
              </a:spcBef>
              <a:defRPr/>
            </a:pPr>
            <a:endParaRPr lang="en-US">
              <a:latin typeface="Arial" charset="0"/>
              <a:cs typeface="+mn-cs"/>
            </a:endParaRPr>
          </a:p>
        </p:txBody>
      </p:sp>
      <p:sp>
        <p:nvSpPr>
          <p:cNvPr id="15390" name="AutoShape 111"/>
          <p:cNvSpPr>
            <a:spLocks noChangeArrowheads="1"/>
          </p:cNvSpPr>
          <p:nvPr/>
        </p:nvSpPr>
        <p:spPr bwMode="auto">
          <a:xfrm>
            <a:off x="11031853" y="3598858"/>
            <a:ext cx="739775" cy="831850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00A9D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72000" rIns="72000" anchor="ctr"/>
          <a:lstStyle/>
          <a:p>
            <a:pPr algn="ctr">
              <a:spcBef>
                <a:spcPct val="50000"/>
              </a:spcBef>
              <a:defRPr/>
            </a:pPr>
            <a:endParaRPr lang="en-CA" sz="700">
              <a:latin typeface="Arial" charset="0"/>
              <a:cs typeface="+mn-cs"/>
            </a:endParaRPr>
          </a:p>
        </p:txBody>
      </p:sp>
      <p:sp>
        <p:nvSpPr>
          <p:cNvPr id="15391" name="Text Box 118"/>
          <p:cNvSpPr txBox="1">
            <a:spLocks noChangeArrowheads="1"/>
          </p:cNvSpPr>
          <p:nvPr/>
        </p:nvSpPr>
        <p:spPr bwMode="auto">
          <a:xfrm>
            <a:off x="11193777" y="4186235"/>
            <a:ext cx="3937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72000" rIns="72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en-CA" sz="200" b="1">
                <a:solidFill>
                  <a:schemeClr val="bg1"/>
                </a:solidFill>
                <a:latin typeface="Ericsson Capital TT" charset="0"/>
                <a:cs typeface="Arial" charset="0"/>
              </a:rPr>
              <a:t>NETWORK FABRIC</a:t>
            </a:r>
            <a:endParaRPr lang="en-US" sz="200" b="1">
              <a:solidFill>
                <a:schemeClr val="bg1"/>
              </a:solidFill>
              <a:latin typeface="Ericsson Capital TT" charset="0"/>
              <a:cs typeface="Arial" charset="0"/>
            </a:endParaRPr>
          </a:p>
        </p:txBody>
      </p:sp>
      <p:sp>
        <p:nvSpPr>
          <p:cNvPr id="21532" name="Freeform 28"/>
          <p:cNvSpPr>
            <a:spLocks noChangeAspect="1"/>
          </p:cNvSpPr>
          <p:nvPr/>
        </p:nvSpPr>
        <p:spPr bwMode="auto">
          <a:xfrm>
            <a:off x="11293789" y="4394196"/>
            <a:ext cx="215900" cy="246062"/>
          </a:xfrm>
          <a:custGeom>
            <a:avLst/>
            <a:gdLst>
              <a:gd name="T0" fmla="*/ 0 w 393"/>
              <a:gd name="T1" fmla="*/ 0 h 573"/>
              <a:gd name="T2" fmla="*/ 0 w 393"/>
              <a:gd name="T3" fmla="*/ 0 h 573"/>
              <a:gd name="T4" fmla="*/ 0 w 393"/>
              <a:gd name="T5" fmla="*/ 0 h 573"/>
              <a:gd name="T6" fmla="*/ 0 w 393"/>
              <a:gd name="T7" fmla="*/ 0 h 573"/>
              <a:gd name="T8" fmla="*/ 0 w 393"/>
              <a:gd name="T9" fmla="*/ 0 h 573"/>
              <a:gd name="T10" fmla="*/ 0 w 393"/>
              <a:gd name="T11" fmla="*/ 0 h 573"/>
              <a:gd name="T12" fmla="*/ 0 w 393"/>
              <a:gd name="T13" fmla="*/ 0 h 573"/>
              <a:gd name="T14" fmla="*/ 0 w 393"/>
              <a:gd name="T15" fmla="*/ 0 h 573"/>
              <a:gd name="T16" fmla="*/ 0 w 393"/>
              <a:gd name="T17" fmla="*/ 0 h 573"/>
              <a:gd name="T18" fmla="*/ 0 w 393"/>
              <a:gd name="T19" fmla="*/ 0 h 57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93"/>
              <a:gd name="T31" fmla="*/ 0 h 573"/>
              <a:gd name="T32" fmla="*/ 393 w 393"/>
              <a:gd name="T33" fmla="*/ 573 h 573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93" h="573">
                <a:moveTo>
                  <a:pt x="393" y="83"/>
                </a:moveTo>
                <a:cubicBezTo>
                  <a:pt x="393" y="541"/>
                  <a:pt x="393" y="541"/>
                  <a:pt x="393" y="541"/>
                </a:cubicBezTo>
                <a:cubicBezTo>
                  <a:pt x="393" y="559"/>
                  <a:pt x="379" y="573"/>
                  <a:pt x="361" y="573"/>
                </a:cubicBezTo>
                <a:cubicBezTo>
                  <a:pt x="32" y="573"/>
                  <a:pt x="32" y="573"/>
                  <a:pt x="32" y="573"/>
                </a:cubicBezTo>
                <a:cubicBezTo>
                  <a:pt x="14" y="573"/>
                  <a:pt x="0" y="559"/>
                  <a:pt x="0" y="541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14"/>
                  <a:pt x="14" y="0"/>
                  <a:pt x="32" y="0"/>
                </a:cubicBezTo>
                <a:cubicBezTo>
                  <a:pt x="361" y="0"/>
                  <a:pt x="361" y="0"/>
                  <a:pt x="361" y="0"/>
                </a:cubicBezTo>
                <a:cubicBezTo>
                  <a:pt x="379" y="0"/>
                  <a:pt x="393" y="14"/>
                  <a:pt x="393" y="32"/>
                </a:cubicBezTo>
                <a:cubicBezTo>
                  <a:pt x="393" y="51"/>
                  <a:pt x="393" y="51"/>
                  <a:pt x="393" y="51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en-US"/>
          </a:p>
        </p:txBody>
      </p:sp>
      <p:sp>
        <p:nvSpPr>
          <p:cNvPr id="21533" name="Freeform 29"/>
          <p:cNvSpPr>
            <a:spLocks noChangeAspect="1" noEditPoints="1"/>
          </p:cNvSpPr>
          <p:nvPr/>
        </p:nvSpPr>
        <p:spPr bwMode="auto">
          <a:xfrm>
            <a:off x="11289028" y="4391021"/>
            <a:ext cx="225425" cy="252412"/>
          </a:xfrm>
          <a:custGeom>
            <a:avLst/>
            <a:gdLst>
              <a:gd name="T0" fmla="*/ 0 w 409"/>
              <a:gd name="T1" fmla="*/ 0 h 589"/>
              <a:gd name="T2" fmla="*/ 0 w 409"/>
              <a:gd name="T3" fmla="*/ 0 h 589"/>
              <a:gd name="T4" fmla="*/ 0 w 409"/>
              <a:gd name="T5" fmla="*/ 0 h 589"/>
              <a:gd name="T6" fmla="*/ 0 w 409"/>
              <a:gd name="T7" fmla="*/ 0 h 589"/>
              <a:gd name="T8" fmla="*/ 0 w 409"/>
              <a:gd name="T9" fmla="*/ 0 h 589"/>
              <a:gd name="T10" fmla="*/ 0 w 409"/>
              <a:gd name="T11" fmla="*/ 0 h 589"/>
              <a:gd name="T12" fmla="*/ 0 w 409"/>
              <a:gd name="T13" fmla="*/ 0 h 589"/>
              <a:gd name="T14" fmla="*/ 0 w 409"/>
              <a:gd name="T15" fmla="*/ 0 h 589"/>
              <a:gd name="T16" fmla="*/ 0 w 409"/>
              <a:gd name="T17" fmla="*/ 0 h 589"/>
              <a:gd name="T18" fmla="*/ 0 w 409"/>
              <a:gd name="T19" fmla="*/ 0 h 589"/>
              <a:gd name="T20" fmla="*/ 0 w 409"/>
              <a:gd name="T21" fmla="*/ 0 h 589"/>
              <a:gd name="T22" fmla="*/ 0 w 409"/>
              <a:gd name="T23" fmla="*/ 0 h 589"/>
              <a:gd name="T24" fmla="*/ 0 w 409"/>
              <a:gd name="T25" fmla="*/ 0 h 589"/>
              <a:gd name="T26" fmla="*/ 0 w 409"/>
              <a:gd name="T27" fmla="*/ 0 h 589"/>
              <a:gd name="T28" fmla="*/ 0 w 409"/>
              <a:gd name="T29" fmla="*/ 0 h 589"/>
              <a:gd name="T30" fmla="*/ 0 w 409"/>
              <a:gd name="T31" fmla="*/ 0 h 589"/>
              <a:gd name="T32" fmla="*/ 0 w 409"/>
              <a:gd name="T33" fmla="*/ 0 h 589"/>
              <a:gd name="T34" fmla="*/ 0 w 409"/>
              <a:gd name="T35" fmla="*/ 0 h 589"/>
              <a:gd name="T36" fmla="*/ 0 w 409"/>
              <a:gd name="T37" fmla="*/ 0 h 589"/>
              <a:gd name="T38" fmla="*/ 0 w 409"/>
              <a:gd name="T39" fmla="*/ 0 h 589"/>
              <a:gd name="T40" fmla="*/ 0 w 409"/>
              <a:gd name="T41" fmla="*/ 0 h 589"/>
              <a:gd name="T42" fmla="*/ 0 w 409"/>
              <a:gd name="T43" fmla="*/ 0 h 589"/>
              <a:gd name="T44" fmla="*/ 0 w 409"/>
              <a:gd name="T45" fmla="*/ 0 h 589"/>
              <a:gd name="T46" fmla="*/ 0 w 409"/>
              <a:gd name="T47" fmla="*/ 0 h 589"/>
              <a:gd name="T48" fmla="*/ 0 w 409"/>
              <a:gd name="T49" fmla="*/ 0 h 589"/>
              <a:gd name="T50" fmla="*/ 0 w 409"/>
              <a:gd name="T51" fmla="*/ 0 h 589"/>
              <a:gd name="T52" fmla="*/ 0 w 409"/>
              <a:gd name="T53" fmla="*/ 0 h 589"/>
              <a:gd name="T54" fmla="*/ 0 w 409"/>
              <a:gd name="T55" fmla="*/ 0 h 589"/>
              <a:gd name="T56" fmla="*/ 0 w 409"/>
              <a:gd name="T57" fmla="*/ 0 h 589"/>
              <a:gd name="T58" fmla="*/ 0 w 409"/>
              <a:gd name="T59" fmla="*/ 0 h 589"/>
              <a:gd name="T60" fmla="*/ 0 w 409"/>
              <a:gd name="T61" fmla="*/ 0 h 589"/>
              <a:gd name="T62" fmla="*/ 0 w 409"/>
              <a:gd name="T63" fmla="*/ 0 h 589"/>
              <a:gd name="T64" fmla="*/ 0 w 409"/>
              <a:gd name="T65" fmla="*/ 0 h 589"/>
              <a:gd name="T66" fmla="*/ 0 w 409"/>
              <a:gd name="T67" fmla="*/ 0 h 589"/>
              <a:gd name="T68" fmla="*/ 0 w 409"/>
              <a:gd name="T69" fmla="*/ 0 h 589"/>
              <a:gd name="T70" fmla="*/ 0 w 409"/>
              <a:gd name="T71" fmla="*/ 0 h 589"/>
              <a:gd name="T72" fmla="*/ 0 w 409"/>
              <a:gd name="T73" fmla="*/ 0 h 58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409"/>
              <a:gd name="T112" fmla="*/ 0 h 589"/>
              <a:gd name="T113" fmla="*/ 409 w 409"/>
              <a:gd name="T114" fmla="*/ 589 h 589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409" h="589">
                <a:moveTo>
                  <a:pt x="401" y="67"/>
                </a:moveTo>
                <a:cubicBezTo>
                  <a:pt x="405" y="67"/>
                  <a:pt x="409" y="64"/>
                  <a:pt x="409" y="59"/>
                </a:cubicBezTo>
                <a:cubicBezTo>
                  <a:pt x="409" y="40"/>
                  <a:pt x="409" y="40"/>
                  <a:pt x="409" y="40"/>
                </a:cubicBezTo>
                <a:cubicBezTo>
                  <a:pt x="409" y="18"/>
                  <a:pt x="391" y="0"/>
                  <a:pt x="369" y="0"/>
                </a:cubicBezTo>
                <a:cubicBezTo>
                  <a:pt x="40" y="0"/>
                  <a:pt x="40" y="0"/>
                  <a:pt x="40" y="0"/>
                </a:cubicBezTo>
                <a:cubicBezTo>
                  <a:pt x="18" y="0"/>
                  <a:pt x="0" y="18"/>
                  <a:pt x="0" y="40"/>
                </a:cubicBezTo>
                <a:cubicBezTo>
                  <a:pt x="0" y="549"/>
                  <a:pt x="0" y="549"/>
                  <a:pt x="0" y="549"/>
                </a:cubicBezTo>
                <a:cubicBezTo>
                  <a:pt x="0" y="571"/>
                  <a:pt x="18" y="589"/>
                  <a:pt x="40" y="589"/>
                </a:cubicBezTo>
                <a:cubicBezTo>
                  <a:pt x="369" y="589"/>
                  <a:pt x="369" y="589"/>
                  <a:pt x="369" y="589"/>
                </a:cubicBezTo>
                <a:cubicBezTo>
                  <a:pt x="391" y="589"/>
                  <a:pt x="409" y="571"/>
                  <a:pt x="409" y="549"/>
                </a:cubicBezTo>
                <a:cubicBezTo>
                  <a:pt x="409" y="91"/>
                  <a:pt x="409" y="91"/>
                  <a:pt x="409" y="91"/>
                </a:cubicBezTo>
                <a:cubicBezTo>
                  <a:pt x="409" y="87"/>
                  <a:pt x="405" y="83"/>
                  <a:pt x="401" y="83"/>
                </a:cubicBezTo>
                <a:cubicBezTo>
                  <a:pt x="397" y="83"/>
                  <a:pt x="393" y="87"/>
                  <a:pt x="393" y="91"/>
                </a:cubicBezTo>
                <a:cubicBezTo>
                  <a:pt x="393" y="549"/>
                  <a:pt x="393" y="549"/>
                  <a:pt x="393" y="549"/>
                </a:cubicBezTo>
                <a:cubicBezTo>
                  <a:pt x="393" y="562"/>
                  <a:pt x="382" y="573"/>
                  <a:pt x="369" y="573"/>
                </a:cubicBezTo>
                <a:cubicBezTo>
                  <a:pt x="40" y="573"/>
                  <a:pt x="40" y="573"/>
                  <a:pt x="40" y="573"/>
                </a:cubicBezTo>
                <a:cubicBezTo>
                  <a:pt x="26" y="573"/>
                  <a:pt x="16" y="562"/>
                  <a:pt x="16" y="549"/>
                </a:cubicBezTo>
                <a:cubicBezTo>
                  <a:pt x="16" y="40"/>
                  <a:pt x="16" y="40"/>
                  <a:pt x="16" y="40"/>
                </a:cubicBezTo>
                <a:cubicBezTo>
                  <a:pt x="16" y="27"/>
                  <a:pt x="26" y="16"/>
                  <a:pt x="40" y="16"/>
                </a:cubicBezTo>
                <a:cubicBezTo>
                  <a:pt x="369" y="16"/>
                  <a:pt x="369" y="16"/>
                  <a:pt x="369" y="16"/>
                </a:cubicBezTo>
                <a:cubicBezTo>
                  <a:pt x="382" y="16"/>
                  <a:pt x="393" y="27"/>
                  <a:pt x="393" y="40"/>
                </a:cubicBezTo>
                <a:cubicBezTo>
                  <a:pt x="393" y="59"/>
                  <a:pt x="393" y="59"/>
                  <a:pt x="393" y="59"/>
                </a:cubicBezTo>
                <a:cubicBezTo>
                  <a:pt x="393" y="64"/>
                  <a:pt x="397" y="67"/>
                  <a:pt x="401" y="67"/>
                </a:cubicBezTo>
                <a:close/>
                <a:moveTo>
                  <a:pt x="319" y="153"/>
                </a:moveTo>
                <a:cubicBezTo>
                  <a:pt x="323" y="153"/>
                  <a:pt x="327" y="149"/>
                  <a:pt x="327" y="145"/>
                </a:cubicBezTo>
                <a:cubicBezTo>
                  <a:pt x="327" y="145"/>
                  <a:pt x="327" y="145"/>
                  <a:pt x="327" y="145"/>
                </a:cubicBezTo>
                <a:cubicBezTo>
                  <a:pt x="327" y="86"/>
                  <a:pt x="327" y="86"/>
                  <a:pt x="327" y="86"/>
                </a:cubicBezTo>
                <a:cubicBezTo>
                  <a:pt x="327" y="84"/>
                  <a:pt x="326" y="82"/>
                  <a:pt x="324" y="80"/>
                </a:cubicBezTo>
                <a:cubicBezTo>
                  <a:pt x="323" y="79"/>
                  <a:pt x="321" y="78"/>
                  <a:pt x="319" y="78"/>
                </a:cubicBezTo>
                <a:cubicBezTo>
                  <a:pt x="260" y="78"/>
                  <a:pt x="260" y="78"/>
                  <a:pt x="260" y="78"/>
                </a:cubicBezTo>
                <a:cubicBezTo>
                  <a:pt x="255" y="78"/>
                  <a:pt x="252" y="82"/>
                  <a:pt x="252" y="86"/>
                </a:cubicBezTo>
                <a:cubicBezTo>
                  <a:pt x="252" y="91"/>
                  <a:pt x="255" y="94"/>
                  <a:pt x="260" y="94"/>
                </a:cubicBezTo>
                <a:cubicBezTo>
                  <a:pt x="299" y="94"/>
                  <a:pt x="299" y="94"/>
                  <a:pt x="299" y="94"/>
                </a:cubicBezTo>
                <a:cubicBezTo>
                  <a:pt x="198" y="195"/>
                  <a:pt x="198" y="195"/>
                  <a:pt x="198" y="195"/>
                </a:cubicBezTo>
                <a:cubicBezTo>
                  <a:pt x="97" y="94"/>
                  <a:pt x="97" y="94"/>
                  <a:pt x="97" y="94"/>
                </a:cubicBezTo>
                <a:cubicBezTo>
                  <a:pt x="137" y="94"/>
                  <a:pt x="137" y="94"/>
                  <a:pt x="137" y="94"/>
                </a:cubicBezTo>
                <a:cubicBezTo>
                  <a:pt x="141" y="94"/>
                  <a:pt x="145" y="91"/>
                  <a:pt x="145" y="86"/>
                </a:cubicBezTo>
                <a:cubicBezTo>
                  <a:pt x="145" y="82"/>
                  <a:pt x="141" y="78"/>
                  <a:pt x="137" y="78"/>
                </a:cubicBezTo>
                <a:cubicBezTo>
                  <a:pt x="78" y="78"/>
                  <a:pt x="78" y="78"/>
                  <a:pt x="78" y="78"/>
                </a:cubicBezTo>
                <a:cubicBezTo>
                  <a:pt x="76" y="78"/>
                  <a:pt x="74" y="79"/>
                  <a:pt x="73" y="80"/>
                </a:cubicBezTo>
                <a:cubicBezTo>
                  <a:pt x="71" y="82"/>
                  <a:pt x="70" y="84"/>
                  <a:pt x="70" y="86"/>
                </a:cubicBezTo>
                <a:cubicBezTo>
                  <a:pt x="70" y="145"/>
                  <a:pt x="70" y="145"/>
                  <a:pt x="70" y="145"/>
                </a:cubicBezTo>
                <a:cubicBezTo>
                  <a:pt x="70" y="149"/>
                  <a:pt x="74" y="153"/>
                  <a:pt x="78" y="153"/>
                </a:cubicBezTo>
                <a:cubicBezTo>
                  <a:pt x="83" y="153"/>
                  <a:pt x="86" y="149"/>
                  <a:pt x="86" y="145"/>
                </a:cubicBezTo>
                <a:cubicBezTo>
                  <a:pt x="86" y="105"/>
                  <a:pt x="86" y="105"/>
                  <a:pt x="86" y="105"/>
                </a:cubicBezTo>
                <a:cubicBezTo>
                  <a:pt x="187" y="206"/>
                  <a:pt x="187" y="206"/>
                  <a:pt x="187" y="206"/>
                </a:cubicBezTo>
                <a:cubicBezTo>
                  <a:pt x="86" y="307"/>
                  <a:pt x="86" y="307"/>
                  <a:pt x="86" y="307"/>
                </a:cubicBezTo>
                <a:cubicBezTo>
                  <a:pt x="86" y="268"/>
                  <a:pt x="86" y="268"/>
                  <a:pt x="86" y="268"/>
                </a:cubicBezTo>
                <a:cubicBezTo>
                  <a:pt x="86" y="263"/>
                  <a:pt x="83" y="260"/>
                  <a:pt x="78" y="260"/>
                </a:cubicBezTo>
                <a:cubicBezTo>
                  <a:pt x="74" y="260"/>
                  <a:pt x="70" y="263"/>
                  <a:pt x="70" y="268"/>
                </a:cubicBezTo>
                <a:cubicBezTo>
                  <a:pt x="70" y="268"/>
                  <a:pt x="70" y="268"/>
                  <a:pt x="70" y="268"/>
                </a:cubicBezTo>
                <a:cubicBezTo>
                  <a:pt x="70" y="327"/>
                  <a:pt x="70" y="327"/>
                  <a:pt x="70" y="327"/>
                </a:cubicBezTo>
                <a:cubicBezTo>
                  <a:pt x="70" y="329"/>
                  <a:pt x="71" y="331"/>
                  <a:pt x="73" y="332"/>
                </a:cubicBezTo>
                <a:cubicBezTo>
                  <a:pt x="74" y="334"/>
                  <a:pt x="76" y="335"/>
                  <a:pt x="78" y="335"/>
                </a:cubicBezTo>
                <a:cubicBezTo>
                  <a:pt x="137" y="335"/>
                  <a:pt x="137" y="335"/>
                  <a:pt x="137" y="335"/>
                </a:cubicBezTo>
                <a:cubicBezTo>
                  <a:pt x="141" y="335"/>
                  <a:pt x="145" y="331"/>
                  <a:pt x="145" y="327"/>
                </a:cubicBezTo>
                <a:cubicBezTo>
                  <a:pt x="145" y="322"/>
                  <a:pt x="141" y="319"/>
                  <a:pt x="137" y="319"/>
                </a:cubicBezTo>
                <a:cubicBezTo>
                  <a:pt x="97" y="319"/>
                  <a:pt x="97" y="319"/>
                  <a:pt x="97" y="319"/>
                </a:cubicBezTo>
                <a:cubicBezTo>
                  <a:pt x="198" y="218"/>
                  <a:pt x="198" y="218"/>
                  <a:pt x="198" y="218"/>
                </a:cubicBezTo>
                <a:cubicBezTo>
                  <a:pt x="299" y="319"/>
                  <a:pt x="299" y="319"/>
                  <a:pt x="299" y="319"/>
                </a:cubicBezTo>
                <a:cubicBezTo>
                  <a:pt x="260" y="319"/>
                  <a:pt x="260" y="319"/>
                  <a:pt x="260" y="319"/>
                </a:cubicBezTo>
                <a:cubicBezTo>
                  <a:pt x="255" y="319"/>
                  <a:pt x="252" y="322"/>
                  <a:pt x="252" y="327"/>
                </a:cubicBezTo>
                <a:cubicBezTo>
                  <a:pt x="252" y="331"/>
                  <a:pt x="255" y="335"/>
                  <a:pt x="260" y="335"/>
                </a:cubicBezTo>
                <a:cubicBezTo>
                  <a:pt x="260" y="335"/>
                  <a:pt x="260" y="335"/>
                  <a:pt x="260" y="335"/>
                </a:cubicBezTo>
                <a:cubicBezTo>
                  <a:pt x="319" y="335"/>
                  <a:pt x="319" y="335"/>
                  <a:pt x="319" y="335"/>
                </a:cubicBezTo>
                <a:cubicBezTo>
                  <a:pt x="321" y="335"/>
                  <a:pt x="323" y="334"/>
                  <a:pt x="324" y="332"/>
                </a:cubicBezTo>
                <a:cubicBezTo>
                  <a:pt x="326" y="331"/>
                  <a:pt x="327" y="329"/>
                  <a:pt x="327" y="327"/>
                </a:cubicBezTo>
                <a:cubicBezTo>
                  <a:pt x="327" y="268"/>
                  <a:pt x="327" y="268"/>
                  <a:pt x="327" y="268"/>
                </a:cubicBezTo>
                <a:cubicBezTo>
                  <a:pt x="327" y="263"/>
                  <a:pt x="323" y="260"/>
                  <a:pt x="319" y="260"/>
                </a:cubicBezTo>
                <a:cubicBezTo>
                  <a:pt x="314" y="260"/>
                  <a:pt x="311" y="263"/>
                  <a:pt x="311" y="268"/>
                </a:cubicBezTo>
                <a:cubicBezTo>
                  <a:pt x="311" y="307"/>
                  <a:pt x="311" y="307"/>
                  <a:pt x="311" y="307"/>
                </a:cubicBezTo>
                <a:cubicBezTo>
                  <a:pt x="210" y="206"/>
                  <a:pt x="210" y="206"/>
                  <a:pt x="210" y="206"/>
                </a:cubicBezTo>
                <a:cubicBezTo>
                  <a:pt x="311" y="105"/>
                  <a:pt x="311" y="105"/>
                  <a:pt x="311" y="105"/>
                </a:cubicBezTo>
                <a:cubicBezTo>
                  <a:pt x="311" y="145"/>
                  <a:pt x="311" y="145"/>
                  <a:pt x="311" y="145"/>
                </a:cubicBezTo>
                <a:cubicBezTo>
                  <a:pt x="311" y="149"/>
                  <a:pt x="314" y="153"/>
                  <a:pt x="319" y="153"/>
                </a:cubicBezTo>
                <a:close/>
              </a:path>
            </a:pathLst>
          </a:custGeom>
          <a:solidFill>
            <a:srgbClr val="F08A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en-US"/>
          </a:p>
        </p:txBody>
      </p:sp>
      <p:sp>
        <p:nvSpPr>
          <p:cNvPr id="21534" name="Text Box 30"/>
          <p:cNvSpPr txBox="1">
            <a:spLocks noChangeAspect="1" noChangeArrowheads="1"/>
          </p:cNvSpPr>
          <p:nvPr/>
        </p:nvSpPr>
        <p:spPr bwMode="auto">
          <a:xfrm>
            <a:off x="11306489" y="4550341"/>
            <a:ext cx="190500" cy="861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50000"/>
              </a:spcBef>
            </a:pPr>
            <a:r>
              <a:rPr lang="en-CA" sz="700">
                <a:solidFill>
                  <a:srgbClr val="F08A00"/>
                </a:solidFill>
                <a:ea typeface="MS PGothic" pitchFamily="34" charset="-128"/>
              </a:rPr>
              <a:t>BG</a:t>
            </a:r>
            <a:endParaRPr lang="en-US" sz="700">
              <a:solidFill>
                <a:srgbClr val="F08A00"/>
              </a:solidFill>
              <a:ea typeface="MS PGothic" pitchFamily="34" charset="-128"/>
            </a:endParaRPr>
          </a:p>
        </p:txBody>
      </p:sp>
      <p:sp>
        <p:nvSpPr>
          <p:cNvPr id="151599" name="Rectangle 47"/>
          <p:cNvSpPr>
            <a:spLocks noChangeAspect="1" noChangeArrowheads="1"/>
          </p:cNvSpPr>
          <p:nvPr/>
        </p:nvSpPr>
        <p:spPr bwMode="auto">
          <a:xfrm>
            <a:off x="11289028" y="4391021"/>
            <a:ext cx="225425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lIns="0" rIns="0" anchor="ctr"/>
          <a:lstStyle/>
          <a:p>
            <a:pPr algn="ctr">
              <a:spcBef>
                <a:spcPct val="50000"/>
              </a:spcBef>
              <a:defRPr/>
            </a:pPr>
            <a:endParaRPr lang="sv-SE" sz="600">
              <a:ea typeface="MS PGothic" pitchFamily="34" charset="-128"/>
              <a:cs typeface="+mn-cs"/>
            </a:endParaRPr>
          </a:p>
        </p:txBody>
      </p:sp>
      <p:sp>
        <p:nvSpPr>
          <p:cNvPr id="15396" name="Line 127"/>
          <p:cNvSpPr>
            <a:spLocks noChangeShapeType="1"/>
          </p:cNvSpPr>
          <p:nvPr/>
        </p:nvSpPr>
        <p:spPr bwMode="auto">
          <a:xfrm flipV="1">
            <a:off x="11408089" y="4640262"/>
            <a:ext cx="0" cy="47625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spcBef>
                <a:spcPct val="50000"/>
              </a:spcBef>
              <a:defRPr/>
            </a:pPr>
            <a:endParaRPr lang="en-US">
              <a:latin typeface="Arial" charset="0"/>
              <a:cs typeface="+mn-cs"/>
            </a:endParaRPr>
          </a:p>
        </p:txBody>
      </p:sp>
      <p:sp>
        <p:nvSpPr>
          <p:cNvPr id="15397" name="Text Box 128"/>
          <p:cNvSpPr txBox="1">
            <a:spLocks noChangeArrowheads="1"/>
          </p:cNvSpPr>
          <p:nvPr/>
        </p:nvSpPr>
        <p:spPr bwMode="auto">
          <a:xfrm>
            <a:off x="10114279" y="3598862"/>
            <a:ext cx="866775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72000" rIns="72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en-CA" sz="1000">
                <a:cs typeface="Arial" charset="0"/>
              </a:rPr>
              <a:t>DC 3</a:t>
            </a:r>
            <a:br>
              <a:rPr lang="en-CA" sz="1000">
                <a:cs typeface="Arial" charset="0"/>
              </a:rPr>
            </a:br>
            <a:r>
              <a:rPr lang="en-CA" sz="600">
                <a:cs typeface="Arial" charset="0"/>
              </a:rPr>
              <a:t>(geo loc Y)</a:t>
            </a:r>
            <a:endParaRPr lang="en-US" sz="600">
              <a:cs typeface="Arial" charset="0"/>
            </a:endParaRPr>
          </a:p>
        </p:txBody>
      </p:sp>
      <p:sp>
        <p:nvSpPr>
          <p:cNvPr id="15398" name="Text Box 129"/>
          <p:cNvSpPr txBox="1">
            <a:spLocks noChangeArrowheads="1"/>
          </p:cNvSpPr>
          <p:nvPr/>
        </p:nvSpPr>
        <p:spPr bwMode="auto">
          <a:xfrm>
            <a:off x="10985816" y="3597275"/>
            <a:ext cx="866775" cy="338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72000" rIns="72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en-CA" sz="1000">
                <a:cs typeface="Arial" charset="0"/>
              </a:rPr>
              <a:t>DC 4</a:t>
            </a:r>
            <a:br>
              <a:rPr lang="en-CA" sz="1000">
                <a:cs typeface="Arial" charset="0"/>
              </a:rPr>
            </a:br>
            <a:r>
              <a:rPr lang="en-CA" sz="600">
                <a:cs typeface="Arial" charset="0"/>
              </a:rPr>
              <a:t>(geo loc Y)</a:t>
            </a:r>
            <a:endParaRPr lang="en-US" sz="600">
              <a:cs typeface="Arial" charset="0"/>
            </a:endParaRPr>
          </a:p>
        </p:txBody>
      </p:sp>
      <p:grpSp>
        <p:nvGrpSpPr>
          <p:cNvPr id="21539" name="Group 257"/>
          <p:cNvGrpSpPr>
            <a:grpSpLocks/>
          </p:cNvGrpSpPr>
          <p:nvPr/>
        </p:nvGrpSpPr>
        <p:grpSpPr bwMode="auto">
          <a:xfrm>
            <a:off x="8207691" y="3944503"/>
            <a:ext cx="485775" cy="413178"/>
            <a:chOff x="2632" y="3371"/>
            <a:chExt cx="320" cy="344"/>
          </a:xfrm>
        </p:grpSpPr>
        <p:sp>
          <p:nvSpPr>
            <p:cNvPr id="21583" name="AutoShape 3"/>
            <p:cNvSpPr>
              <a:spLocks noChangeArrowheads="1"/>
            </p:cNvSpPr>
            <p:nvPr/>
          </p:nvSpPr>
          <p:spPr bwMode="auto">
            <a:xfrm>
              <a:off x="2651" y="3439"/>
              <a:ext cx="140" cy="50"/>
            </a:xfrm>
            <a:prstGeom prst="flowChartAlternateProcess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</a:pPr>
              <a:r>
                <a:rPr lang="en-US" sz="100">
                  <a:solidFill>
                    <a:schemeClr val="bg1"/>
                  </a:solidFill>
                </a:rPr>
                <a:t>Compute</a:t>
              </a:r>
            </a:p>
          </p:txBody>
        </p:sp>
        <p:sp>
          <p:nvSpPr>
            <p:cNvPr id="15437" name="AutoShape 7"/>
            <p:cNvSpPr>
              <a:spLocks noChangeArrowheads="1"/>
            </p:cNvSpPr>
            <p:nvPr/>
          </p:nvSpPr>
          <p:spPr bwMode="auto">
            <a:xfrm>
              <a:off x="2653" y="3560"/>
              <a:ext cx="271" cy="115"/>
            </a:xfrm>
            <a:prstGeom prst="roundRect">
              <a:avLst>
                <a:gd name="adj" fmla="val 16667"/>
              </a:avLst>
            </a:prstGeom>
            <a:solidFill>
              <a:schemeClr val="bg2"/>
            </a:solidFill>
            <a:ln w="12700">
              <a:solidFill>
                <a:schemeClr val="bg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  <a:defRPr/>
              </a:pPr>
              <a:endParaRPr lang="en-US" sz="100">
                <a:latin typeface="Arial" charset="0"/>
                <a:cs typeface="+mn-cs"/>
              </a:endParaRPr>
            </a:p>
          </p:txBody>
        </p:sp>
        <p:sp>
          <p:nvSpPr>
            <p:cNvPr id="21585" name="AutoShape 3"/>
            <p:cNvSpPr>
              <a:spLocks noChangeArrowheads="1"/>
            </p:cNvSpPr>
            <p:nvPr/>
          </p:nvSpPr>
          <p:spPr bwMode="auto">
            <a:xfrm>
              <a:off x="2652" y="3500"/>
              <a:ext cx="141" cy="51"/>
            </a:xfrm>
            <a:prstGeom prst="flowChartAlternateProcess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</a:pPr>
              <a:r>
                <a:rPr lang="en-CA" sz="100">
                  <a:solidFill>
                    <a:schemeClr val="bg1"/>
                  </a:solidFill>
                </a:rPr>
                <a:t>Firewall</a:t>
              </a:r>
              <a:endParaRPr lang="en-US" sz="100">
                <a:solidFill>
                  <a:schemeClr val="bg1"/>
                </a:solidFill>
              </a:endParaRPr>
            </a:p>
          </p:txBody>
        </p:sp>
        <p:sp>
          <p:nvSpPr>
            <p:cNvPr id="21586" name="AutoShape 3"/>
            <p:cNvSpPr>
              <a:spLocks noChangeArrowheads="1"/>
            </p:cNvSpPr>
            <p:nvPr/>
          </p:nvSpPr>
          <p:spPr bwMode="auto">
            <a:xfrm>
              <a:off x="2808" y="3499"/>
              <a:ext cx="121" cy="51"/>
            </a:xfrm>
            <a:prstGeom prst="flowChartAlternateProcess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</a:pPr>
              <a:r>
                <a:rPr lang="en-CA" sz="100">
                  <a:solidFill>
                    <a:schemeClr val="bg1"/>
                  </a:solidFill>
                </a:rPr>
                <a:t>LB</a:t>
              </a:r>
              <a:endParaRPr lang="en-US" sz="100">
                <a:solidFill>
                  <a:schemeClr val="bg1"/>
                </a:solidFill>
              </a:endParaRPr>
            </a:p>
          </p:txBody>
        </p:sp>
        <p:sp>
          <p:nvSpPr>
            <p:cNvPr id="21587" name="AutoShape 4"/>
            <p:cNvSpPr>
              <a:spLocks noChangeArrowheads="1"/>
            </p:cNvSpPr>
            <p:nvPr/>
          </p:nvSpPr>
          <p:spPr bwMode="auto">
            <a:xfrm>
              <a:off x="2807" y="3438"/>
              <a:ext cx="123" cy="51"/>
            </a:xfrm>
            <a:prstGeom prst="flowChartAlternateProcess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</a:pPr>
              <a:r>
                <a:rPr lang="en-US" sz="100">
                  <a:solidFill>
                    <a:schemeClr val="bg1"/>
                  </a:solidFill>
                </a:rPr>
                <a:t>Storage</a:t>
              </a:r>
            </a:p>
          </p:txBody>
        </p:sp>
        <p:sp>
          <p:nvSpPr>
            <p:cNvPr id="16" name="Text Box 11"/>
            <p:cNvSpPr txBox="1">
              <a:spLocks noChangeArrowheads="1"/>
            </p:cNvSpPr>
            <p:nvPr/>
          </p:nvSpPr>
          <p:spPr bwMode="auto">
            <a:xfrm>
              <a:off x="2634" y="3545"/>
              <a:ext cx="296" cy="1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72000" rIns="7200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defRPr/>
              </a:pPr>
              <a:r>
                <a:rPr lang="en-CA" sz="200" b="1">
                  <a:solidFill>
                    <a:schemeClr val="bg1"/>
                  </a:solidFill>
                  <a:latin typeface="Ericsson Capital TT" charset="0"/>
                  <a:cs typeface="Arial" charset="0"/>
                </a:rPr>
                <a:t>NETWORK FABRIC</a:t>
              </a:r>
              <a:endParaRPr lang="en-US" sz="200" b="1">
                <a:solidFill>
                  <a:schemeClr val="bg1"/>
                </a:solidFill>
                <a:latin typeface="Ericsson Capital TT" charset="0"/>
                <a:cs typeface="Arial" charset="0"/>
              </a:endParaRPr>
            </a:p>
          </p:txBody>
        </p:sp>
        <p:sp>
          <p:nvSpPr>
            <p:cNvPr id="17" name="AutoShape 12"/>
            <p:cNvSpPr>
              <a:spLocks noChangeArrowheads="1"/>
            </p:cNvSpPr>
            <p:nvPr/>
          </p:nvSpPr>
          <p:spPr bwMode="auto">
            <a:xfrm>
              <a:off x="2632" y="3389"/>
              <a:ext cx="320" cy="326"/>
            </a:xfrm>
            <a:prstGeom prst="roundRect">
              <a:avLst>
                <a:gd name="adj" fmla="val 16667"/>
              </a:avLst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  <a:defRPr/>
              </a:pPr>
              <a:endParaRPr lang="en-CA" sz="700">
                <a:latin typeface="Arial" charset="0"/>
                <a:cs typeface="+mn-cs"/>
              </a:endParaRPr>
            </a:p>
          </p:txBody>
        </p:sp>
        <p:sp>
          <p:nvSpPr>
            <p:cNvPr id="18" name="Text Box 13"/>
            <p:cNvSpPr txBox="1">
              <a:spLocks noChangeArrowheads="1"/>
            </p:cNvSpPr>
            <p:nvPr/>
          </p:nvSpPr>
          <p:spPr bwMode="auto">
            <a:xfrm>
              <a:off x="2694" y="3371"/>
              <a:ext cx="187" cy="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72000" rIns="7200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defRPr/>
              </a:pPr>
              <a:r>
                <a:rPr lang="en-CA" sz="100" b="1">
                  <a:cs typeface="Arial" charset="0"/>
                </a:rPr>
                <a:t>POD</a:t>
              </a:r>
              <a:r>
                <a:rPr lang="en-CA" sz="100">
                  <a:cs typeface="Arial" charset="0"/>
                </a:rPr>
                <a:t> </a:t>
              </a:r>
              <a:r>
                <a:rPr lang="en-CA" sz="100" b="1">
                  <a:cs typeface="Arial" charset="0"/>
                </a:rPr>
                <a:t>2</a:t>
              </a:r>
              <a:endParaRPr lang="en-US" sz="100" b="1">
                <a:cs typeface="Arial" charset="0"/>
              </a:endParaRPr>
            </a:p>
          </p:txBody>
        </p:sp>
      </p:grpSp>
      <p:grpSp>
        <p:nvGrpSpPr>
          <p:cNvPr id="21540" name="Group 266"/>
          <p:cNvGrpSpPr>
            <a:grpSpLocks/>
          </p:cNvGrpSpPr>
          <p:nvPr/>
        </p:nvGrpSpPr>
        <p:grpSpPr bwMode="auto">
          <a:xfrm>
            <a:off x="8745853" y="3941756"/>
            <a:ext cx="485775" cy="413178"/>
            <a:chOff x="2632" y="3374"/>
            <a:chExt cx="320" cy="344"/>
          </a:xfrm>
        </p:grpSpPr>
        <p:sp>
          <p:nvSpPr>
            <p:cNvPr id="21575" name="AutoShape 3"/>
            <p:cNvSpPr>
              <a:spLocks noChangeArrowheads="1"/>
            </p:cNvSpPr>
            <p:nvPr/>
          </p:nvSpPr>
          <p:spPr bwMode="auto">
            <a:xfrm>
              <a:off x="2651" y="3439"/>
              <a:ext cx="140" cy="50"/>
            </a:xfrm>
            <a:prstGeom prst="flowChartAlternateProcess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</a:pPr>
              <a:r>
                <a:rPr lang="en-US" sz="100">
                  <a:solidFill>
                    <a:schemeClr val="bg1"/>
                  </a:solidFill>
                </a:rPr>
                <a:t>Compute</a:t>
              </a:r>
            </a:p>
          </p:txBody>
        </p:sp>
        <p:sp>
          <p:nvSpPr>
            <p:cNvPr id="15429" name="AutoShape 7"/>
            <p:cNvSpPr>
              <a:spLocks noChangeArrowheads="1"/>
            </p:cNvSpPr>
            <p:nvPr/>
          </p:nvSpPr>
          <p:spPr bwMode="auto">
            <a:xfrm>
              <a:off x="2653" y="3563"/>
              <a:ext cx="271" cy="114"/>
            </a:xfrm>
            <a:prstGeom prst="roundRect">
              <a:avLst>
                <a:gd name="adj" fmla="val 16667"/>
              </a:avLst>
            </a:prstGeom>
            <a:solidFill>
              <a:schemeClr val="bg2"/>
            </a:solidFill>
            <a:ln w="12700">
              <a:solidFill>
                <a:schemeClr val="bg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  <a:defRPr/>
              </a:pPr>
              <a:endParaRPr lang="en-US" sz="100">
                <a:latin typeface="Arial" charset="0"/>
                <a:cs typeface="+mn-cs"/>
              </a:endParaRPr>
            </a:p>
          </p:txBody>
        </p:sp>
        <p:sp>
          <p:nvSpPr>
            <p:cNvPr id="21577" name="AutoShape 3"/>
            <p:cNvSpPr>
              <a:spLocks noChangeArrowheads="1"/>
            </p:cNvSpPr>
            <p:nvPr/>
          </p:nvSpPr>
          <p:spPr bwMode="auto">
            <a:xfrm>
              <a:off x="2652" y="3500"/>
              <a:ext cx="141" cy="51"/>
            </a:xfrm>
            <a:prstGeom prst="flowChartAlternateProcess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</a:pPr>
              <a:r>
                <a:rPr lang="en-CA" sz="100">
                  <a:solidFill>
                    <a:schemeClr val="bg1"/>
                  </a:solidFill>
                </a:rPr>
                <a:t>Firewall</a:t>
              </a:r>
              <a:endParaRPr lang="en-US" sz="100">
                <a:solidFill>
                  <a:schemeClr val="bg1"/>
                </a:solidFill>
              </a:endParaRPr>
            </a:p>
          </p:txBody>
        </p:sp>
        <p:sp>
          <p:nvSpPr>
            <p:cNvPr id="21578" name="AutoShape 3"/>
            <p:cNvSpPr>
              <a:spLocks noChangeArrowheads="1"/>
            </p:cNvSpPr>
            <p:nvPr/>
          </p:nvSpPr>
          <p:spPr bwMode="auto">
            <a:xfrm>
              <a:off x="2808" y="3499"/>
              <a:ext cx="121" cy="51"/>
            </a:xfrm>
            <a:prstGeom prst="flowChartAlternateProcess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</a:pPr>
              <a:r>
                <a:rPr lang="en-CA" sz="100">
                  <a:solidFill>
                    <a:schemeClr val="bg1"/>
                  </a:solidFill>
                </a:rPr>
                <a:t>LB</a:t>
              </a:r>
              <a:endParaRPr lang="en-US" sz="100">
                <a:solidFill>
                  <a:schemeClr val="bg1"/>
                </a:solidFill>
              </a:endParaRPr>
            </a:p>
          </p:txBody>
        </p:sp>
        <p:sp>
          <p:nvSpPr>
            <p:cNvPr id="21579" name="AutoShape 4"/>
            <p:cNvSpPr>
              <a:spLocks noChangeArrowheads="1"/>
            </p:cNvSpPr>
            <p:nvPr/>
          </p:nvSpPr>
          <p:spPr bwMode="auto">
            <a:xfrm>
              <a:off x="2807" y="3438"/>
              <a:ext cx="123" cy="51"/>
            </a:xfrm>
            <a:prstGeom prst="flowChartAlternateProcess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</a:pPr>
              <a:r>
                <a:rPr lang="en-US" sz="100">
                  <a:solidFill>
                    <a:schemeClr val="bg1"/>
                  </a:solidFill>
                </a:rPr>
                <a:t>Storage</a:t>
              </a:r>
            </a:p>
          </p:txBody>
        </p:sp>
        <p:sp>
          <p:nvSpPr>
            <p:cNvPr id="20" name="Text Box 11"/>
            <p:cNvSpPr txBox="1">
              <a:spLocks noChangeArrowheads="1"/>
            </p:cNvSpPr>
            <p:nvPr/>
          </p:nvSpPr>
          <p:spPr bwMode="auto">
            <a:xfrm>
              <a:off x="2634" y="3545"/>
              <a:ext cx="296" cy="1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72000" rIns="7200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defRPr/>
              </a:pPr>
              <a:r>
                <a:rPr lang="en-CA" sz="200" b="1">
                  <a:solidFill>
                    <a:schemeClr val="bg1"/>
                  </a:solidFill>
                  <a:latin typeface="Ericsson Capital TT" charset="0"/>
                  <a:cs typeface="Arial" charset="0"/>
                </a:rPr>
                <a:t>NETWORK FABRIC</a:t>
              </a:r>
              <a:endParaRPr lang="en-US" sz="200" b="1">
                <a:solidFill>
                  <a:schemeClr val="bg1"/>
                </a:solidFill>
                <a:latin typeface="Ericsson Capital TT" charset="0"/>
                <a:cs typeface="Arial" charset="0"/>
              </a:endParaRPr>
            </a:p>
          </p:txBody>
        </p:sp>
        <p:sp>
          <p:nvSpPr>
            <p:cNvPr id="21" name="AutoShape 12"/>
            <p:cNvSpPr>
              <a:spLocks noChangeArrowheads="1"/>
            </p:cNvSpPr>
            <p:nvPr/>
          </p:nvSpPr>
          <p:spPr bwMode="auto">
            <a:xfrm>
              <a:off x="2632" y="3389"/>
              <a:ext cx="320" cy="329"/>
            </a:xfrm>
            <a:prstGeom prst="roundRect">
              <a:avLst>
                <a:gd name="adj" fmla="val 16667"/>
              </a:avLst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  <a:defRPr/>
              </a:pPr>
              <a:endParaRPr lang="en-CA" sz="700">
                <a:latin typeface="Arial" charset="0"/>
                <a:cs typeface="+mn-cs"/>
              </a:endParaRPr>
            </a:p>
          </p:txBody>
        </p:sp>
        <p:sp>
          <p:nvSpPr>
            <p:cNvPr id="22" name="Text Box 13"/>
            <p:cNvSpPr txBox="1">
              <a:spLocks noChangeArrowheads="1"/>
            </p:cNvSpPr>
            <p:nvPr/>
          </p:nvSpPr>
          <p:spPr bwMode="auto">
            <a:xfrm>
              <a:off x="2694" y="3374"/>
              <a:ext cx="187" cy="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72000" rIns="7200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defRPr/>
              </a:pPr>
              <a:r>
                <a:rPr lang="en-CA" sz="100" b="1">
                  <a:cs typeface="Arial" charset="0"/>
                </a:rPr>
                <a:t>POD</a:t>
              </a:r>
              <a:r>
                <a:rPr lang="en-CA" sz="100">
                  <a:cs typeface="Arial" charset="0"/>
                </a:rPr>
                <a:t> </a:t>
              </a:r>
              <a:r>
                <a:rPr lang="en-CA" sz="100" b="1">
                  <a:cs typeface="Arial" charset="0"/>
                </a:rPr>
                <a:t>3</a:t>
              </a:r>
              <a:endParaRPr lang="en-US" sz="100" b="1">
                <a:cs typeface="Arial" charset="0"/>
              </a:endParaRPr>
            </a:p>
          </p:txBody>
        </p:sp>
      </p:grpSp>
      <p:grpSp>
        <p:nvGrpSpPr>
          <p:cNvPr id="21541" name="Group 275"/>
          <p:cNvGrpSpPr>
            <a:grpSpLocks/>
          </p:cNvGrpSpPr>
          <p:nvPr/>
        </p:nvGrpSpPr>
        <p:grpSpPr bwMode="auto">
          <a:xfrm>
            <a:off x="9504679" y="3941756"/>
            <a:ext cx="485775" cy="413178"/>
            <a:chOff x="2632" y="3374"/>
            <a:chExt cx="320" cy="344"/>
          </a:xfrm>
        </p:grpSpPr>
        <p:sp>
          <p:nvSpPr>
            <p:cNvPr id="21567" name="AutoShape 3"/>
            <p:cNvSpPr>
              <a:spLocks noChangeArrowheads="1"/>
            </p:cNvSpPr>
            <p:nvPr/>
          </p:nvSpPr>
          <p:spPr bwMode="auto">
            <a:xfrm>
              <a:off x="2651" y="3439"/>
              <a:ext cx="140" cy="50"/>
            </a:xfrm>
            <a:prstGeom prst="flowChartAlternateProcess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</a:pPr>
              <a:r>
                <a:rPr lang="en-US" sz="100">
                  <a:solidFill>
                    <a:schemeClr val="bg1"/>
                  </a:solidFill>
                </a:rPr>
                <a:t>Compute</a:t>
              </a:r>
            </a:p>
          </p:txBody>
        </p:sp>
        <p:sp>
          <p:nvSpPr>
            <p:cNvPr id="15421" name="AutoShape 7"/>
            <p:cNvSpPr>
              <a:spLocks noChangeArrowheads="1"/>
            </p:cNvSpPr>
            <p:nvPr/>
          </p:nvSpPr>
          <p:spPr bwMode="auto">
            <a:xfrm>
              <a:off x="2653" y="3563"/>
              <a:ext cx="271" cy="114"/>
            </a:xfrm>
            <a:prstGeom prst="roundRect">
              <a:avLst>
                <a:gd name="adj" fmla="val 16667"/>
              </a:avLst>
            </a:prstGeom>
            <a:solidFill>
              <a:schemeClr val="bg2"/>
            </a:solidFill>
            <a:ln w="12700">
              <a:solidFill>
                <a:schemeClr val="bg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  <a:defRPr/>
              </a:pPr>
              <a:endParaRPr lang="en-US" sz="100">
                <a:latin typeface="Arial" charset="0"/>
                <a:cs typeface="+mn-cs"/>
              </a:endParaRPr>
            </a:p>
          </p:txBody>
        </p:sp>
        <p:sp>
          <p:nvSpPr>
            <p:cNvPr id="21569" name="AutoShape 3"/>
            <p:cNvSpPr>
              <a:spLocks noChangeArrowheads="1"/>
            </p:cNvSpPr>
            <p:nvPr/>
          </p:nvSpPr>
          <p:spPr bwMode="auto">
            <a:xfrm>
              <a:off x="2652" y="3500"/>
              <a:ext cx="141" cy="51"/>
            </a:xfrm>
            <a:prstGeom prst="flowChartAlternateProcess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</a:pPr>
              <a:r>
                <a:rPr lang="en-CA" sz="100">
                  <a:solidFill>
                    <a:schemeClr val="bg1"/>
                  </a:solidFill>
                </a:rPr>
                <a:t>Firewall</a:t>
              </a:r>
              <a:endParaRPr lang="en-US" sz="100">
                <a:solidFill>
                  <a:schemeClr val="bg1"/>
                </a:solidFill>
              </a:endParaRPr>
            </a:p>
          </p:txBody>
        </p:sp>
        <p:sp>
          <p:nvSpPr>
            <p:cNvPr id="21570" name="AutoShape 3"/>
            <p:cNvSpPr>
              <a:spLocks noChangeArrowheads="1"/>
            </p:cNvSpPr>
            <p:nvPr/>
          </p:nvSpPr>
          <p:spPr bwMode="auto">
            <a:xfrm>
              <a:off x="2808" y="3499"/>
              <a:ext cx="121" cy="51"/>
            </a:xfrm>
            <a:prstGeom prst="flowChartAlternateProcess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</a:pPr>
              <a:r>
                <a:rPr lang="en-CA" sz="100">
                  <a:solidFill>
                    <a:schemeClr val="bg1"/>
                  </a:solidFill>
                </a:rPr>
                <a:t>LB</a:t>
              </a:r>
              <a:endParaRPr lang="en-US" sz="100">
                <a:solidFill>
                  <a:schemeClr val="bg1"/>
                </a:solidFill>
              </a:endParaRPr>
            </a:p>
          </p:txBody>
        </p:sp>
        <p:sp>
          <p:nvSpPr>
            <p:cNvPr id="21571" name="AutoShape 4"/>
            <p:cNvSpPr>
              <a:spLocks noChangeArrowheads="1"/>
            </p:cNvSpPr>
            <p:nvPr/>
          </p:nvSpPr>
          <p:spPr bwMode="auto">
            <a:xfrm>
              <a:off x="2807" y="3438"/>
              <a:ext cx="123" cy="51"/>
            </a:xfrm>
            <a:prstGeom prst="flowChartAlternateProcess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</a:pPr>
              <a:r>
                <a:rPr lang="en-US" sz="100">
                  <a:solidFill>
                    <a:schemeClr val="bg1"/>
                  </a:solidFill>
                </a:rPr>
                <a:t>Storage</a:t>
              </a:r>
            </a:p>
          </p:txBody>
        </p:sp>
        <p:sp>
          <p:nvSpPr>
            <p:cNvPr id="24" name="Text Box 11"/>
            <p:cNvSpPr txBox="1">
              <a:spLocks noChangeArrowheads="1"/>
            </p:cNvSpPr>
            <p:nvPr/>
          </p:nvSpPr>
          <p:spPr bwMode="auto">
            <a:xfrm>
              <a:off x="2634" y="3545"/>
              <a:ext cx="296" cy="1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72000" rIns="7200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defRPr/>
              </a:pPr>
              <a:r>
                <a:rPr lang="en-CA" sz="200" b="1">
                  <a:solidFill>
                    <a:schemeClr val="bg1"/>
                  </a:solidFill>
                  <a:latin typeface="Ericsson Capital TT" charset="0"/>
                  <a:cs typeface="Arial" charset="0"/>
                </a:rPr>
                <a:t>NETWORK FABRIC</a:t>
              </a:r>
              <a:endParaRPr lang="en-US" sz="200" b="1">
                <a:solidFill>
                  <a:schemeClr val="bg1"/>
                </a:solidFill>
                <a:latin typeface="Ericsson Capital TT" charset="0"/>
                <a:cs typeface="Arial" charset="0"/>
              </a:endParaRPr>
            </a:p>
          </p:txBody>
        </p:sp>
        <p:sp>
          <p:nvSpPr>
            <p:cNvPr id="25" name="AutoShape 12"/>
            <p:cNvSpPr>
              <a:spLocks noChangeArrowheads="1"/>
            </p:cNvSpPr>
            <p:nvPr/>
          </p:nvSpPr>
          <p:spPr bwMode="auto">
            <a:xfrm>
              <a:off x="2632" y="3389"/>
              <a:ext cx="320" cy="329"/>
            </a:xfrm>
            <a:prstGeom prst="roundRect">
              <a:avLst>
                <a:gd name="adj" fmla="val 16667"/>
              </a:avLst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  <a:defRPr/>
              </a:pPr>
              <a:endParaRPr lang="en-CA" sz="700">
                <a:latin typeface="Arial" charset="0"/>
                <a:cs typeface="+mn-cs"/>
              </a:endParaRPr>
            </a:p>
          </p:txBody>
        </p:sp>
        <p:sp>
          <p:nvSpPr>
            <p:cNvPr id="26" name="Text Box 13"/>
            <p:cNvSpPr txBox="1">
              <a:spLocks noChangeArrowheads="1"/>
            </p:cNvSpPr>
            <p:nvPr/>
          </p:nvSpPr>
          <p:spPr bwMode="auto">
            <a:xfrm>
              <a:off x="2694" y="3374"/>
              <a:ext cx="187" cy="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72000" rIns="7200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defRPr/>
              </a:pPr>
              <a:r>
                <a:rPr lang="en-CA" sz="100" b="1">
                  <a:cs typeface="Arial" charset="0"/>
                </a:rPr>
                <a:t>POD</a:t>
              </a:r>
              <a:r>
                <a:rPr lang="en-CA" sz="100">
                  <a:cs typeface="Arial" charset="0"/>
                </a:rPr>
                <a:t> </a:t>
              </a:r>
              <a:r>
                <a:rPr lang="en-CA" sz="100" b="1">
                  <a:cs typeface="Arial" charset="0"/>
                </a:rPr>
                <a:t>4</a:t>
              </a:r>
              <a:endParaRPr lang="en-US" sz="100" b="1">
                <a:cs typeface="Arial" charset="0"/>
              </a:endParaRPr>
            </a:p>
          </p:txBody>
        </p:sp>
      </p:grpSp>
      <p:grpSp>
        <p:nvGrpSpPr>
          <p:cNvPr id="21542" name="Group 284"/>
          <p:cNvGrpSpPr>
            <a:grpSpLocks/>
          </p:cNvGrpSpPr>
          <p:nvPr/>
        </p:nvGrpSpPr>
        <p:grpSpPr bwMode="auto">
          <a:xfrm>
            <a:off x="10325411" y="3946519"/>
            <a:ext cx="481161" cy="413178"/>
            <a:chOff x="2632" y="3374"/>
            <a:chExt cx="318" cy="344"/>
          </a:xfrm>
        </p:grpSpPr>
        <p:sp>
          <p:nvSpPr>
            <p:cNvPr id="21559" name="AutoShape 3"/>
            <p:cNvSpPr>
              <a:spLocks noChangeArrowheads="1"/>
            </p:cNvSpPr>
            <p:nvPr/>
          </p:nvSpPr>
          <p:spPr bwMode="auto">
            <a:xfrm>
              <a:off x="2651" y="3439"/>
              <a:ext cx="140" cy="50"/>
            </a:xfrm>
            <a:prstGeom prst="flowChartAlternateProcess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</a:pPr>
              <a:r>
                <a:rPr lang="en-US" sz="100">
                  <a:solidFill>
                    <a:schemeClr val="bg1"/>
                  </a:solidFill>
                </a:rPr>
                <a:t>Compute</a:t>
              </a:r>
            </a:p>
          </p:txBody>
        </p:sp>
        <p:sp>
          <p:nvSpPr>
            <p:cNvPr id="15413" name="AutoShape 7"/>
            <p:cNvSpPr>
              <a:spLocks noChangeArrowheads="1"/>
            </p:cNvSpPr>
            <p:nvPr/>
          </p:nvSpPr>
          <p:spPr bwMode="auto">
            <a:xfrm>
              <a:off x="2653" y="3563"/>
              <a:ext cx="269" cy="114"/>
            </a:xfrm>
            <a:prstGeom prst="roundRect">
              <a:avLst>
                <a:gd name="adj" fmla="val 16667"/>
              </a:avLst>
            </a:prstGeom>
            <a:solidFill>
              <a:schemeClr val="bg2"/>
            </a:solidFill>
            <a:ln w="12700">
              <a:solidFill>
                <a:schemeClr val="bg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  <a:defRPr/>
              </a:pPr>
              <a:endParaRPr lang="en-US" sz="100">
                <a:latin typeface="Arial" charset="0"/>
                <a:cs typeface="+mn-cs"/>
              </a:endParaRPr>
            </a:p>
          </p:txBody>
        </p:sp>
        <p:sp>
          <p:nvSpPr>
            <p:cNvPr id="21561" name="AutoShape 3"/>
            <p:cNvSpPr>
              <a:spLocks noChangeArrowheads="1"/>
            </p:cNvSpPr>
            <p:nvPr/>
          </p:nvSpPr>
          <p:spPr bwMode="auto">
            <a:xfrm>
              <a:off x="2652" y="3500"/>
              <a:ext cx="141" cy="51"/>
            </a:xfrm>
            <a:prstGeom prst="flowChartAlternateProcess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</a:pPr>
              <a:r>
                <a:rPr lang="en-CA" sz="100">
                  <a:solidFill>
                    <a:schemeClr val="bg1"/>
                  </a:solidFill>
                </a:rPr>
                <a:t>Firewall</a:t>
              </a:r>
              <a:endParaRPr lang="en-US" sz="100">
                <a:solidFill>
                  <a:schemeClr val="bg1"/>
                </a:solidFill>
              </a:endParaRPr>
            </a:p>
          </p:txBody>
        </p:sp>
        <p:sp>
          <p:nvSpPr>
            <p:cNvPr id="21562" name="AutoShape 3"/>
            <p:cNvSpPr>
              <a:spLocks noChangeArrowheads="1"/>
            </p:cNvSpPr>
            <p:nvPr/>
          </p:nvSpPr>
          <p:spPr bwMode="auto">
            <a:xfrm>
              <a:off x="2808" y="3499"/>
              <a:ext cx="121" cy="51"/>
            </a:xfrm>
            <a:prstGeom prst="flowChartAlternateProcess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</a:pPr>
              <a:r>
                <a:rPr lang="en-CA" sz="100">
                  <a:solidFill>
                    <a:schemeClr val="bg1"/>
                  </a:solidFill>
                </a:rPr>
                <a:t>LB</a:t>
              </a:r>
              <a:endParaRPr lang="en-US" sz="100">
                <a:solidFill>
                  <a:schemeClr val="bg1"/>
                </a:solidFill>
              </a:endParaRPr>
            </a:p>
          </p:txBody>
        </p:sp>
        <p:sp>
          <p:nvSpPr>
            <p:cNvPr id="21563" name="AutoShape 4"/>
            <p:cNvSpPr>
              <a:spLocks noChangeArrowheads="1"/>
            </p:cNvSpPr>
            <p:nvPr/>
          </p:nvSpPr>
          <p:spPr bwMode="auto">
            <a:xfrm>
              <a:off x="2807" y="3438"/>
              <a:ext cx="123" cy="51"/>
            </a:xfrm>
            <a:prstGeom prst="flowChartAlternateProcess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</a:pPr>
              <a:r>
                <a:rPr lang="en-US" sz="100">
                  <a:solidFill>
                    <a:schemeClr val="bg1"/>
                  </a:solidFill>
                </a:rPr>
                <a:t>Storage</a:t>
              </a:r>
            </a:p>
          </p:txBody>
        </p:sp>
        <p:sp>
          <p:nvSpPr>
            <p:cNvPr id="28" name="Text Box 11"/>
            <p:cNvSpPr txBox="1">
              <a:spLocks noChangeArrowheads="1"/>
            </p:cNvSpPr>
            <p:nvPr/>
          </p:nvSpPr>
          <p:spPr bwMode="auto">
            <a:xfrm>
              <a:off x="2634" y="3544"/>
              <a:ext cx="294" cy="1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72000" rIns="7200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defRPr/>
              </a:pPr>
              <a:r>
                <a:rPr lang="en-CA" sz="200" b="1">
                  <a:solidFill>
                    <a:schemeClr val="bg1"/>
                  </a:solidFill>
                  <a:latin typeface="Ericsson Capital TT" charset="0"/>
                  <a:cs typeface="Arial" charset="0"/>
                </a:rPr>
                <a:t>NETWORK FABRIC</a:t>
              </a:r>
              <a:endParaRPr lang="en-US" sz="200" b="1">
                <a:solidFill>
                  <a:schemeClr val="bg1"/>
                </a:solidFill>
                <a:latin typeface="Ericsson Capital TT" charset="0"/>
                <a:cs typeface="Arial" charset="0"/>
              </a:endParaRPr>
            </a:p>
          </p:txBody>
        </p:sp>
        <p:sp>
          <p:nvSpPr>
            <p:cNvPr id="29" name="AutoShape 12"/>
            <p:cNvSpPr>
              <a:spLocks noChangeArrowheads="1"/>
            </p:cNvSpPr>
            <p:nvPr/>
          </p:nvSpPr>
          <p:spPr bwMode="auto">
            <a:xfrm>
              <a:off x="2632" y="3389"/>
              <a:ext cx="318" cy="329"/>
            </a:xfrm>
            <a:prstGeom prst="roundRect">
              <a:avLst>
                <a:gd name="adj" fmla="val 16667"/>
              </a:avLst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  <a:defRPr/>
              </a:pPr>
              <a:endParaRPr lang="en-CA" sz="700">
                <a:latin typeface="Arial" charset="0"/>
                <a:cs typeface="+mn-cs"/>
              </a:endParaRPr>
            </a:p>
          </p:txBody>
        </p:sp>
        <p:sp>
          <p:nvSpPr>
            <p:cNvPr id="30" name="Text Box 13"/>
            <p:cNvSpPr txBox="1">
              <a:spLocks noChangeArrowheads="1"/>
            </p:cNvSpPr>
            <p:nvPr/>
          </p:nvSpPr>
          <p:spPr bwMode="auto">
            <a:xfrm>
              <a:off x="2694" y="3374"/>
              <a:ext cx="185" cy="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72000" rIns="7200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defRPr/>
              </a:pPr>
              <a:r>
                <a:rPr lang="en-CA" sz="100" b="1">
                  <a:cs typeface="Arial" charset="0"/>
                </a:rPr>
                <a:t>POD</a:t>
              </a:r>
              <a:r>
                <a:rPr lang="en-CA" sz="100">
                  <a:cs typeface="Arial" charset="0"/>
                </a:rPr>
                <a:t> </a:t>
              </a:r>
              <a:r>
                <a:rPr lang="en-CA" sz="100" b="1">
                  <a:cs typeface="Arial" charset="0"/>
                </a:rPr>
                <a:t>5</a:t>
              </a:r>
              <a:endParaRPr lang="en-US" sz="100" b="1">
                <a:cs typeface="Arial" charset="0"/>
              </a:endParaRPr>
            </a:p>
          </p:txBody>
        </p:sp>
      </p:grpSp>
      <p:grpSp>
        <p:nvGrpSpPr>
          <p:cNvPr id="21543" name="Group 293"/>
          <p:cNvGrpSpPr>
            <a:grpSpLocks/>
          </p:cNvGrpSpPr>
          <p:nvPr/>
        </p:nvGrpSpPr>
        <p:grpSpPr bwMode="auto">
          <a:xfrm>
            <a:off x="11169962" y="3949700"/>
            <a:ext cx="481161" cy="409575"/>
            <a:chOff x="2632" y="3374"/>
            <a:chExt cx="318" cy="341"/>
          </a:xfrm>
        </p:grpSpPr>
        <p:sp>
          <p:nvSpPr>
            <p:cNvPr id="21551" name="AutoShape 3"/>
            <p:cNvSpPr>
              <a:spLocks noChangeArrowheads="1"/>
            </p:cNvSpPr>
            <p:nvPr/>
          </p:nvSpPr>
          <p:spPr bwMode="auto">
            <a:xfrm>
              <a:off x="2651" y="3439"/>
              <a:ext cx="140" cy="50"/>
            </a:xfrm>
            <a:prstGeom prst="flowChartAlternateProcess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</a:pPr>
              <a:r>
                <a:rPr lang="en-US" sz="100">
                  <a:solidFill>
                    <a:schemeClr val="bg1"/>
                  </a:solidFill>
                </a:rPr>
                <a:t>Compute</a:t>
              </a:r>
            </a:p>
          </p:txBody>
        </p:sp>
        <p:sp>
          <p:nvSpPr>
            <p:cNvPr id="15405" name="AutoShape 7"/>
            <p:cNvSpPr>
              <a:spLocks noChangeArrowheads="1"/>
            </p:cNvSpPr>
            <p:nvPr/>
          </p:nvSpPr>
          <p:spPr bwMode="auto">
            <a:xfrm>
              <a:off x="2653" y="3563"/>
              <a:ext cx="269" cy="114"/>
            </a:xfrm>
            <a:prstGeom prst="roundRect">
              <a:avLst>
                <a:gd name="adj" fmla="val 16667"/>
              </a:avLst>
            </a:prstGeom>
            <a:solidFill>
              <a:schemeClr val="bg2"/>
            </a:solidFill>
            <a:ln w="12700">
              <a:solidFill>
                <a:schemeClr val="bg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  <a:defRPr/>
              </a:pPr>
              <a:endParaRPr lang="en-US" sz="100">
                <a:latin typeface="Arial" charset="0"/>
                <a:cs typeface="+mn-cs"/>
              </a:endParaRPr>
            </a:p>
          </p:txBody>
        </p:sp>
        <p:sp>
          <p:nvSpPr>
            <p:cNvPr id="21553" name="AutoShape 3"/>
            <p:cNvSpPr>
              <a:spLocks noChangeArrowheads="1"/>
            </p:cNvSpPr>
            <p:nvPr/>
          </p:nvSpPr>
          <p:spPr bwMode="auto">
            <a:xfrm>
              <a:off x="2652" y="3500"/>
              <a:ext cx="141" cy="51"/>
            </a:xfrm>
            <a:prstGeom prst="flowChartAlternateProcess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</a:pPr>
              <a:r>
                <a:rPr lang="en-CA" sz="100">
                  <a:solidFill>
                    <a:schemeClr val="bg1"/>
                  </a:solidFill>
                </a:rPr>
                <a:t>Firewall</a:t>
              </a:r>
              <a:endParaRPr lang="en-US" sz="100">
                <a:solidFill>
                  <a:schemeClr val="bg1"/>
                </a:solidFill>
              </a:endParaRPr>
            </a:p>
          </p:txBody>
        </p:sp>
        <p:sp>
          <p:nvSpPr>
            <p:cNvPr id="21554" name="AutoShape 3"/>
            <p:cNvSpPr>
              <a:spLocks noChangeArrowheads="1"/>
            </p:cNvSpPr>
            <p:nvPr/>
          </p:nvSpPr>
          <p:spPr bwMode="auto">
            <a:xfrm>
              <a:off x="2808" y="3499"/>
              <a:ext cx="121" cy="51"/>
            </a:xfrm>
            <a:prstGeom prst="flowChartAlternateProcess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</a:pPr>
              <a:r>
                <a:rPr lang="en-CA" sz="100">
                  <a:solidFill>
                    <a:schemeClr val="bg1"/>
                  </a:solidFill>
                </a:rPr>
                <a:t>LB</a:t>
              </a:r>
              <a:endParaRPr lang="en-US" sz="100">
                <a:solidFill>
                  <a:schemeClr val="bg1"/>
                </a:solidFill>
              </a:endParaRPr>
            </a:p>
          </p:txBody>
        </p:sp>
        <p:sp>
          <p:nvSpPr>
            <p:cNvPr id="21555" name="AutoShape 4"/>
            <p:cNvSpPr>
              <a:spLocks noChangeArrowheads="1"/>
            </p:cNvSpPr>
            <p:nvPr/>
          </p:nvSpPr>
          <p:spPr bwMode="auto">
            <a:xfrm>
              <a:off x="2807" y="3438"/>
              <a:ext cx="123" cy="51"/>
            </a:xfrm>
            <a:prstGeom prst="flowChartAlternateProcess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</a:pPr>
              <a:r>
                <a:rPr lang="en-US" sz="100">
                  <a:solidFill>
                    <a:schemeClr val="bg1"/>
                  </a:solidFill>
                </a:rPr>
                <a:t>Storage</a:t>
              </a:r>
            </a:p>
          </p:txBody>
        </p:sp>
        <p:sp>
          <p:nvSpPr>
            <p:cNvPr id="31" name="Text Box 11"/>
            <p:cNvSpPr txBox="1">
              <a:spLocks noChangeArrowheads="1"/>
            </p:cNvSpPr>
            <p:nvPr/>
          </p:nvSpPr>
          <p:spPr bwMode="auto">
            <a:xfrm>
              <a:off x="2634" y="3544"/>
              <a:ext cx="294" cy="1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72000" rIns="7200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defRPr/>
              </a:pPr>
              <a:r>
                <a:rPr lang="en-CA" sz="200" b="1">
                  <a:solidFill>
                    <a:schemeClr val="bg1"/>
                  </a:solidFill>
                  <a:latin typeface="Ericsson Capital TT" charset="0"/>
                  <a:cs typeface="Arial" charset="0"/>
                </a:rPr>
                <a:t>NETWORK FABRIC</a:t>
              </a:r>
              <a:endParaRPr lang="en-US" sz="200" b="1">
                <a:solidFill>
                  <a:schemeClr val="bg1"/>
                </a:solidFill>
                <a:latin typeface="Ericsson Capital TT" charset="0"/>
                <a:cs typeface="Arial" charset="0"/>
              </a:endParaRPr>
            </a:p>
          </p:txBody>
        </p:sp>
        <p:sp>
          <p:nvSpPr>
            <p:cNvPr id="15461" name="AutoShape 12"/>
            <p:cNvSpPr>
              <a:spLocks noChangeArrowheads="1"/>
            </p:cNvSpPr>
            <p:nvPr/>
          </p:nvSpPr>
          <p:spPr bwMode="auto">
            <a:xfrm>
              <a:off x="2632" y="3389"/>
              <a:ext cx="318" cy="326"/>
            </a:xfrm>
            <a:prstGeom prst="roundRect">
              <a:avLst>
                <a:gd name="adj" fmla="val 16667"/>
              </a:avLst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72000" rIns="72000" anchor="ctr"/>
            <a:lstStyle/>
            <a:p>
              <a:pPr algn="ctr">
                <a:spcBef>
                  <a:spcPct val="50000"/>
                </a:spcBef>
                <a:defRPr/>
              </a:pPr>
              <a:endParaRPr lang="en-CA" sz="700">
                <a:latin typeface="Arial" charset="0"/>
                <a:cs typeface="+mn-cs"/>
              </a:endParaRPr>
            </a:p>
          </p:txBody>
        </p:sp>
        <p:sp>
          <p:nvSpPr>
            <p:cNvPr id="15465" name="Text Box 13"/>
            <p:cNvSpPr txBox="1">
              <a:spLocks noChangeArrowheads="1"/>
            </p:cNvSpPr>
            <p:nvPr/>
          </p:nvSpPr>
          <p:spPr bwMode="auto">
            <a:xfrm>
              <a:off x="2694" y="3374"/>
              <a:ext cx="185" cy="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72000" rIns="7200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defRPr/>
              </a:pPr>
              <a:r>
                <a:rPr lang="en-CA" sz="100" b="1">
                  <a:cs typeface="Arial" charset="0"/>
                </a:rPr>
                <a:t>POD</a:t>
              </a:r>
              <a:r>
                <a:rPr lang="en-CA" sz="100">
                  <a:cs typeface="Arial" charset="0"/>
                </a:rPr>
                <a:t> </a:t>
              </a:r>
              <a:r>
                <a:rPr lang="en-CA" sz="100" b="1">
                  <a:cs typeface="Arial" charset="0"/>
                </a:rPr>
                <a:t>6</a:t>
              </a:r>
              <a:endParaRPr lang="en-US" sz="100" b="1">
                <a:cs typeface="Arial" charset="0"/>
              </a:endParaRPr>
            </a:p>
          </p:txBody>
        </p:sp>
      </p:grpSp>
      <p:sp>
        <p:nvSpPr>
          <p:cNvPr id="3077" name="Rectangle 3"/>
          <p:cNvSpPr txBox="1">
            <a:spLocks noChangeArrowheads="1"/>
          </p:cNvSpPr>
          <p:nvPr/>
        </p:nvSpPr>
        <p:spPr bwMode="auto">
          <a:xfrm>
            <a:off x="77789" y="1911350"/>
            <a:ext cx="2947987" cy="4394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89BA1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72000" tIns="0" rIns="72000" bIns="0" anchor="ctr"/>
          <a:lstStyle>
            <a:lvl1pPr marL="176213" indent="-176213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90000"/>
              </a:spcBef>
              <a:buClr>
                <a:srgbClr val="00A9D4"/>
              </a:buClr>
              <a:buFont typeface="Arial" charset="0"/>
              <a:buChar char="›"/>
              <a:defRPr/>
            </a:pPr>
            <a:endParaRPr lang="en-GB" sz="1800" dirty="0" smtClean="0">
              <a:solidFill>
                <a:schemeClr val="bg2">
                  <a:lumMod val="50000"/>
                </a:schemeClr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5" name="Plus 4"/>
          <p:cNvSpPr/>
          <p:nvPr/>
        </p:nvSpPr>
        <p:spPr bwMode="auto">
          <a:xfrm>
            <a:off x="3016251" y="3541717"/>
            <a:ext cx="554039" cy="560387"/>
          </a:xfrm>
          <a:prstGeom prst="mathPlus">
            <a:avLst/>
          </a:prstGeom>
          <a:solidFill>
            <a:srgbClr val="87888A"/>
          </a:solidFill>
          <a:ln w="12700" cap="flat" cmpd="sng" algn="ctr">
            <a:solidFill>
              <a:srgbClr val="B1B3B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>
              <a:latin typeface="Arial" charset="0"/>
              <a:ea typeface="MS PGothic" pitchFamily="34" charset="-128"/>
              <a:cs typeface="+mn-cs"/>
            </a:endParaRPr>
          </a:p>
        </p:txBody>
      </p:sp>
      <p:sp>
        <p:nvSpPr>
          <p:cNvPr id="6" name="Equal 5"/>
          <p:cNvSpPr/>
          <p:nvPr/>
        </p:nvSpPr>
        <p:spPr bwMode="auto">
          <a:xfrm>
            <a:off x="6689725" y="3541713"/>
            <a:ext cx="603251" cy="495300"/>
          </a:xfrm>
          <a:prstGeom prst="mathEqual">
            <a:avLst/>
          </a:prstGeom>
          <a:solidFill>
            <a:srgbClr val="87888A"/>
          </a:solidFill>
          <a:ln w="12700" cap="flat" cmpd="sng" algn="ctr">
            <a:solidFill>
              <a:srgbClr val="B1B3B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>
              <a:latin typeface="Arial" charset="0"/>
              <a:ea typeface="MS PGothic" pitchFamily="34" charset="-128"/>
              <a:cs typeface="+mn-cs"/>
            </a:endParaRPr>
          </a:p>
        </p:txBody>
      </p:sp>
      <p:sp>
        <p:nvSpPr>
          <p:cNvPr id="21547" name="Rounded Rectangle 6"/>
          <p:cNvSpPr>
            <a:spLocks noChangeArrowheads="1"/>
          </p:cNvSpPr>
          <p:nvPr/>
        </p:nvSpPr>
        <p:spPr bwMode="auto">
          <a:xfrm>
            <a:off x="77789" y="2022477"/>
            <a:ext cx="2947987" cy="4276725"/>
          </a:xfrm>
          <a:prstGeom prst="roundRect">
            <a:avLst>
              <a:gd name="adj" fmla="val 16667"/>
            </a:avLst>
          </a:prstGeom>
          <a:noFill/>
          <a:ln w="57150" algn="ctr">
            <a:solidFill>
              <a:srgbClr val="8F3F7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2000" rIns="72000"/>
          <a:lstStyle/>
          <a:p>
            <a:pPr>
              <a:spcBef>
                <a:spcPct val="50000"/>
              </a:spcBef>
            </a:pPr>
            <a:endParaRPr lang="en-US"/>
          </a:p>
        </p:txBody>
      </p:sp>
      <p:sp>
        <p:nvSpPr>
          <p:cNvPr id="21548" name="Rounded Rectangle 105"/>
          <p:cNvSpPr>
            <a:spLocks noChangeArrowheads="1"/>
          </p:cNvSpPr>
          <p:nvPr/>
        </p:nvSpPr>
        <p:spPr bwMode="auto">
          <a:xfrm>
            <a:off x="3621089" y="2012953"/>
            <a:ext cx="2947987" cy="4276725"/>
          </a:xfrm>
          <a:prstGeom prst="roundRect">
            <a:avLst>
              <a:gd name="adj" fmla="val 16667"/>
            </a:avLst>
          </a:prstGeom>
          <a:noFill/>
          <a:ln w="57150" algn="ctr">
            <a:solidFill>
              <a:srgbClr val="00A9D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2000" rIns="72000"/>
          <a:lstStyle/>
          <a:p>
            <a:pPr>
              <a:spcBef>
                <a:spcPct val="50000"/>
              </a:spcBef>
            </a:pPr>
            <a:endParaRPr lang="en-US"/>
          </a:p>
        </p:txBody>
      </p:sp>
      <p:sp>
        <p:nvSpPr>
          <p:cNvPr id="107" name="Rectangle 2"/>
          <p:cNvSpPr>
            <a:spLocks noChangeArrowheads="1"/>
          </p:cNvSpPr>
          <p:nvPr/>
        </p:nvSpPr>
        <p:spPr bwMode="auto">
          <a:xfrm>
            <a:off x="-11112" y="1601788"/>
            <a:ext cx="3016251" cy="239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 anchor="b">
            <a:spAutoFit/>
          </a:bodyPr>
          <a:lstStyle/>
          <a:p>
            <a:pPr algn="ctr">
              <a:lnSpc>
                <a:spcPct val="75000"/>
              </a:lnSpc>
              <a:spcBef>
                <a:spcPct val="50000"/>
              </a:spcBef>
              <a:defRPr/>
            </a:pPr>
            <a:r>
              <a:rPr lang="en-CA" b="1" dirty="0">
                <a:solidFill>
                  <a:srgbClr val="8F3F7B"/>
                </a:solidFill>
                <a:latin typeface="+mn-lt"/>
                <a:cs typeface="Arial" charset="0"/>
              </a:rPr>
              <a:t>Traditional Cloud</a:t>
            </a:r>
            <a:endParaRPr lang="en-US" b="1" dirty="0">
              <a:solidFill>
                <a:srgbClr val="8F3F7B"/>
              </a:solidFill>
              <a:latin typeface="+mn-lt"/>
              <a:cs typeface="Arial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14778" y="1533525"/>
            <a:ext cx="217418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CA" b="1" dirty="0">
                <a:solidFill>
                  <a:srgbClr val="00A9D4"/>
                </a:solidFill>
                <a:latin typeface="+mn-lt"/>
                <a:cs typeface="Arial" charset="0"/>
              </a:rPr>
              <a:t>The Telco Grade</a:t>
            </a:r>
            <a:endParaRPr lang="en-US" b="1" dirty="0">
              <a:solidFill>
                <a:srgbClr val="00A9D4"/>
              </a:solidFill>
              <a:latin typeface="+mn-lt"/>
              <a:cs typeface="Arial" charset="0"/>
            </a:endParaRPr>
          </a:p>
        </p:txBody>
      </p:sp>
      <p:sp>
        <p:nvSpPr>
          <p:cNvPr id="193" name="Rectangle 8"/>
          <p:cNvSpPr>
            <a:spLocks noChangeArrowheads="1"/>
          </p:cNvSpPr>
          <p:nvPr/>
        </p:nvSpPr>
        <p:spPr bwMode="auto">
          <a:xfrm>
            <a:off x="442119" y="4154374"/>
            <a:ext cx="2219325" cy="1902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76213" indent="-176213" algn="l">
              <a:spcBef>
                <a:spcPct val="20000"/>
              </a:spcBef>
              <a:buClr>
                <a:srgbClr val="00A9D4"/>
              </a:buClr>
              <a:buFont typeface="Arial" pitchFamily="34" charset="0"/>
              <a:buChar char="›"/>
            </a:pPr>
            <a:r>
              <a:rPr lang="en-US" sz="1800" dirty="0"/>
              <a:t>Virtualization</a:t>
            </a:r>
          </a:p>
          <a:p>
            <a:pPr marL="176213" indent="-176213" algn="l">
              <a:spcBef>
                <a:spcPct val="20000"/>
              </a:spcBef>
              <a:buClr>
                <a:srgbClr val="00A9D4"/>
              </a:buClr>
              <a:buFont typeface="Arial" pitchFamily="34" charset="0"/>
              <a:buChar char="›"/>
            </a:pPr>
            <a:r>
              <a:rPr lang="en-US" sz="1800" dirty="0"/>
              <a:t>Elasticity</a:t>
            </a:r>
          </a:p>
          <a:p>
            <a:pPr marL="176213" indent="-176213" algn="l">
              <a:spcBef>
                <a:spcPct val="20000"/>
              </a:spcBef>
              <a:buClr>
                <a:srgbClr val="00A9D4"/>
              </a:buClr>
              <a:buFont typeface="Arial" pitchFamily="34" charset="0"/>
              <a:buChar char="›"/>
            </a:pPr>
            <a:r>
              <a:rPr lang="en-US" sz="1800" dirty="0" smtClean="0"/>
              <a:t>Multi-tenancy</a:t>
            </a:r>
            <a:endParaRPr lang="en-US" sz="1600" dirty="0"/>
          </a:p>
          <a:p>
            <a:pPr marL="176213" indent="-176213" algn="l">
              <a:spcBef>
                <a:spcPct val="20000"/>
              </a:spcBef>
              <a:buClr>
                <a:srgbClr val="00A9D4"/>
              </a:buClr>
              <a:buFont typeface="Arial" pitchFamily="34" charset="0"/>
              <a:buChar char="›"/>
            </a:pPr>
            <a:r>
              <a:rPr lang="en-US" sz="1800" dirty="0" smtClean="0"/>
              <a:t>Flexibility</a:t>
            </a:r>
          </a:p>
          <a:p>
            <a:pPr marL="176213" indent="-176213" algn="l">
              <a:spcBef>
                <a:spcPct val="20000"/>
              </a:spcBef>
              <a:buClr>
                <a:srgbClr val="00A9D4"/>
              </a:buClr>
              <a:buFont typeface="Arial" pitchFamily="34" charset="0"/>
              <a:buChar char="›"/>
            </a:pPr>
            <a:r>
              <a:rPr lang="en-US" sz="1800" dirty="0" smtClean="0"/>
              <a:t>Self-provisioning</a:t>
            </a:r>
            <a:endParaRPr lang="en-US" sz="1800" dirty="0"/>
          </a:p>
          <a:p>
            <a:pPr marL="533400" lvl="1" indent="-177800" algn="l">
              <a:spcBef>
                <a:spcPct val="20000"/>
              </a:spcBef>
              <a:buClr>
                <a:schemeClr val="tx1"/>
              </a:buClr>
              <a:buFont typeface="Ericsson Capital TT" pitchFamily="2" charset="0"/>
              <a:buChar char="–"/>
            </a:pPr>
            <a:endParaRPr lang="en-US" sz="1600" dirty="0"/>
          </a:p>
        </p:txBody>
      </p:sp>
      <p:sp>
        <p:nvSpPr>
          <p:cNvPr id="194" name="Freeform 39"/>
          <p:cNvSpPr>
            <a:spLocks noChangeAspect="1"/>
          </p:cNvSpPr>
          <p:nvPr/>
        </p:nvSpPr>
        <p:spPr bwMode="auto">
          <a:xfrm>
            <a:off x="419894" y="2077924"/>
            <a:ext cx="2328862" cy="1543050"/>
          </a:xfrm>
          <a:custGeom>
            <a:avLst/>
            <a:gdLst>
              <a:gd name="T0" fmla="*/ 22146496 w 522"/>
              <a:gd name="T1" fmla="*/ 43325286 h 399"/>
              <a:gd name="T2" fmla="*/ 6326296 w 522"/>
              <a:gd name="T3" fmla="*/ 32643822 h 399"/>
              <a:gd name="T4" fmla="*/ 0 w 522"/>
              <a:gd name="T5" fmla="*/ 24998183 h 399"/>
              <a:gd name="T6" fmla="*/ 19478566 w 522"/>
              <a:gd name="T7" fmla="*/ 13473650 h 399"/>
              <a:gd name="T8" fmla="*/ 36516735 w 522"/>
              <a:gd name="T9" fmla="*/ 5089358 h 399"/>
              <a:gd name="T10" fmla="*/ 67925142 w 522"/>
              <a:gd name="T11" fmla="*/ 0 h 399"/>
              <a:gd name="T12" fmla="*/ 91552830 w 522"/>
              <a:gd name="T13" fmla="*/ 8728481 h 399"/>
              <a:gd name="T14" fmla="*/ 104669409 w 522"/>
              <a:gd name="T15" fmla="*/ 10310204 h 399"/>
              <a:gd name="T16" fmla="*/ 105164627 w 522"/>
              <a:gd name="T17" fmla="*/ 11656022 h 399"/>
              <a:gd name="T18" fmla="*/ 102492235 w 522"/>
              <a:gd name="T19" fmla="*/ 12023415 h 399"/>
              <a:gd name="T20" fmla="*/ 90562394 w 522"/>
              <a:gd name="T21" fmla="*/ 10809085 h 399"/>
              <a:gd name="T22" fmla="*/ 88353991 w 522"/>
              <a:gd name="T23" fmla="*/ 10074299 h 399"/>
              <a:gd name="T24" fmla="*/ 48446576 w 522"/>
              <a:gd name="T25" fmla="*/ 8384292 h 399"/>
              <a:gd name="T26" fmla="*/ 46996614 w 522"/>
              <a:gd name="T27" fmla="*/ 8991457 h 399"/>
              <a:gd name="T28" fmla="*/ 36516735 w 522"/>
              <a:gd name="T29" fmla="*/ 7038474 h 399"/>
              <a:gd name="T30" fmla="*/ 23364464 w 522"/>
              <a:gd name="T31" fmla="*/ 13473650 h 399"/>
              <a:gd name="T32" fmla="*/ 23364464 w 522"/>
              <a:gd name="T33" fmla="*/ 15531050 h 399"/>
              <a:gd name="T34" fmla="*/ 21914502 w 522"/>
              <a:gd name="T35" fmla="*/ 15902310 h 399"/>
              <a:gd name="T36" fmla="*/ 9721437 w 522"/>
              <a:gd name="T37" fmla="*/ 31669264 h 399"/>
              <a:gd name="T38" fmla="*/ 10216655 w 522"/>
              <a:gd name="T39" fmla="*/ 32752106 h 399"/>
              <a:gd name="T40" fmla="*/ 22146496 w 522"/>
              <a:gd name="T41" fmla="*/ 41376170 h 399"/>
              <a:gd name="T42" fmla="*/ 27254824 w 522"/>
              <a:gd name="T43" fmla="*/ 40900493 h 399"/>
              <a:gd name="T44" fmla="*/ 29958445 w 522"/>
              <a:gd name="T45" fmla="*/ 41503791 h 399"/>
              <a:gd name="T46" fmla="*/ 44788210 w 522"/>
              <a:gd name="T47" fmla="*/ 46465528 h 399"/>
              <a:gd name="T48" fmla="*/ 58926455 w 522"/>
              <a:gd name="T49" fmla="*/ 42957893 h 399"/>
              <a:gd name="T50" fmla="*/ 60376417 w 522"/>
              <a:gd name="T51" fmla="*/ 43085514 h 399"/>
              <a:gd name="T52" fmla="*/ 83740881 w 522"/>
              <a:gd name="T53" fmla="*/ 41008777 h 399"/>
              <a:gd name="T54" fmla="*/ 85190843 w 522"/>
              <a:gd name="T55" fmla="*/ 40529233 h 399"/>
              <a:gd name="T56" fmla="*/ 96165939 w 522"/>
              <a:gd name="T57" fmla="*/ 42482216 h 399"/>
              <a:gd name="T58" fmla="*/ 110768172 w 522"/>
              <a:gd name="T59" fmla="*/ 35072482 h 399"/>
              <a:gd name="T60" fmla="*/ 112481358 w 522"/>
              <a:gd name="T61" fmla="*/ 33966436 h 399"/>
              <a:gd name="T62" fmla="*/ 123193231 w 522"/>
              <a:gd name="T63" fmla="*/ 27794236 h 399"/>
              <a:gd name="T64" fmla="*/ 110768172 w 522"/>
              <a:gd name="T65" fmla="*/ 21227573 h 399"/>
              <a:gd name="T66" fmla="*/ 110272954 w 522"/>
              <a:gd name="T67" fmla="*/ 20515991 h 399"/>
              <a:gd name="T68" fmla="*/ 107600563 w 522"/>
              <a:gd name="T69" fmla="*/ 14448208 h 399"/>
              <a:gd name="T70" fmla="*/ 108095780 w 522"/>
              <a:gd name="T71" fmla="*/ 13106257 h 399"/>
              <a:gd name="T72" fmla="*/ 114426538 w 522"/>
              <a:gd name="T73" fmla="*/ 19170173 h 399"/>
              <a:gd name="T74" fmla="*/ 114426538 w 522"/>
              <a:gd name="T75" fmla="*/ 19908826 h 399"/>
              <a:gd name="T76" fmla="*/ 114654070 w 522"/>
              <a:gd name="T77" fmla="*/ 35787932 h 399"/>
              <a:gd name="T78" fmla="*/ 96165939 w 522"/>
              <a:gd name="T79" fmla="*/ 44408128 h 399"/>
              <a:gd name="T80" fmla="*/ 70361078 w 522"/>
              <a:gd name="T81" fmla="*/ 46724637 h 399"/>
              <a:gd name="T82" fmla="*/ 59649205 w 522"/>
              <a:gd name="T83" fmla="*/ 45146781 h 399"/>
              <a:gd name="T84" fmla="*/ 27022830 w 522"/>
              <a:gd name="T85" fmla="*/ 43085514 h 39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522" h="399">
                <a:moveTo>
                  <a:pt x="111" y="355"/>
                </a:moveTo>
                <a:cubicBezTo>
                  <a:pt x="105" y="356"/>
                  <a:pt x="98" y="357"/>
                  <a:pt x="91" y="357"/>
                </a:cubicBezTo>
                <a:cubicBezTo>
                  <a:pt x="91" y="357"/>
                  <a:pt x="91" y="357"/>
                  <a:pt x="91" y="357"/>
                </a:cubicBezTo>
                <a:cubicBezTo>
                  <a:pt x="53" y="357"/>
                  <a:pt x="23" y="327"/>
                  <a:pt x="23" y="289"/>
                </a:cubicBezTo>
                <a:cubicBezTo>
                  <a:pt x="23" y="289"/>
                  <a:pt x="23" y="289"/>
                  <a:pt x="23" y="289"/>
                </a:cubicBezTo>
                <a:cubicBezTo>
                  <a:pt x="23" y="282"/>
                  <a:pt x="24" y="275"/>
                  <a:pt x="26" y="269"/>
                </a:cubicBezTo>
                <a:cubicBezTo>
                  <a:pt x="26" y="269"/>
                  <a:pt x="26" y="269"/>
                  <a:pt x="26" y="269"/>
                </a:cubicBezTo>
                <a:cubicBezTo>
                  <a:pt x="10" y="252"/>
                  <a:pt x="0" y="230"/>
                  <a:pt x="0" y="206"/>
                </a:cubicBezTo>
                <a:cubicBezTo>
                  <a:pt x="0" y="206"/>
                  <a:pt x="0" y="206"/>
                  <a:pt x="0" y="206"/>
                </a:cubicBezTo>
                <a:cubicBezTo>
                  <a:pt x="0" y="159"/>
                  <a:pt x="35" y="121"/>
                  <a:pt x="81" y="115"/>
                </a:cubicBezTo>
                <a:cubicBezTo>
                  <a:pt x="81" y="115"/>
                  <a:pt x="81" y="115"/>
                  <a:pt x="81" y="115"/>
                </a:cubicBezTo>
                <a:cubicBezTo>
                  <a:pt x="81" y="114"/>
                  <a:pt x="80" y="113"/>
                  <a:pt x="80" y="111"/>
                </a:cubicBezTo>
                <a:cubicBezTo>
                  <a:pt x="80" y="111"/>
                  <a:pt x="80" y="111"/>
                  <a:pt x="80" y="111"/>
                </a:cubicBezTo>
                <a:cubicBezTo>
                  <a:pt x="80" y="73"/>
                  <a:pt x="112" y="42"/>
                  <a:pt x="150" y="42"/>
                </a:cubicBezTo>
                <a:cubicBezTo>
                  <a:pt x="150" y="42"/>
                  <a:pt x="150" y="42"/>
                  <a:pt x="150" y="42"/>
                </a:cubicBezTo>
                <a:cubicBezTo>
                  <a:pt x="164" y="42"/>
                  <a:pt x="177" y="46"/>
                  <a:pt x="188" y="54"/>
                </a:cubicBezTo>
                <a:cubicBezTo>
                  <a:pt x="188" y="54"/>
                  <a:pt x="188" y="54"/>
                  <a:pt x="188" y="54"/>
                </a:cubicBezTo>
                <a:cubicBezTo>
                  <a:pt x="206" y="22"/>
                  <a:pt x="240" y="0"/>
                  <a:pt x="279" y="0"/>
                </a:cubicBezTo>
                <a:cubicBezTo>
                  <a:pt x="279" y="0"/>
                  <a:pt x="279" y="0"/>
                  <a:pt x="279" y="0"/>
                </a:cubicBezTo>
                <a:cubicBezTo>
                  <a:pt x="325" y="0"/>
                  <a:pt x="363" y="30"/>
                  <a:pt x="376" y="72"/>
                </a:cubicBezTo>
                <a:cubicBezTo>
                  <a:pt x="376" y="72"/>
                  <a:pt x="376" y="72"/>
                  <a:pt x="376" y="72"/>
                </a:cubicBezTo>
                <a:cubicBezTo>
                  <a:pt x="379" y="72"/>
                  <a:pt x="381" y="72"/>
                  <a:pt x="383" y="72"/>
                </a:cubicBezTo>
                <a:cubicBezTo>
                  <a:pt x="383" y="72"/>
                  <a:pt x="383" y="72"/>
                  <a:pt x="383" y="72"/>
                </a:cubicBezTo>
                <a:cubicBezTo>
                  <a:pt x="400" y="72"/>
                  <a:pt x="416" y="77"/>
                  <a:pt x="430" y="85"/>
                </a:cubicBezTo>
                <a:cubicBezTo>
                  <a:pt x="430" y="85"/>
                  <a:pt x="430" y="85"/>
                  <a:pt x="430" y="85"/>
                </a:cubicBezTo>
                <a:cubicBezTo>
                  <a:pt x="430" y="85"/>
                  <a:pt x="430" y="85"/>
                  <a:pt x="430" y="85"/>
                </a:cubicBezTo>
                <a:cubicBezTo>
                  <a:pt x="433" y="88"/>
                  <a:pt x="435" y="92"/>
                  <a:pt x="432" y="96"/>
                </a:cubicBezTo>
                <a:cubicBezTo>
                  <a:pt x="432" y="96"/>
                  <a:pt x="432" y="96"/>
                  <a:pt x="432" y="96"/>
                </a:cubicBezTo>
                <a:cubicBezTo>
                  <a:pt x="430" y="100"/>
                  <a:pt x="425" y="101"/>
                  <a:pt x="421" y="99"/>
                </a:cubicBezTo>
                <a:cubicBezTo>
                  <a:pt x="421" y="99"/>
                  <a:pt x="421" y="99"/>
                  <a:pt x="421" y="99"/>
                </a:cubicBezTo>
                <a:cubicBezTo>
                  <a:pt x="410" y="92"/>
                  <a:pt x="397" y="88"/>
                  <a:pt x="383" y="88"/>
                </a:cubicBezTo>
                <a:cubicBezTo>
                  <a:pt x="383" y="88"/>
                  <a:pt x="383" y="88"/>
                  <a:pt x="383" y="88"/>
                </a:cubicBezTo>
                <a:cubicBezTo>
                  <a:pt x="380" y="88"/>
                  <a:pt x="376" y="88"/>
                  <a:pt x="372" y="89"/>
                </a:cubicBezTo>
                <a:cubicBezTo>
                  <a:pt x="372" y="89"/>
                  <a:pt x="372" y="89"/>
                  <a:pt x="372" y="89"/>
                </a:cubicBezTo>
                <a:cubicBezTo>
                  <a:pt x="368" y="89"/>
                  <a:pt x="364" y="87"/>
                  <a:pt x="363" y="83"/>
                </a:cubicBezTo>
                <a:cubicBezTo>
                  <a:pt x="363" y="83"/>
                  <a:pt x="363" y="83"/>
                  <a:pt x="363" y="83"/>
                </a:cubicBezTo>
                <a:cubicBezTo>
                  <a:pt x="354" y="45"/>
                  <a:pt x="319" y="16"/>
                  <a:pt x="279" y="16"/>
                </a:cubicBezTo>
                <a:cubicBezTo>
                  <a:pt x="279" y="16"/>
                  <a:pt x="279" y="16"/>
                  <a:pt x="279" y="16"/>
                </a:cubicBezTo>
                <a:cubicBezTo>
                  <a:pt x="243" y="16"/>
                  <a:pt x="212" y="38"/>
                  <a:pt x="199" y="69"/>
                </a:cubicBezTo>
                <a:cubicBezTo>
                  <a:pt x="199" y="69"/>
                  <a:pt x="199" y="69"/>
                  <a:pt x="199" y="69"/>
                </a:cubicBezTo>
                <a:cubicBezTo>
                  <a:pt x="198" y="71"/>
                  <a:pt x="195" y="73"/>
                  <a:pt x="193" y="74"/>
                </a:cubicBezTo>
                <a:cubicBezTo>
                  <a:pt x="193" y="74"/>
                  <a:pt x="193" y="74"/>
                  <a:pt x="193" y="74"/>
                </a:cubicBezTo>
                <a:cubicBezTo>
                  <a:pt x="190" y="74"/>
                  <a:pt x="188" y="74"/>
                  <a:pt x="186" y="72"/>
                </a:cubicBezTo>
                <a:cubicBezTo>
                  <a:pt x="186" y="72"/>
                  <a:pt x="186" y="72"/>
                  <a:pt x="186" y="72"/>
                </a:cubicBezTo>
                <a:cubicBezTo>
                  <a:pt x="176" y="63"/>
                  <a:pt x="164" y="58"/>
                  <a:pt x="150" y="58"/>
                </a:cubicBezTo>
                <a:cubicBezTo>
                  <a:pt x="150" y="58"/>
                  <a:pt x="150" y="58"/>
                  <a:pt x="150" y="58"/>
                </a:cubicBezTo>
                <a:cubicBezTo>
                  <a:pt x="120" y="58"/>
                  <a:pt x="97" y="82"/>
                  <a:pt x="96" y="111"/>
                </a:cubicBezTo>
                <a:cubicBezTo>
                  <a:pt x="96" y="111"/>
                  <a:pt x="96" y="111"/>
                  <a:pt x="96" y="111"/>
                </a:cubicBezTo>
                <a:cubicBezTo>
                  <a:pt x="96" y="115"/>
                  <a:pt x="97" y="118"/>
                  <a:pt x="97" y="121"/>
                </a:cubicBezTo>
                <a:cubicBezTo>
                  <a:pt x="97" y="121"/>
                  <a:pt x="97" y="121"/>
                  <a:pt x="97" y="121"/>
                </a:cubicBezTo>
                <a:cubicBezTo>
                  <a:pt x="98" y="124"/>
                  <a:pt x="97" y="126"/>
                  <a:pt x="96" y="128"/>
                </a:cubicBezTo>
                <a:cubicBezTo>
                  <a:pt x="96" y="128"/>
                  <a:pt x="96" y="128"/>
                  <a:pt x="96" y="128"/>
                </a:cubicBezTo>
                <a:cubicBezTo>
                  <a:pt x="94" y="130"/>
                  <a:pt x="92" y="131"/>
                  <a:pt x="90" y="131"/>
                </a:cubicBezTo>
                <a:cubicBezTo>
                  <a:pt x="90" y="131"/>
                  <a:pt x="90" y="131"/>
                  <a:pt x="90" y="131"/>
                </a:cubicBezTo>
                <a:cubicBezTo>
                  <a:pt x="49" y="132"/>
                  <a:pt x="16" y="165"/>
                  <a:pt x="16" y="206"/>
                </a:cubicBezTo>
                <a:cubicBezTo>
                  <a:pt x="16" y="206"/>
                  <a:pt x="16" y="206"/>
                  <a:pt x="16" y="206"/>
                </a:cubicBezTo>
                <a:cubicBezTo>
                  <a:pt x="16" y="227"/>
                  <a:pt x="25" y="247"/>
                  <a:pt x="40" y="261"/>
                </a:cubicBezTo>
                <a:cubicBezTo>
                  <a:pt x="40" y="261"/>
                  <a:pt x="40" y="261"/>
                  <a:pt x="40" y="261"/>
                </a:cubicBezTo>
                <a:cubicBezTo>
                  <a:pt x="43" y="263"/>
                  <a:pt x="44" y="266"/>
                  <a:pt x="42" y="270"/>
                </a:cubicBezTo>
                <a:cubicBezTo>
                  <a:pt x="42" y="270"/>
                  <a:pt x="42" y="270"/>
                  <a:pt x="42" y="270"/>
                </a:cubicBezTo>
                <a:cubicBezTo>
                  <a:pt x="40" y="276"/>
                  <a:pt x="39" y="282"/>
                  <a:pt x="39" y="289"/>
                </a:cubicBezTo>
                <a:cubicBezTo>
                  <a:pt x="39" y="289"/>
                  <a:pt x="39" y="289"/>
                  <a:pt x="39" y="289"/>
                </a:cubicBezTo>
                <a:cubicBezTo>
                  <a:pt x="39" y="318"/>
                  <a:pt x="62" y="341"/>
                  <a:pt x="91" y="341"/>
                </a:cubicBezTo>
                <a:cubicBezTo>
                  <a:pt x="91" y="341"/>
                  <a:pt x="91" y="341"/>
                  <a:pt x="91" y="341"/>
                </a:cubicBezTo>
                <a:cubicBezTo>
                  <a:pt x="99" y="341"/>
                  <a:pt x="106" y="340"/>
                  <a:pt x="112" y="337"/>
                </a:cubicBezTo>
                <a:cubicBezTo>
                  <a:pt x="112" y="337"/>
                  <a:pt x="112" y="337"/>
                  <a:pt x="112" y="337"/>
                </a:cubicBezTo>
                <a:cubicBezTo>
                  <a:pt x="114" y="336"/>
                  <a:pt x="117" y="336"/>
                  <a:pt x="119" y="337"/>
                </a:cubicBezTo>
                <a:cubicBezTo>
                  <a:pt x="119" y="337"/>
                  <a:pt x="119" y="337"/>
                  <a:pt x="119" y="337"/>
                </a:cubicBezTo>
                <a:cubicBezTo>
                  <a:pt x="121" y="338"/>
                  <a:pt x="122" y="340"/>
                  <a:pt x="123" y="342"/>
                </a:cubicBezTo>
                <a:cubicBezTo>
                  <a:pt x="123" y="342"/>
                  <a:pt x="123" y="342"/>
                  <a:pt x="123" y="342"/>
                </a:cubicBezTo>
                <a:cubicBezTo>
                  <a:pt x="132" y="366"/>
                  <a:pt x="156" y="383"/>
                  <a:pt x="184" y="383"/>
                </a:cubicBezTo>
                <a:cubicBezTo>
                  <a:pt x="184" y="383"/>
                  <a:pt x="184" y="383"/>
                  <a:pt x="184" y="383"/>
                </a:cubicBezTo>
                <a:cubicBezTo>
                  <a:pt x="206" y="383"/>
                  <a:pt x="225" y="373"/>
                  <a:pt x="237" y="357"/>
                </a:cubicBezTo>
                <a:cubicBezTo>
                  <a:pt x="237" y="357"/>
                  <a:pt x="237" y="357"/>
                  <a:pt x="237" y="357"/>
                </a:cubicBezTo>
                <a:cubicBezTo>
                  <a:pt x="238" y="355"/>
                  <a:pt x="240" y="354"/>
                  <a:pt x="242" y="354"/>
                </a:cubicBezTo>
                <a:cubicBezTo>
                  <a:pt x="242" y="354"/>
                  <a:pt x="242" y="354"/>
                  <a:pt x="242" y="354"/>
                </a:cubicBezTo>
                <a:cubicBezTo>
                  <a:pt x="244" y="353"/>
                  <a:pt x="246" y="354"/>
                  <a:pt x="248" y="355"/>
                </a:cubicBezTo>
                <a:cubicBezTo>
                  <a:pt x="248" y="355"/>
                  <a:pt x="248" y="355"/>
                  <a:pt x="248" y="355"/>
                </a:cubicBezTo>
                <a:cubicBezTo>
                  <a:pt x="259" y="364"/>
                  <a:pt x="273" y="369"/>
                  <a:pt x="289" y="369"/>
                </a:cubicBezTo>
                <a:cubicBezTo>
                  <a:pt x="289" y="369"/>
                  <a:pt x="289" y="369"/>
                  <a:pt x="289" y="369"/>
                </a:cubicBezTo>
                <a:cubicBezTo>
                  <a:pt x="312" y="369"/>
                  <a:pt x="333" y="357"/>
                  <a:pt x="344" y="338"/>
                </a:cubicBezTo>
                <a:cubicBezTo>
                  <a:pt x="344" y="338"/>
                  <a:pt x="344" y="338"/>
                  <a:pt x="344" y="338"/>
                </a:cubicBezTo>
                <a:cubicBezTo>
                  <a:pt x="345" y="336"/>
                  <a:pt x="347" y="335"/>
                  <a:pt x="350" y="334"/>
                </a:cubicBezTo>
                <a:cubicBezTo>
                  <a:pt x="350" y="334"/>
                  <a:pt x="350" y="334"/>
                  <a:pt x="350" y="334"/>
                </a:cubicBezTo>
                <a:cubicBezTo>
                  <a:pt x="352" y="334"/>
                  <a:pt x="354" y="334"/>
                  <a:pt x="356" y="336"/>
                </a:cubicBezTo>
                <a:cubicBezTo>
                  <a:pt x="356" y="336"/>
                  <a:pt x="356" y="336"/>
                  <a:pt x="356" y="336"/>
                </a:cubicBezTo>
                <a:cubicBezTo>
                  <a:pt x="367" y="344"/>
                  <a:pt x="380" y="350"/>
                  <a:pt x="395" y="350"/>
                </a:cubicBezTo>
                <a:cubicBezTo>
                  <a:pt x="395" y="350"/>
                  <a:pt x="395" y="350"/>
                  <a:pt x="395" y="350"/>
                </a:cubicBezTo>
                <a:cubicBezTo>
                  <a:pt x="428" y="350"/>
                  <a:pt x="455" y="323"/>
                  <a:pt x="455" y="289"/>
                </a:cubicBezTo>
                <a:cubicBezTo>
                  <a:pt x="455" y="289"/>
                  <a:pt x="455" y="289"/>
                  <a:pt x="455" y="289"/>
                </a:cubicBezTo>
                <a:cubicBezTo>
                  <a:pt x="455" y="289"/>
                  <a:pt x="455" y="289"/>
                  <a:pt x="455" y="288"/>
                </a:cubicBezTo>
                <a:cubicBezTo>
                  <a:pt x="455" y="288"/>
                  <a:pt x="455" y="288"/>
                  <a:pt x="455" y="288"/>
                </a:cubicBezTo>
                <a:cubicBezTo>
                  <a:pt x="455" y="284"/>
                  <a:pt x="458" y="281"/>
                  <a:pt x="462" y="280"/>
                </a:cubicBezTo>
                <a:cubicBezTo>
                  <a:pt x="462" y="280"/>
                  <a:pt x="462" y="280"/>
                  <a:pt x="462" y="280"/>
                </a:cubicBezTo>
                <a:cubicBezTo>
                  <a:pt x="487" y="276"/>
                  <a:pt x="506" y="255"/>
                  <a:pt x="506" y="229"/>
                </a:cubicBezTo>
                <a:cubicBezTo>
                  <a:pt x="506" y="229"/>
                  <a:pt x="506" y="229"/>
                  <a:pt x="506" y="229"/>
                </a:cubicBezTo>
                <a:cubicBezTo>
                  <a:pt x="506" y="203"/>
                  <a:pt x="486" y="181"/>
                  <a:pt x="460" y="178"/>
                </a:cubicBezTo>
                <a:cubicBezTo>
                  <a:pt x="460" y="178"/>
                  <a:pt x="460" y="178"/>
                  <a:pt x="460" y="178"/>
                </a:cubicBezTo>
                <a:cubicBezTo>
                  <a:pt x="458" y="178"/>
                  <a:pt x="456" y="177"/>
                  <a:pt x="455" y="175"/>
                </a:cubicBezTo>
                <a:cubicBezTo>
                  <a:pt x="455" y="175"/>
                  <a:pt x="455" y="175"/>
                  <a:pt x="455" y="175"/>
                </a:cubicBezTo>
                <a:cubicBezTo>
                  <a:pt x="453" y="174"/>
                  <a:pt x="453" y="171"/>
                  <a:pt x="453" y="169"/>
                </a:cubicBezTo>
                <a:cubicBezTo>
                  <a:pt x="453" y="169"/>
                  <a:pt x="453" y="169"/>
                  <a:pt x="453" y="169"/>
                </a:cubicBezTo>
                <a:cubicBezTo>
                  <a:pt x="454" y="166"/>
                  <a:pt x="454" y="162"/>
                  <a:pt x="454" y="158"/>
                </a:cubicBezTo>
                <a:cubicBezTo>
                  <a:pt x="454" y="158"/>
                  <a:pt x="454" y="158"/>
                  <a:pt x="454" y="158"/>
                </a:cubicBezTo>
                <a:cubicBezTo>
                  <a:pt x="454" y="144"/>
                  <a:pt x="450" y="130"/>
                  <a:pt x="442" y="119"/>
                </a:cubicBezTo>
                <a:cubicBezTo>
                  <a:pt x="442" y="119"/>
                  <a:pt x="442" y="119"/>
                  <a:pt x="442" y="119"/>
                </a:cubicBezTo>
                <a:cubicBezTo>
                  <a:pt x="439" y="115"/>
                  <a:pt x="440" y="110"/>
                  <a:pt x="444" y="108"/>
                </a:cubicBezTo>
                <a:cubicBezTo>
                  <a:pt x="444" y="108"/>
                  <a:pt x="444" y="108"/>
                  <a:pt x="444" y="108"/>
                </a:cubicBezTo>
                <a:cubicBezTo>
                  <a:pt x="448" y="105"/>
                  <a:pt x="453" y="106"/>
                  <a:pt x="455" y="110"/>
                </a:cubicBezTo>
                <a:cubicBezTo>
                  <a:pt x="455" y="110"/>
                  <a:pt x="455" y="110"/>
                  <a:pt x="455" y="110"/>
                </a:cubicBezTo>
                <a:cubicBezTo>
                  <a:pt x="464" y="124"/>
                  <a:pt x="470" y="140"/>
                  <a:pt x="470" y="158"/>
                </a:cubicBezTo>
                <a:cubicBezTo>
                  <a:pt x="470" y="158"/>
                  <a:pt x="470" y="158"/>
                  <a:pt x="470" y="158"/>
                </a:cubicBezTo>
                <a:cubicBezTo>
                  <a:pt x="470" y="160"/>
                  <a:pt x="470" y="162"/>
                  <a:pt x="470" y="164"/>
                </a:cubicBezTo>
                <a:cubicBezTo>
                  <a:pt x="470" y="164"/>
                  <a:pt x="470" y="164"/>
                  <a:pt x="470" y="164"/>
                </a:cubicBezTo>
                <a:cubicBezTo>
                  <a:pt x="500" y="171"/>
                  <a:pt x="522" y="197"/>
                  <a:pt x="522" y="229"/>
                </a:cubicBezTo>
                <a:cubicBezTo>
                  <a:pt x="522" y="229"/>
                  <a:pt x="522" y="229"/>
                  <a:pt x="522" y="229"/>
                </a:cubicBezTo>
                <a:cubicBezTo>
                  <a:pt x="522" y="261"/>
                  <a:pt x="500" y="287"/>
                  <a:pt x="471" y="295"/>
                </a:cubicBezTo>
                <a:cubicBezTo>
                  <a:pt x="471" y="295"/>
                  <a:pt x="471" y="295"/>
                  <a:pt x="471" y="295"/>
                </a:cubicBezTo>
                <a:cubicBezTo>
                  <a:pt x="468" y="334"/>
                  <a:pt x="435" y="366"/>
                  <a:pt x="395" y="366"/>
                </a:cubicBezTo>
                <a:cubicBezTo>
                  <a:pt x="395" y="366"/>
                  <a:pt x="395" y="366"/>
                  <a:pt x="395" y="366"/>
                </a:cubicBezTo>
                <a:cubicBezTo>
                  <a:pt x="379" y="366"/>
                  <a:pt x="365" y="361"/>
                  <a:pt x="353" y="353"/>
                </a:cubicBezTo>
                <a:cubicBezTo>
                  <a:pt x="353" y="353"/>
                  <a:pt x="353" y="353"/>
                  <a:pt x="353" y="353"/>
                </a:cubicBezTo>
                <a:cubicBezTo>
                  <a:pt x="338" y="373"/>
                  <a:pt x="315" y="385"/>
                  <a:pt x="289" y="385"/>
                </a:cubicBezTo>
                <a:cubicBezTo>
                  <a:pt x="289" y="385"/>
                  <a:pt x="289" y="385"/>
                  <a:pt x="289" y="385"/>
                </a:cubicBezTo>
                <a:cubicBezTo>
                  <a:pt x="272" y="385"/>
                  <a:pt x="257" y="381"/>
                  <a:pt x="245" y="372"/>
                </a:cubicBezTo>
                <a:cubicBezTo>
                  <a:pt x="245" y="372"/>
                  <a:pt x="245" y="372"/>
                  <a:pt x="245" y="372"/>
                </a:cubicBezTo>
                <a:cubicBezTo>
                  <a:pt x="230" y="389"/>
                  <a:pt x="208" y="399"/>
                  <a:pt x="184" y="399"/>
                </a:cubicBezTo>
                <a:cubicBezTo>
                  <a:pt x="184" y="399"/>
                  <a:pt x="184" y="399"/>
                  <a:pt x="184" y="399"/>
                </a:cubicBezTo>
                <a:cubicBezTo>
                  <a:pt x="152" y="399"/>
                  <a:pt x="125" y="381"/>
                  <a:pt x="111" y="355"/>
                </a:cubicBezTo>
                <a:close/>
              </a:path>
            </a:pathLst>
          </a:cu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5" name="Freeform 4"/>
          <p:cNvSpPr>
            <a:spLocks noChangeAspect="1"/>
          </p:cNvSpPr>
          <p:nvPr/>
        </p:nvSpPr>
        <p:spPr bwMode="auto">
          <a:xfrm>
            <a:off x="823119" y="2662124"/>
            <a:ext cx="320675" cy="379412"/>
          </a:xfrm>
          <a:custGeom>
            <a:avLst/>
            <a:gdLst>
              <a:gd name="T0" fmla="*/ 617864024 w 393"/>
              <a:gd name="T1" fmla="*/ 85935163 h 573"/>
              <a:gd name="T2" fmla="*/ 617864024 w 393"/>
              <a:gd name="T3" fmla="*/ 559892925 h 573"/>
              <a:gd name="T4" fmla="*/ 567263467 w 393"/>
              <a:gd name="T5" fmla="*/ 593214304 h 573"/>
              <a:gd name="T6" fmla="*/ 50600557 w 393"/>
              <a:gd name="T7" fmla="*/ 593214304 h 573"/>
              <a:gd name="T8" fmla="*/ 0 w 393"/>
              <a:gd name="T9" fmla="*/ 559892925 h 573"/>
              <a:gd name="T10" fmla="*/ 0 w 393"/>
              <a:gd name="T11" fmla="*/ 33322041 h 573"/>
              <a:gd name="T12" fmla="*/ 50600557 w 393"/>
              <a:gd name="T13" fmla="*/ 0 h 573"/>
              <a:gd name="T14" fmla="*/ 567263467 w 393"/>
              <a:gd name="T15" fmla="*/ 0 h 573"/>
              <a:gd name="T16" fmla="*/ 617864024 w 393"/>
              <a:gd name="T17" fmla="*/ 33322041 h 573"/>
              <a:gd name="T18" fmla="*/ 617864024 w 393"/>
              <a:gd name="T19" fmla="*/ 52613122 h 57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93"/>
              <a:gd name="T31" fmla="*/ 0 h 573"/>
              <a:gd name="T32" fmla="*/ 393 w 393"/>
              <a:gd name="T33" fmla="*/ 573 h 573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93" h="573">
                <a:moveTo>
                  <a:pt x="393" y="83"/>
                </a:moveTo>
                <a:cubicBezTo>
                  <a:pt x="393" y="541"/>
                  <a:pt x="393" y="541"/>
                  <a:pt x="393" y="541"/>
                </a:cubicBezTo>
                <a:cubicBezTo>
                  <a:pt x="393" y="559"/>
                  <a:pt x="379" y="573"/>
                  <a:pt x="361" y="573"/>
                </a:cubicBezTo>
                <a:cubicBezTo>
                  <a:pt x="32" y="573"/>
                  <a:pt x="32" y="573"/>
                  <a:pt x="32" y="573"/>
                </a:cubicBezTo>
                <a:cubicBezTo>
                  <a:pt x="14" y="573"/>
                  <a:pt x="0" y="559"/>
                  <a:pt x="0" y="541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14"/>
                  <a:pt x="14" y="0"/>
                  <a:pt x="32" y="0"/>
                </a:cubicBezTo>
                <a:cubicBezTo>
                  <a:pt x="361" y="0"/>
                  <a:pt x="361" y="0"/>
                  <a:pt x="361" y="0"/>
                </a:cubicBezTo>
                <a:cubicBezTo>
                  <a:pt x="379" y="0"/>
                  <a:pt x="393" y="14"/>
                  <a:pt x="393" y="32"/>
                </a:cubicBezTo>
                <a:cubicBezTo>
                  <a:pt x="393" y="51"/>
                  <a:pt x="393" y="51"/>
                  <a:pt x="393" y="51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/>
          </a:p>
        </p:txBody>
      </p:sp>
      <p:sp>
        <p:nvSpPr>
          <p:cNvPr id="196" name="Freeform 5"/>
          <p:cNvSpPr>
            <a:spLocks noChangeAspect="1" noEditPoints="1"/>
          </p:cNvSpPr>
          <p:nvPr/>
        </p:nvSpPr>
        <p:spPr bwMode="auto">
          <a:xfrm>
            <a:off x="816769" y="2655774"/>
            <a:ext cx="333375" cy="390525"/>
          </a:xfrm>
          <a:custGeom>
            <a:avLst/>
            <a:gdLst>
              <a:gd name="T0" fmla="*/ 629172361 w 409"/>
              <a:gd name="T1" fmla="*/ 69458418 h 589"/>
              <a:gd name="T2" fmla="*/ 641794966 w 409"/>
              <a:gd name="T3" fmla="*/ 61105559 h 589"/>
              <a:gd name="T4" fmla="*/ 641794966 w 409"/>
              <a:gd name="T5" fmla="*/ 41323380 h 589"/>
              <a:gd name="T6" fmla="*/ 579342987 w 409"/>
              <a:gd name="T7" fmla="*/ 0 h 589"/>
              <a:gd name="T8" fmla="*/ 62451978 w 409"/>
              <a:gd name="T9" fmla="*/ 0 h 589"/>
              <a:gd name="T10" fmla="*/ 0 w 409"/>
              <a:gd name="T11" fmla="*/ 41323380 h 589"/>
              <a:gd name="T12" fmla="*/ 0 w 409"/>
              <a:gd name="T13" fmla="*/ 570173793 h 589"/>
              <a:gd name="T14" fmla="*/ 62451978 w 409"/>
              <a:gd name="T15" fmla="*/ 611497173 h 589"/>
              <a:gd name="T16" fmla="*/ 579342987 w 409"/>
              <a:gd name="T17" fmla="*/ 611497173 h 589"/>
              <a:gd name="T18" fmla="*/ 641794966 w 409"/>
              <a:gd name="T19" fmla="*/ 570173793 h 589"/>
              <a:gd name="T20" fmla="*/ 641794966 w 409"/>
              <a:gd name="T21" fmla="*/ 94516332 h 589"/>
              <a:gd name="T22" fmla="*/ 629172361 w 409"/>
              <a:gd name="T23" fmla="*/ 86163473 h 589"/>
              <a:gd name="T24" fmla="*/ 616548942 w 409"/>
              <a:gd name="T25" fmla="*/ 94516332 h 589"/>
              <a:gd name="T26" fmla="*/ 616548942 w 409"/>
              <a:gd name="T27" fmla="*/ 570173793 h 589"/>
              <a:gd name="T28" fmla="*/ 579342987 w 409"/>
              <a:gd name="T29" fmla="*/ 594791455 h 589"/>
              <a:gd name="T30" fmla="*/ 62451978 w 409"/>
              <a:gd name="T31" fmla="*/ 594791455 h 589"/>
              <a:gd name="T32" fmla="*/ 25246839 w 409"/>
              <a:gd name="T33" fmla="*/ 570173793 h 589"/>
              <a:gd name="T34" fmla="*/ 25246839 w 409"/>
              <a:gd name="T35" fmla="*/ 41323380 h 589"/>
              <a:gd name="T36" fmla="*/ 62451978 w 409"/>
              <a:gd name="T37" fmla="*/ 16705055 h 589"/>
              <a:gd name="T38" fmla="*/ 579342987 w 409"/>
              <a:gd name="T39" fmla="*/ 16705055 h 589"/>
              <a:gd name="T40" fmla="*/ 616548942 w 409"/>
              <a:gd name="T41" fmla="*/ 41323380 h 589"/>
              <a:gd name="T42" fmla="*/ 616548942 w 409"/>
              <a:gd name="T43" fmla="*/ 61105559 h 589"/>
              <a:gd name="T44" fmla="*/ 629172361 w 409"/>
              <a:gd name="T45" fmla="*/ 69458418 h 589"/>
              <a:gd name="T46" fmla="*/ 320233178 w 409"/>
              <a:gd name="T47" fmla="*/ 78689793 h 589"/>
              <a:gd name="T48" fmla="*/ 308938368 w 409"/>
              <a:gd name="T49" fmla="*/ 83086349 h 589"/>
              <a:gd name="T50" fmla="*/ 117595790 w 409"/>
              <a:gd name="T51" fmla="*/ 336301035 h 589"/>
              <a:gd name="T52" fmla="*/ 119589519 w 409"/>
              <a:gd name="T53" fmla="*/ 344653894 h 589"/>
              <a:gd name="T54" fmla="*/ 130219209 w 409"/>
              <a:gd name="T55" fmla="*/ 347731019 h 589"/>
              <a:gd name="T56" fmla="*/ 511575756 w 409"/>
              <a:gd name="T57" fmla="*/ 347731019 h 589"/>
              <a:gd name="T58" fmla="*/ 522206262 w 409"/>
              <a:gd name="T59" fmla="*/ 344653894 h 589"/>
              <a:gd name="T60" fmla="*/ 522206262 w 409"/>
              <a:gd name="T61" fmla="*/ 336301035 h 589"/>
              <a:gd name="T62" fmla="*/ 332856598 w 409"/>
              <a:gd name="T63" fmla="*/ 83086349 h 589"/>
              <a:gd name="T64" fmla="*/ 320233178 w 409"/>
              <a:gd name="T65" fmla="*/ 78689793 h 589"/>
              <a:gd name="T66" fmla="*/ 150815101 w 409"/>
              <a:gd name="T67" fmla="*/ 331025964 h 589"/>
              <a:gd name="T68" fmla="*/ 320233178 w 409"/>
              <a:gd name="T69" fmla="*/ 105945653 h 589"/>
              <a:gd name="T70" fmla="*/ 490979865 w 409"/>
              <a:gd name="T71" fmla="*/ 331025964 h 589"/>
              <a:gd name="T72" fmla="*/ 150815101 w 409"/>
              <a:gd name="T73" fmla="*/ 331025964 h 58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409"/>
              <a:gd name="T112" fmla="*/ 0 h 589"/>
              <a:gd name="T113" fmla="*/ 409 w 409"/>
              <a:gd name="T114" fmla="*/ 589 h 589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409" h="589">
                <a:moveTo>
                  <a:pt x="401" y="67"/>
                </a:moveTo>
                <a:cubicBezTo>
                  <a:pt x="405" y="67"/>
                  <a:pt x="409" y="64"/>
                  <a:pt x="409" y="59"/>
                </a:cubicBezTo>
                <a:cubicBezTo>
                  <a:pt x="409" y="40"/>
                  <a:pt x="409" y="40"/>
                  <a:pt x="409" y="40"/>
                </a:cubicBezTo>
                <a:cubicBezTo>
                  <a:pt x="409" y="18"/>
                  <a:pt x="391" y="0"/>
                  <a:pt x="369" y="0"/>
                </a:cubicBezTo>
                <a:cubicBezTo>
                  <a:pt x="40" y="0"/>
                  <a:pt x="40" y="0"/>
                  <a:pt x="40" y="0"/>
                </a:cubicBezTo>
                <a:cubicBezTo>
                  <a:pt x="18" y="0"/>
                  <a:pt x="0" y="18"/>
                  <a:pt x="0" y="40"/>
                </a:cubicBezTo>
                <a:cubicBezTo>
                  <a:pt x="0" y="549"/>
                  <a:pt x="0" y="549"/>
                  <a:pt x="0" y="549"/>
                </a:cubicBezTo>
                <a:cubicBezTo>
                  <a:pt x="0" y="571"/>
                  <a:pt x="18" y="589"/>
                  <a:pt x="40" y="589"/>
                </a:cubicBezTo>
                <a:cubicBezTo>
                  <a:pt x="369" y="589"/>
                  <a:pt x="369" y="589"/>
                  <a:pt x="369" y="589"/>
                </a:cubicBezTo>
                <a:cubicBezTo>
                  <a:pt x="391" y="589"/>
                  <a:pt x="409" y="571"/>
                  <a:pt x="409" y="549"/>
                </a:cubicBezTo>
                <a:cubicBezTo>
                  <a:pt x="409" y="91"/>
                  <a:pt x="409" y="91"/>
                  <a:pt x="409" y="91"/>
                </a:cubicBezTo>
                <a:cubicBezTo>
                  <a:pt x="409" y="87"/>
                  <a:pt x="405" y="83"/>
                  <a:pt x="401" y="83"/>
                </a:cubicBezTo>
                <a:cubicBezTo>
                  <a:pt x="397" y="83"/>
                  <a:pt x="393" y="87"/>
                  <a:pt x="393" y="91"/>
                </a:cubicBezTo>
                <a:cubicBezTo>
                  <a:pt x="393" y="549"/>
                  <a:pt x="393" y="549"/>
                  <a:pt x="393" y="549"/>
                </a:cubicBezTo>
                <a:cubicBezTo>
                  <a:pt x="393" y="562"/>
                  <a:pt x="382" y="573"/>
                  <a:pt x="369" y="573"/>
                </a:cubicBezTo>
                <a:cubicBezTo>
                  <a:pt x="40" y="573"/>
                  <a:pt x="40" y="573"/>
                  <a:pt x="40" y="573"/>
                </a:cubicBezTo>
                <a:cubicBezTo>
                  <a:pt x="26" y="573"/>
                  <a:pt x="16" y="562"/>
                  <a:pt x="16" y="549"/>
                </a:cubicBezTo>
                <a:cubicBezTo>
                  <a:pt x="16" y="40"/>
                  <a:pt x="16" y="40"/>
                  <a:pt x="16" y="40"/>
                </a:cubicBezTo>
                <a:cubicBezTo>
                  <a:pt x="16" y="27"/>
                  <a:pt x="26" y="16"/>
                  <a:pt x="40" y="16"/>
                </a:cubicBezTo>
                <a:cubicBezTo>
                  <a:pt x="369" y="16"/>
                  <a:pt x="369" y="16"/>
                  <a:pt x="369" y="16"/>
                </a:cubicBezTo>
                <a:cubicBezTo>
                  <a:pt x="382" y="16"/>
                  <a:pt x="393" y="27"/>
                  <a:pt x="393" y="40"/>
                </a:cubicBezTo>
                <a:cubicBezTo>
                  <a:pt x="393" y="59"/>
                  <a:pt x="393" y="59"/>
                  <a:pt x="393" y="59"/>
                </a:cubicBezTo>
                <a:cubicBezTo>
                  <a:pt x="393" y="64"/>
                  <a:pt x="397" y="67"/>
                  <a:pt x="401" y="67"/>
                </a:cubicBezTo>
                <a:close/>
                <a:moveTo>
                  <a:pt x="204" y="76"/>
                </a:moveTo>
                <a:cubicBezTo>
                  <a:pt x="201" y="76"/>
                  <a:pt x="199" y="78"/>
                  <a:pt x="197" y="80"/>
                </a:cubicBezTo>
                <a:cubicBezTo>
                  <a:pt x="75" y="324"/>
                  <a:pt x="75" y="324"/>
                  <a:pt x="75" y="324"/>
                </a:cubicBezTo>
                <a:cubicBezTo>
                  <a:pt x="74" y="326"/>
                  <a:pt x="74" y="329"/>
                  <a:pt x="76" y="332"/>
                </a:cubicBezTo>
                <a:cubicBezTo>
                  <a:pt x="77" y="334"/>
                  <a:pt x="80" y="335"/>
                  <a:pt x="83" y="335"/>
                </a:cubicBezTo>
                <a:cubicBezTo>
                  <a:pt x="326" y="335"/>
                  <a:pt x="326" y="335"/>
                  <a:pt x="326" y="335"/>
                </a:cubicBezTo>
                <a:cubicBezTo>
                  <a:pt x="329" y="335"/>
                  <a:pt x="332" y="334"/>
                  <a:pt x="333" y="332"/>
                </a:cubicBezTo>
                <a:cubicBezTo>
                  <a:pt x="334" y="329"/>
                  <a:pt x="335" y="326"/>
                  <a:pt x="333" y="324"/>
                </a:cubicBezTo>
                <a:cubicBezTo>
                  <a:pt x="212" y="80"/>
                  <a:pt x="212" y="80"/>
                  <a:pt x="212" y="80"/>
                </a:cubicBezTo>
                <a:cubicBezTo>
                  <a:pt x="210" y="78"/>
                  <a:pt x="207" y="76"/>
                  <a:pt x="204" y="76"/>
                </a:cubicBezTo>
                <a:close/>
                <a:moveTo>
                  <a:pt x="96" y="319"/>
                </a:moveTo>
                <a:cubicBezTo>
                  <a:pt x="204" y="102"/>
                  <a:pt x="204" y="102"/>
                  <a:pt x="204" y="102"/>
                </a:cubicBezTo>
                <a:cubicBezTo>
                  <a:pt x="313" y="319"/>
                  <a:pt x="313" y="319"/>
                  <a:pt x="313" y="319"/>
                </a:cubicBezTo>
                <a:lnTo>
                  <a:pt x="96" y="319"/>
                </a:lnTo>
                <a:close/>
              </a:path>
            </a:pathLst>
          </a:cu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/>
          </a:p>
        </p:txBody>
      </p:sp>
      <p:sp>
        <p:nvSpPr>
          <p:cNvPr id="197" name="Text Box 6"/>
          <p:cNvSpPr txBox="1">
            <a:spLocks noChangeAspect="1" noChangeArrowheads="1"/>
          </p:cNvSpPr>
          <p:nvPr/>
        </p:nvSpPr>
        <p:spPr bwMode="auto">
          <a:xfrm>
            <a:off x="840581" y="2897820"/>
            <a:ext cx="280988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en-US" sz="1200">
                <a:solidFill>
                  <a:srgbClr val="00A9D4"/>
                </a:solidFill>
              </a:rPr>
              <a:t>B</a:t>
            </a:r>
            <a:endParaRPr lang="sv-SE" sz="1200">
              <a:solidFill>
                <a:srgbClr val="00A9D4"/>
              </a:solidFill>
            </a:endParaRPr>
          </a:p>
        </p:txBody>
      </p:sp>
      <p:grpSp>
        <p:nvGrpSpPr>
          <p:cNvPr id="198" name="Group 48"/>
          <p:cNvGrpSpPr>
            <a:grpSpLocks noChangeAspect="1"/>
          </p:cNvGrpSpPr>
          <p:nvPr/>
        </p:nvGrpSpPr>
        <p:grpSpPr bwMode="auto">
          <a:xfrm>
            <a:off x="1308894" y="2701811"/>
            <a:ext cx="331787" cy="412750"/>
            <a:chOff x="1791" y="860"/>
            <a:chExt cx="966" cy="1391"/>
          </a:xfrm>
        </p:grpSpPr>
        <p:sp>
          <p:nvSpPr>
            <p:cNvPr id="199" name="Freeform 12"/>
            <p:cNvSpPr>
              <a:spLocks noChangeAspect="1"/>
            </p:cNvSpPr>
            <p:nvPr/>
          </p:nvSpPr>
          <p:spPr bwMode="auto">
            <a:xfrm>
              <a:off x="1810" y="879"/>
              <a:ext cx="928" cy="1353"/>
            </a:xfrm>
            <a:custGeom>
              <a:avLst/>
              <a:gdLst>
                <a:gd name="T0" fmla="*/ 5174 w 393"/>
                <a:gd name="T1" fmla="*/ 1093 h 573"/>
                <a:gd name="T2" fmla="*/ 5174 w 393"/>
                <a:gd name="T3" fmla="*/ 7119 h 573"/>
                <a:gd name="T4" fmla="*/ 4751 w 393"/>
                <a:gd name="T5" fmla="*/ 7544 h 573"/>
                <a:gd name="T6" fmla="*/ 423 w 393"/>
                <a:gd name="T7" fmla="*/ 7544 h 573"/>
                <a:gd name="T8" fmla="*/ 0 w 393"/>
                <a:gd name="T9" fmla="*/ 7119 h 573"/>
                <a:gd name="T10" fmla="*/ 0 w 393"/>
                <a:gd name="T11" fmla="*/ 423 h 573"/>
                <a:gd name="T12" fmla="*/ 423 w 393"/>
                <a:gd name="T13" fmla="*/ 0 h 573"/>
                <a:gd name="T14" fmla="*/ 4751 w 393"/>
                <a:gd name="T15" fmla="*/ 0 h 573"/>
                <a:gd name="T16" fmla="*/ 5174 w 393"/>
                <a:gd name="T17" fmla="*/ 423 h 573"/>
                <a:gd name="T18" fmla="*/ 5174 w 393"/>
                <a:gd name="T19" fmla="*/ 668 h 57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93"/>
                <a:gd name="T31" fmla="*/ 0 h 573"/>
                <a:gd name="T32" fmla="*/ 393 w 393"/>
                <a:gd name="T33" fmla="*/ 573 h 57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93" h="573">
                  <a:moveTo>
                    <a:pt x="393" y="83"/>
                  </a:moveTo>
                  <a:cubicBezTo>
                    <a:pt x="393" y="541"/>
                    <a:pt x="393" y="541"/>
                    <a:pt x="393" y="541"/>
                  </a:cubicBezTo>
                  <a:cubicBezTo>
                    <a:pt x="393" y="559"/>
                    <a:pt x="379" y="573"/>
                    <a:pt x="361" y="573"/>
                  </a:cubicBezTo>
                  <a:cubicBezTo>
                    <a:pt x="32" y="573"/>
                    <a:pt x="32" y="573"/>
                    <a:pt x="32" y="573"/>
                  </a:cubicBezTo>
                  <a:cubicBezTo>
                    <a:pt x="14" y="573"/>
                    <a:pt x="0" y="559"/>
                    <a:pt x="0" y="54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361" y="0"/>
                    <a:pt x="361" y="0"/>
                    <a:pt x="361" y="0"/>
                  </a:cubicBezTo>
                  <a:cubicBezTo>
                    <a:pt x="379" y="0"/>
                    <a:pt x="393" y="14"/>
                    <a:pt x="393" y="32"/>
                  </a:cubicBezTo>
                  <a:cubicBezTo>
                    <a:pt x="393" y="51"/>
                    <a:pt x="393" y="51"/>
                    <a:pt x="393" y="5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200" name="Freeform 13"/>
            <p:cNvSpPr>
              <a:spLocks noChangeAspect="1" noEditPoints="1"/>
            </p:cNvSpPr>
            <p:nvPr/>
          </p:nvSpPr>
          <p:spPr bwMode="auto">
            <a:xfrm>
              <a:off x="1791" y="860"/>
              <a:ext cx="966" cy="1391"/>
            </a:xfrm>
            <a:custGeom>
              <a:avLst/>
              <a:gdLst>
                <a:gd name="T0" fmla="*/ 5283 w 409"/>
                <a:gd name="T1" fmla="*/ 881 h 589"/>
                <a:gd name="T2" fmla="*/ 5390 w 409"/>
                <a:gd name="T3" fmla="*/ 775 h 589"/>
                <a:gd name="T4" fmla="*/ 5390 w 409"/>
                <a:gd name="T5" fmla="*/ 524 h 589"/>
                <a:gd name="T6" fmla="*/ 4865 w 409"/>
                <a:gd name="T7" fmla="*/ 0 h 589"/>
                <a:gd name="T8" fmla="*/ 524 w 409"/>
                <a:gd name="T9" fmla="*/ 0 h 589"/>
                <a:gd name="T10" fmla="*/ 0 w 409"/>
                <a:gd name="T11" fmla="*/ 524 h 589"/>
                <a:gd name="T12" fmla="*/ 0 w 409"/>
                <a:gd name="T13" fmla="*/ 7234 h 589"/>
                <a:gd name="T14" fmla="*/ 524 w 409"/>
                <a:gd name="T15" fmla="*/ 7758 h 589"/>
                <a:gd name="T16" fmla="*/ 4865 w 409"/>
                <a:gd name="T17" fmla="*/ 7758 h 589"/>
                <a:gd name="T18" fmla="*/ 5390 w 409"/>
                <a:gd name="T19" fmla="*/ 7234 h 589"/>
                <a:gd name="T20" fmla="*/ 5390 w 409"/>
                <a:gd name="T21" fmla="*/ 1200 h 589"/>
                <a:gd name="T22" fmla="*/ 5283 w 409"/>
                <a:gd name="T23" fmla="*/ 1093 h 589"/>
                <a:gd name="T24" fmla="*/ 5177 w 409"/>
                <a:gd name="T25" fmla="*/ 1200 h 589"/>
                <a:gd name="T26" fmla="*/ 5177 w 409"/>
                <a:gd name="T27" fmla="*/ 7234 h 589"/>
                <a:gd name="T28" fmla="*/ 4865 w 409"/>
                <a:gd name="T29" fmla="*/ 7545 h 589"/>
                <a:gd name="T30" fmla="*/ 524 w 409"/>
                <a:gd name="T31" fmla="*/ 7545 h 589"/>
                <a:gd name="T32" fmla="*/ 213 w 409"/>
                <a:gd name="T33" fmla="*/ 7234 h 589"/>
                <a:gd name="T34" fmla="*/ 213 w 409"/>
                <a:gd name="T35" fmla="*/ 524 h 589"/>
                <a:gd name="T36" fmla="*/ 524 w 409"/>
                <a:gd name="T37" fmla="*/ 213 h 589"/>
                <a:gd name="T38" fmla="*/ 4865 w 409"/>
                <a:gd name="T39" fmla="*/ 213 h 589"/>
                <a:gd name="T40" fmla="*/ 5177 w 409"/>
                <a:gd name="T41" fmla="*/ 524 h 589"/>
                <a:gd name="T42" fmla="*/ 5177 w 409"/>
                <a:gd name="T43" fmla="*/ 775 h 589"/>
                <a:gd name="T44" fmla="*/ 5283 w 409"/>
                <a:gd name="T45" fmla="*/ 881 h 589"/>
                <a:gd name="T46" fmla="*/ 1094 w 409"/>
                <a:gd name="T47" fmla="*/ 4199 h 589"/>
                <a:gd name="T48" fmla="*/ 987 w 409"/>
                <a:gd name="T49" fmla="*/ 4305 h 589"/>
                <a:gd name="T50" fmla="*/ 1094 w 409"/>
                <a:gd name="T51" fmla="*/ 4412 h 589"/>
                <a:gd name="T52" fmla="*/ 2052 w 409"/>
                <a:gd name="T53" fmla="*/ 4412 h 589"/>
                <a:gd name="T54" fmla="*/ 2147 w 409"/>
                <a:gd name="T55" fmla="*/ 4362 h 589"/>
                <a:gd name="T56" fmla="*/ 2688 w 409"/>
                <a:gd name="T57" fmla="*/ 3580 h 589"/>
                <a:gd name="T58" fmla="*/ 3240 w 409"/>
                <a:gd name="T59" fmla="*/ 4362 h 589"/>
                <a:gd name="T60" fmla="*/ 3318 w 409"/>
                <a:gd name="T61" fmla="*/ 4412 h 589"/>
                <a:gd name="T62" fmla="*/ 4296 w 409"/>
                <a:gd name="T63" fmla="*/ 4412 h 589"/>
                <a:gd name="T64" fmla="*/ 4403 w 409"/>
                <a:gd name="T65" fmla="*/ 4305 h 589"/>
                <a:gd name="T66" fmla="*/ 4296 w 409"/>
                <a:gd name="T67" fmla="*/ 4199 h 589"/>
                <a:gd name="T68" fmla="*/ 4296 w 409"/>
                <a:gd name="T69" fmla="*/ 4199 h 589"/>
                <a:gd name="T70" fmla="*/ 3387 w 409"/>
                <a:gd name="T71" fmla="*/ 4199 h 589"/>
                <a:gd name="T72" fmla="*/ 2818 w 409"/>
                <a:gd name="T73" fmla="*/ 3413 h 589"/>
                <a:gd name="T74" fmla="*/ 4384 w 409"/>
                <a:gd name="T75" fmla="*/ 1200 h 589"/>
                <a:gd name="T76" fmla="*/ 4362 w 409"/>
                <a:gd name="T77" fmla="*/ 1053 h 589"/>
                <a:gd name="T78" fmla="*/ 4218 w 409"/>
                <a:gd name="T79" fmla="*/ 1065 h 589"/>
                <a:gd name="T80" fmla="*/ 2688 w 409"/>
                <a:gd name="T81" fmla="*/ 3228 h 589"/>
                <a:gd name="T82" fmla="*/ 1171 w 409"/>
                <a:gd name="T83" fmla="*/ 1065 h 589"/>
                <a:gd name="T84" fmla="*/ 1027 w 409"/>
                <a:gd name="T85" fmla="*/ 1053 h 589"/>
                <a:gd name="T86" fmla="*/ 1004 w 409"/>
                <a:gd name="T87" fmla="*/ 1200 h 589"/>
                <a:gd name="T88" fmla="*/ 2572 w 409"/>
                <a:gd name="T89" fmla="*/ 3413 h 589"/>
                <a:gd name="T90" fmla="*/ 2003 w 409"/>
                <a:gd name="T91" fmla="*/ 4199 h 589"/>
                <a:gd name="T92" fmla="*/ 1094 w 409"/>
                <a:gd name="T93" fmla="*/ 4199 h 589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09"/>
                <a:gd name="T142" fmla="*/ 0 h 589"/>
                <a:gd name="T143" fmla="*/ 409 w 409"/>
                <a:gd name="T144" fmla="*/ 589 h 589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09" h="589">
                  <a:moveTo>
                    <a:pt x="401" y="67"/>
                  </a:moveTo>
                  <a:cubicBezTo>
                    <a:pt x="405" y="67"/>
                    <a:pt x="409" y="64"/>
                    <a:pt x="409" y="59"/>
                  </a:cubicBezTo>
                  <a:cubicBezTo>
                    <a:pt x="409" y="40"/>
                    <a:pt x="409" y="40"/>
                    <a:pt x="409" y="40"/>
                  </a:cubicBezTo>
                  <a:cubicBezTo>
                    <a:pt x="409" y="18"/>
                    <a:pt x="391" y="0"/>
                    <a:pt x="369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549"/>
                    <a:pt x="0" y="549"/>
                    <a:pt x="0" y="549"/>
                  </a:cubicBezTo>
                  <a:cubicBezTo>
                    <a:pt x="0" y="571"/>
                    <a:pt x="18" y="589"/>
                    <a:pt x="40" y="589"/>
                  </a:cubicBezTo>
                  <a:cubicBezTo>
                    <a:pt x="369" y="589"/>
                    <a:pt x="369" y="589"/>
                    <a:pt x="369" y="589"/>
                  </a:cubicBezTo>
                  <a:cubicBezTo>
                    <a:pt x="391" y="589"/>
                    <a:pt x="409" y="571"/>
                    <a:pt x="409" y="549"/>
                  </a:cubicBezTo>
                  <a:cubicBezTo>
                    <a:pt x="409" y="91"/>
                    <a:pt x="409" y="91"/>
                    <a:pt x="409" y="91"/>
                  </a:cubicBezTo>
                  <a:cubicBezTo>
                    <a:pt x="409" y="87"/>
                    <a:pt x="405" y="83"/>
                    <a:pt x="401" y="83"/>
                  </a:cubicBezTo>
                  <a:cubicBezTo>
                    <a:pt x="397" y="83"/>
                    <a:pt x="393" y="87"/>
                    <a:pt x="393" y="91"/>
                  </a:cubicBezTo>
                  <a:cubicBezTo>
                    <a:pt x="393" y="549"/>
                    <a:pt x="393" y="549"/>
                    <a:pt x="393" y="549"/>
                  </a:cubicBezTo>
                  <a:cubicBezTo>
                    <a:pt x="393" y="562"/>
                    <a:pt x="382" y="573"/>
                    <a:pt x="369" y="573"/>
                  </a:cubicBezTo>
                  <a:cubicBezTo>
                    <a:pt x="40" y="573"/>
                    <a:pt x="40" y="573"/>
                    <a:pt x="40" y="573"/>
                  </a:cubicBezTo>
                  <a:cubicBezTo>
                    <a:pt x="26" y="573"/>
                    <a:pt x="16" y="562"/>
                    <a:pt x="16" y="549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27"/>
                    <a:pt x="26" y="16"/>
                    <a:pt x="40" y="16"/>
                  </a:cubicBezTo>
                  <a:cubicBezTo>
                    <a:pt x="369" y="16"/>
                    <a:pt x="369" y="16"/>
                    <a:pt x="369" y="16"/>
                  </a:cubicBezTo>
                  <a:cubicBezTo>
                    <a:pt x="382" y="16"/>
                    <a:pt x="393" y="27"/>
                    <a:pt x="393" y="40"/>
                  </a:cubicBezTo>
                  <a:cubicBezTo>
                    <a:pt x="393" y="59"/>
                    <a:pt x="393" y="59"/>
                    <a:pt x="393" y="59"/>
                  </a:cubicBezTo>
                  <a:cubicBezTo>
                    <a:pt x="393" y="64"/>
                    <a:pt x="397" y="67"/>
                    <a:pt x="401" y="67"/>
                  </a:cubicBezTo>
                  <a:close/>
                  <a:moveTo>
                    <a:pt x="83" y="319"/>
                  </a:moveTo>
                  <a:cubicBezTo>
                    <a:pt x="78" y="319"/>
                    <a:pt x="75" y="322"/>
                    <a:pt x="75" y="327"/>
                  </a:cubicBezTo>
                  <a:cubicBezTo>
                    <a:pt x="75" y="331"/>
                    <a:pt x="78" y="335"/>
                    <a:pt x="83" y="335"/>
                  </a:cubicBezTo>
                  <a:cubicBezTo>
                    <a:pt x="156" y="335"/>
                    <a:pt x="156" y="335"/>
                    <a:pt x="156" y="335"/>
                  </a:cubicBezTo>
                  <a:cubicBezTo>
                    <a:pt x="159" y="335"/>
                    <a:pt x="161" y="333"/>
                    <a:pt x="163" y="331"/>
                  </a:cubicBezTo>
                  <a:cubicBezTo>
                    <a:pt x="204" y="272"/>
                    <a:pt x="204" y="272"/>
                    <a:pt x="204" y="272"/>
                  </a:cubicBezTo>
                  <a:cubicBezTo>
                    <a:pt x="246" y="331"/>
                    <a:pt x="246" y="331"/>
                    <a:pt x="246" y="331"/>
                  </a:cubicBezTo>
                  <a:cubicBezTo>
                    <a:pt x="247" y="333"/>
                    <a:pt x="250" y="335"/>
                    <a:pt x="252" y="335"/>
                  </a:cubicBezTo>
                  <a:cubicBezTo>
                    <a:pt x="326" y="335"/>
                    <a:pt x="326" y="335"/>
                    <a:pt x="326" y="335"/>
                  </a:cubicBezTo>
                  <a:cubicBezTo>
                    <a:pt x="331" y="335"/>
                    <a:pt x="334" y="331"/>
                    <a:pt x="334" y="327"/>
                  </a:cubicBezTo>
                  <a:cubicBezTo>
                    <a:pt x="334" y="322"/>
                    <a:pt x="331" y="319"/>
                    <a:pt x="326" y="319"/>
                  </a:cubicBezTo>
                  <a:cubicBezTo>
                    <a:pt x="326" y="319"/>
                    <a:pt x="326" y="319"/>
                    <a:pt x="326" y="319"/>
                  </a:cubicBezTo>
                  <a:cubicBezTo>
                    <a:pt x="257" y="319"/>
                    <a:pt x="257" y="319"/>
                    <a:pt x="257" y="319"/>
                  </a:cubicBezTo>
                  <a:cubicBezTo>
                    <a:pt x="214" y="259"/>
                    <a:pt x="214" y="259"/>
                    <a:pt x="214" y="259"/>
                  </a:cubicBezTo>
                  <a:cubicBezTo>
                    <a:pt x="333" y="91"/>
                    <a:pt x="333" y="91"/>
                    <a:pt x="333" y="91"/>
                  </a:cubicBezTo>
                  <a:cubicBezTo>
                    <a:pt x="335" y="87"/>
                    <a:pt x="334" y="82"/>
                    <a:pt x="331" y="80"/>
                  </a:cubicBezTo>
                  <a:cubicBezTo>
                    <a:pt x="327" y="77"/>
                    <a:pt x="322" y="78"/>
                    <a:pt x="320" y="81"/>
                  </a:cubicBezTo>
                  <a:cubicBezTo>
                    <a:pt x="204" y="245"/>
                    <a:pt x="204" y="245"/>
                    <a:pt x="204" y="245"/>
                  </a:cubicBezTo>
                  <a:cubicBezTo>
                    <a:pt x="89" y="81"/>
                    <a:pt x="89" y="81"/>
                    <a:pt x="89" y="81"/>
                  </a:cubicBezTo>
                  <a:cubicBezTo>
                    <a:pt x="87" y="78"/>
                    <a:pt x="82" y="77"/>
                    <a:pt x="78" y="80"/>
                  </a:cubicBezTo>
                  <a:cubicBezTo>
                    <a:pt x="74" y="82"/>
                    <a:pt x="74" y="87"/>
                    <a:pt x="76" y="91"/>
                  </a:cubicBezTo>
                  <a:cubicBezTo>
                    <a:pt x="195" y="259"/>
                    <a:pt x="195" y="259"/>
                    <a:pt x="195" y="259"/>
                  </a:cubicBezTo>
                  <a:cubicBezTo>
                    <a:pt x="152" y="319"/>
                    <a:pt x="152" y="319"/>
                    <a:pt x="152" y="319"/>
                  </a:cubicBezTo>
                  <a:lnTo>
                    <a:pt x="83" y="319"/>
                  </a:lnTo>
                  <a:close/>
                </a:path>
              </a:pathLst>
            </a:custGeom>
            <a:solidFill>
              <a:srgbClr val="E321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201" name="Text Box 14"/>
            <p:cNvSpPr txBox="1">
              <a:spLocks noChangeAspect="1" noChangeArrowheads="1"/>
            </p:cNvSpPr>
            <p:nvPr/>
          </p:nvSpPr>
          <p:spPr bwMode="auto">
            <a:xfrm>
              <a:off x="1860" y="1735"/>
              <a:ext cx="818" cy="4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lnSpc>
                  <a:spcPct val="80000"/>
                </a:lnSpc>
              </a:pPr>
              <a:r>
                <a:rPr lang="en-US" sz="1200">
                  <a:solidFill>
                    <a:srgbClr val="E32119"/>
                  </a:solidFill>
                </a:rPr>
                <a:t>D</a:t>
              </a:r>
              <a:endParaRPr lang="sv-SE" sz="1200">
                <a:solidFill>
                  <a:srgbClr val="E32119"/>
                </a:solidFill>
              </a:endParaRPr>
            </a:p>
          </p:txBody>
        </p:sp>
      </p:grpSp>
      <p:sp>
        <p:nvSpPr>
          <p:cNvPr id="202" name="Rectangle 99"/>
          <p:cNvSpPr>
            <a:spLocks noChangeAspect="1" noChangeArrowheads="1"/>
          </p:cNvSpPr>
          <p:nvPr/>
        </p:nvSpPr>
        <p:spPr bwMode="auto">
          <a:xfrm>
            <a:off x="1308894" y="2701811"/>
            <a:ext cx="333375" cy="412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rIns="0" anchor="ctr"/>
          <a:lstStyle/>
          <a:p>
            <a:pPr algn="ctr">
              <a:spcBef>
                <a:spcPct val="50000"/>
              </a:spcBef>
            </a:pPr>
            <a:endParaRPr lang="sv-SE" sz="1200"/>
          </a:p>
        </p:txBody>
      </p:sp>
      <p:sp>
        <p:nvSpPr>
          <p:cNvPr id="203" name="Freeform 4"/>
          <p:cNvSpPr>
            <a:spLocks noChangeAspect="1"/>
          </p:cNvSpPr>
          <p:nvPr/>
        </p:nvSpPr>
        <p:spPr bwMode="auto">
          <a:xfrm>
            <a:off x="1815306" y="2706574"/>
            <a:ext cx="301625" cy="379412"/>
          </a:xfrm>
          <a:custGeom>
            <a:avLst/>
            <a:gdLst>
              <a:gd name="T0" fmla="*/ 546635064 w 393"/>
              <a:gd name="T1" fmla="*/ 85935163 h 573"/>
              <a:gd name="T2" fmla="*/ 546635064 w 393"/>
              <a:gd name="T3" fmla="*/ 559892925 h 573"/>
              <a:gd name="T4" fmla="*/ 501867928 w 393"/>
              <a:gd name="T5" fmla="*/ 593214304 h 573"/>
              <a:gd name="T6" fmla="*/ 44767904 w 393"/>
              <a:gd name="T7" fmla="*/ 593214304 h 573"/>
              <a:gd name="T8" fmla="*/ 0 w 393"/>
              <a:gd name="T9" fmla="*/ 559892925 h 573"/>
              <a:gd name="T10" fmla="*/ 0 w 393"/>
              <a:gd name="T11" fmla="*/ 33322041 h 573"/>
              <a:gd name="T12" fmla="*/ 44767904 w 393"/>
              <a:gd name="T13" fmla="*/ 0 h 573"/>
              <a:gd name="T14" fmla="*/ 501867928 w 393"/>
              <a:gd name="T15" fmla="*/ 0 h 573"/>
              <a:gd name="T16" fmla="*/ 546635064 w 393"/>
              <a:gd name="T17" fmla="*/ 33322041 h 573"/>
              <a:gd name="T18" fmla="*/ 546635064 w 393"/>
              <a:gd name="T19" fmla="*/ 52613122 h 57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93"/>
              <a:gd name="T31" fmla="*/ 0 h 573"/>
              <a:gd name="T32" fmla="*/ 393 w 393"/>
              <a:gd name="T33" fmla="*/ 573 h 573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93" h="573">
                <a:moveTo>
                  <a:pt x="393" y="83"/>
                </a:moveTo>
                <a:cubicBezTo>
                  <a:pt x="393" y="541"/>
                  <a:pt x="393" y="541"/>
                  <a:pt x="393" y="541"/>
                </a:cubicBezTo>
                <a:cubicBezTo>
                  <a:pt x="393" y="559"/>
                  <a:pt x="379" y="573"/>
                  <a:pt x="361" y="573"/>
                </a:cubicBezTo>
                <a:cubicBezTo>
                  <a:pt x="32" y="573"/>
                  <a:pt x="32" y="573"/>
                  <a:pt x="32" y="573"/>
                </a:cubicBezTo>
                <a:cubicBezTo>
                  <a:pt x="14" y="573"/>
                  <a:pt x="0" y="559"/>
                  <a:pt x="0" y="541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14"/>
                  <a:pt x="14" y="0"/>
                  <a:pt x="32" y="0"/>
                </a:cubicBezTo>
                <a:cubicBezTo>
                  <a:pt x="361" y="0"/>
                  <a:pt x="361" y="0"/>
                  <a:pt x="361" y="0"/>
                </a:cubicBezTo>
                <a:cubicBezTo>
                  <a:pt x="379" y="0"/>
                  <a:pt x="393" y="14"/>
                  <a:pt x="393" y="32"/>
                </a:cubicBezTo>
                <a:cubicBezTo>
                  <a:pt x="393" y="51"/>
                  <a:pt x="393" y="51"/>
                  <a:pt x="393" y="51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/>
          </a:p>
        </p:txBody>
      </p:sp>
      <p:sp>
        <p:nvSpPr>
          <p:cNvPr id="204" name="Freeform 5"/>
          <p:cNvSpPr>
            <a:spLocks noChangeAspect="1" noEditPoints="1"/>
          </p:cNvSpPr>
          <p:nvPr/>
        </p:nvSpPr>
        <p:spPr bwMode="auto">
          <a:xfrm>
            <a:off x="1808956" y="2701811"/>
            <a:ext cx="314325" cy="390525"/>
          </a:xfrm>
          <a:custGeom>
            <a:avLst/>
            <a:gdLst>
              <a:gd name="T0" fmla="*/ 570542912 w 409"/>
              <a:gd name="T1" fmla="*/ 61105559 h 589"/>
              <a:gd name="T2" fmla="*/ 515024202 w 409"/>
              <a:gd name="T3" fmla="*/ 0 h 589"/>
              <a:gd name="T4" fmla="*/ 0 w 409"/>
              <a:gd name="T5" fmla="*/ 41323380 h 589"/>
              <a:gd name="T6" fmla="*/ 55518710 w 409"/>
              <a:gd name="T7" fmla="*/ 611497173 h 589"/>
              <a:gd name="T8" fmla="*/ 570542912 w 409"/>
              <a:gd name="T9" fmla="*/ 570173793 h 589"/>
              <a:gd name="T10" fmla="*/ 559320972 w 409"/>
              <a:gd name="T11" fmla="*/ 86163473 h 589"/>
              <a:gd name="T12" fmla="*/ 548099031 w 409"/>
              <a:gd name="T13" fmla="*/ 570173793 h 589"/>
              <a:gd name="T14" fmla="*/ 55518710 w 409"/>
              <a:gd name="T15" fmla="*/ 594791455 h 589"/>
              <a:gd name="T16" fmla="*/ 22443881 w 409"/>
              <a:gd name="T17" fmla="*/ 41323380 h 589"/>
              <a:gd name="T18" fmla="*/ 515024202 w 409"/>
              <a:gd name="T19" fmla="*/ 16705055 h 589"/>
              <a:gd name="T20" fmla="*/ 548099031 w 409"/>
              <a:gd name="T21" fmla="*/ 61105559 h 589"/>
              <a:gd name="T22" fmla="*/ 111627644 w 409"/>
              <a:gd name="T23" fmla="*/ 329267607 h 589"/>
              <a:gd name="T24" fmla="*/ 284680848 w 409"/>
              <a:gd name="T25" fmla="*/ 347731019 h 589"/>
              <a:gd name="T26" fmla="*/ 444739903 w 409"/>
              <a:gd name="T27" fmla="*/ 334103088 h 589"/>
              <a:gd name="T28" fmla="*/ 466002567 w 409"/>
              <a:gd name="T29" fmla="*/ 318716801 h 589"/>
              <a:gd name="T30" fmla="*/ 466002567 w 409"/>
              <a:gd name="T31" fmla="*/ 108144263 h 589"/>
              <a:gd name="T32" fmla="*/ 432336746 w 409"/>
              <a:gd name="T33" fmla="*/ 89240598 h 589"/>
              <a:gd name="T34" fmla="*/ 163012480 w 409"/>
              <a:gd name="T35" fmla="*/ 85284295 h 589"/>
              <a:gd name="T36" fmla="*/ 111627644 w 409"/>
              <a:gd name="T37" fmla="*/ 97593457 h 589"/>
              <a:gd name="T38" fmla="*/ 104540345 w 409"/>
              <a:gd name="T39" fmla="*/ 109023441 h 589"/>
              <a:gd name="T40" fmla="*/ 111627644 w 409"/>
              <a:gd name="T41" fmla="*/ 329267607 h 589"/>
              <a:gd name="T42" fmla="*/ 284680848 w 409"/>
              <a:gd name="T43" fmla="*/ 95395511 h 589"/>
              <a:gd name="T44" fmla="*/ 436471388 w 409"/>
              <a:gd name="T45" fmla="*/ 108144263 h 589"/>
              <a:gd name="T46" fmla="*/ 427021656 w 409"/>
              <a:gd name="T47" fmla="*/ 112100566 h 589"/>
              <a:gd name="T48" fmla="*/ 167146353 w 409"/>
              <a:gd name="T49" fmla="*/ 115177691 h 589"/>
              <a:gd name="T50" fmla="*/ 131118868 w 409"/>
              <a:gd name="T51" fmla="*/ 109023441 h 589"/>
              <a:gd name="T52" fmla="*/ 126984226 w 409"/>
              <a:gd name="T53" fmla="*/ 125728496 h 589"/>
              <a:gd name="T54" fmla="*/ 284680848 w 409"/>
              <a:gd name="T55" fmla="*/ 138037658 h 589"/>
              <a:gd name="T56" fmla="*/ 443558686 w 409"/>
              <a:gd name="T57" fmla="*/ 125728496 h 589"/>
              <a:gd name="T58" fmla="*/ 427021656 w 409"/>
              <a:gd name="T59" fmla="*/ 321793926 h 589"/>
              <a:gd name="T60" fmla="*/ 167146353 w 409"/>
              <a:gd name="T61" fmla="*/ 324871714 h 589"/>
              <a:gd name="T62" fmla="*/ 126984226 w 409"/>
              <a:gd name="T63" fmla="*/ 316518855 h 58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409"/>
              <a:gd name="T97" fmla="*/ 0 h 589"/>
              <a:gd name="T98" fmla="*/ 409 w 409"/>
              <a:gd name="T99" fmla="*/ 589 h 589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409" h="589">
                <a:moveTo>
                  <a:pt x="401" y="67"/>
                </a:moveTo>
                <a:cubicBezTo>
                  <a:pt x="405" y="67"/>
                  <a:pt x="409" y="64"/>
                  <a:pt x="409" y="59"/>
                </a:cubicBezTo>
                <a:cubicBezTo>
                  <a:pt x="409" y="40"/>
                  <a:pt x="409" y="40"/>
                  <a:pt x="409" y="40"/>
                </a:cubicBezTo>
                <a:cubicBezTo>
                  <a:pt x="409" y="18"/>
                  <a:pt x="391" y="0"/>
                  <a:pt x="369" y="0"/>
                </a:cubicBezTo>
                <a:cubicBezTo>
                  <a:pt x="40" y="0"/>
                  <a:pt x="40" y="0"/>
                  <a:pt x="40" y="0"/>
                </a:cubicBezTo>
                <a:cubicBezTo>
                  <a:pt x="18" y="0"/>
                  <a:pt x="0" y="18"/>
                  <a:pt x="0" y="40"/>
                </a:cubicBezTo>
                <a:cubicBezTo>
                  <a:pt x="0" y="549"/>
                  <a:pt x="0" y="549"/>
                  <a:pt x="0" y="549"/>
                </a:cubicBezTo>
                <a:cubicBezTo>
                  <a:pt x="0" y="571"/>
                  <a:pt x="18" y="589"/>
                  <a:pt x="40" y="589"/>
                </a:cubicBezTo>
                <a:cubicBezTo>
                  <a:pt x="369" y="589"/>
                  <a:pt x="369" y="589"/>
                  <a:pt x="369" y="589"/>
                </a:cubicBezTo>
                <a:cubicBezTo>
                  <a:pt x="391" y="589"/>
                  <a:pt x="409" y="571"/>
                  <a:pt x="409" y="549"/>
                </a:cubicBezTo>
                <a:cubicBezTo>
                  <a:pt x="409" y="91"/>
                  <a:pt x="409" y="91"/>
                  <a:pt x="409" y="91"/>
                </a:cubicBezTo>
                <a:cubicBezTo>
                  <a:pt x="409" y="87"/>
                  <a:pt x="405" y="83"/>
                  <a:pt x="401" y="83"/>
                </a:cubicBezTo>
                <a:cubicBezTo>
                  <a:pt x="397" y="83"/>
                  <a:pt x="393" y="87"/>
                  <a:pt x="393" y="91"/>
                </a:cubicBezTo>
                <a:cubicBezTo>
                  <a:pt x="393" y="549"/>
                  <a:pt x="393" y="549"/>
                  <a:pt x="393" y="549"/>
                </a:cubicBezTo>
                <a:cubicBezTo>
                  <a:pt x="393" y="562"/>
                  <a:pt x="382" y="573"/>
                  <a:pt x="369" y="573"/>
                </a:cubicBezTo>
                <a:cubicBezTo>
                  <a:pt x="40" y="573"/>
                  <a:pt x="40" y="573"/>
                  <a:pt x="40" y="573"/>
                </a:cubicBezTo>
                <a:cubicBezTo>
                  <a:pt x="26" y="573"/>
                  <a:pt x="16" y="562"/>
                  <a:pt x="16" y="549"/>
                </a:cubicBezTo>
                <a:cubicBezTo>
                  <a:pt x="16" y="40"/>
                  <a:pt x="16" y="40"/>
                  <a:pt x="16" y="40"/>
                </a:cubicBezTo>
                <a:cubicBezTo>
                  <a:pt x="16" y="27"/>
                  <a:pt x="26" y="16"/>
                  <a:pt x="40" y="16"/>
                </a:cubicBezTo>
                <a:cubicBezTo>
                  <a:pt x="369" y="16"/>
                  <a:pt x="369" y="16"/>
                  <a:pt x="369" y="16"/>
                </a:cubicBezTo>
                <a:cubicBezTo>
                  <a:pt x="382" y="16"/>
                  <a:pt x="393" y="27"/>
                  <a:pt x="393" y="40"/>
                </a:cubicBezTo>
                <a:cubicBezTo>
                  <a:pt x="393" y="59"/>
                  <a:pt x="393" y="59"/>
                  <a:pt x="393" y="59"/>
                </a:cubicBezTo>
                <a:cubicBezTo>
                  <a:pt x="393" y="64"/>
                  <a:pt x="397" y="67"/>
                  <a:pt x="401" y="67"/>
                </a:cubicBezTo>
                <a:close/>
                <a:moveTo>
                  <a:pt x="80" y="317"/>
                </a:moveTo>
                <a:cubicBezTo>
                  <a:pt x="85" y="321"/>
                  <a:pt x="91" y="323"/>
                  <a:pt x="98" y="325"/>
                </a:cubicBezTo>
                <a:cubicBezTo>
                  <a:pt x="121" y="331"/>
                  <a:pt x="160" y="335"/>
                  <a:pt x="204" y="335"/>
                </a:cubicBezTo>
                <a:cubicBezTo>
                  <a:pt x="238" y="335"/>
                  <a:pt x="269" y="333"/>
                  <a:pt x="292" y="329"/>
                </a:cubicBezTo>
                <a:cubicBezTo>
                  <a:pt x="303" y="327"/>
                  <a:pt x="312" y="325"/>
                  <a:pt x="319" y="322"/>
                </a:cubicBezTo>
                <a:cubicBezTo>
                  <a:pt x="323" y="321"/>
                  <a:pt x="326" y="319"/>
                  <a:pt x="328" y="317"/>
                </a:cubicBezTo>
                <a:cubicBezTo>
                  <a:pt x="331" y="315"/>
                  <a:pt x="334" y="311"/>
                  <a:pt x="334" y="307"/>
                </a:cubicBezTo>
                <a:cubicBezTo>
                  <a:pt x="334" y="105"/>
                  <a:pt x="334" y="105"/>
                  <a:pt x="334" y="105"/>
                </a:cubicBezTo>
                <a:cubicBezTo>
                  <a:pt x="334" y="105"/>
                  <a:pt x="334" y="104"/>
                  <a:pt x="334" y="104"/>
                </a:cubicBezTo>
                <a:cubicBezTo>
                  <a:pt x="334" y="100"/>
                  <a:pt x="331" y="96"/>
                  <a:pt x="328" y="94"/>
                </a:cubicBezTo>
                <a:cubicBezTo>
                  <a:pt x="324" y="91"/>
                  <a:pt x="318" y="88"/>
                  <a:pt x="310" y="86"/>
                </a:cubicBezTo>
                <a:cubicBezTo>
                  <a:pt x="288" y="80"/>
                  <a:pt x="249" y="76"/>
                  <a:pt x="204" y="76"/>
                </a:cubicBezTo>
                <a:cubicBezTo>
                  <a:pt x="171" y="76"/>
                  <a:pt x="140" y="78"/>
                  <a:pt x="117" y="82"/>
                </a:cubicBezTo>
                <a:cubicBezTo>
                  <a:pt x="106" y="84"/>
                  <a:pt x="97" y="86"/>
                  <a:pt x="90" y="89"/>
                </a:cubicBezTo>
                <a:cubicBezTo>
                  <a:pt x="86" y="91"/>
                  <a:pt x="83" y="92"/>
                  <a:pt x="80" y="94"/>
                </a:cubicBezTo>
                <a:cubicBezTo>
                  <a:pt x="78" y="96"/>
                  <a:pt x="75" y="100"/>
                  <a:pt x="75" y="105"/>
                </a:cubicBezTo>
                <a:cubicBezTo>
                  <a:pt x="75" y="105"/>
                  <a:pt x="75" y="105"/>
                  <a:pt x="75" y="105"/>
                </a:cubicBezTo>
                <a:cubicBezTo>
                  <a:pt x="75" y="307"/>
                  <a:pt x="75" y="307"/>
                  <a:pt x="75" y="307"/>
                </a:cubicBezTo>
                <a:cubicBezTo>
                  <a:pt x="75" y="311"/>
                  <a:pt x="78" y="315"/>
                  <a:pt x="80" y="317"/>
                </a:cubicBezTo>
                <a:close/>
                <a:moveTo>
                  <a:pt x="103" y="102"/>
                </a:moveTo>
                <a:cubicBezTo>
                  <a:pt x="122" y="96"/>
                  <a:pt x="161" y="92"/>
                  <a:pt x="204" y="92"/>
                </a:cubicBezTo>
                <a:cubicBezTo>
                  <a:pt x="238" y="92"/>
                  <a:pt x="268" y="94"/>
                  <a:pt x="289" y="98"/>
                </a:cubicBezTo>
                <a:cubicBezTo>
                  <a:pt x="299" y="100"/>
                  <a:pt x="308" y="102"/>
                  <a:pt x="313" y="104"/>
                </a:cubicBezTo>
                <a:cubicBezTo>
                  <a:pt x="314" y="104"/>
                  <a:pt x="314" y="104"/>
                  <a:pt x="315" y="105"/>
                </a:cubicBezTo>
                <a:cubicBezTo>
                  <a:pt x="313" y="106"/>
                  <a:pt x="310" y="107"/>
                  <a:pt x="306" y="108"/>
                </a:cubicBezTo>
                <a:cubicBezTo>
                  <a:pt x="286" y="113"/>
                  <a:pt x="248" y="117"/>
                  <a:pt x="204" y="117"/>
                </a:cubicBezTo>
                <a:cubicBezTo>
                  <a:pt x="171" y="117"/>
                  <a:pt x="141" y="115"/>
                  <a:pt x="120" y="111"/>
                </a:cubicBezTo>
                <a:cubicBezTo>
                  <a:pt x="109" y="110"/>
                  <a:pt x="101" y="107"/>
                  <a:pt x="96" y="105"/>
                </a:cubicBezTo>
                <a:cubicBezTo>
                  <a:pt x="95" y="105"/>
                  <a:pt x="95" y="105"/>
                  <a:pt x="94" y="105"/>
                </a:cubicBezTo>
                <a:cubicBezTo>
                  <a:pt x="96" y="104"/>
                  <a:pt x="99" y="103"/>
                  <a:pt x="103" y="102"/>
                </a:cubicBezTo>
                <a:close/>
                <a:moveTo>
                  <a:pt x="91" y="121"/>
                </a:moveTo>
                <a:cubicBezTo>
                  <a:pt x="93" y="121"/>
                  <a:pt x="96" y="122"/>
                  <a:pt x="98" y="123"/>
                </a:cubicBezTo>
                <a:cubicBezTo>
                  <a:pt x="121" y="129"/>
                  <a:pt x="160" y="133"/>
                  <a:pt x="204" y="133"/>
                </a:cubicBezTo>
                <a:cubicBezTo>
                  <a:pt x="238" y="133"/>
                  <a:pt x="269" y="131"/>
                  <a:pt x="292" y="127"/>
                </a:cubicBezTo>
                <a:cubicBezTo>
                  <a:pt x="302" y="125"/>
                  <a:pt x="311" y="123"/>
                  <a:pt x="318" y="121"/>
                </a:cubicBezTo>
                <a:cubicBezTo>
                  <a:pt x="318" y="305"/>
                  <a:pt x="318" y="305"/>
                  <a:pt x="318" y="305"/>
                </a:cubicBezTo>
                <a:cubicBezTo>
                  <a:pt x="316" y="306"/>
                  <a:pt x="312" y="308"/>
                  <a:pt x="306" y="310"/>
                </a:cubicBezTo>
                <a:cubicBezTo>
                  <a:pt x="286" y="315"/>
                  <a:pt x="248" y="319"/>
                  <a:pt x="204" y="319"/>
                </a:cubicBezTo>
                <a:cubicBezTo>
                  <a:pt x="171" y="319"/>
                  <a:pt x="141" y="317"/>
                  <a:pt x="120" y="313"/>
                </a:cubicBezTo>
                <a:cubicBezTo>
                  <a:pt x="109" y="312"/>
                  <a:pt x="101" y="309"/>
                  <a:pt x="96" y="307"/>
                </a:cubicBezTo>
                <a:cubicBezTo>
                  <a:pt x="93" y="306"/>
                  <a:pt x="92" y="306"/>
                  <a:pt x="91" y="305"/>
                </a:cubicBezTo>
                <a:lnTo>
                  <a:pt x="91" y="12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/>
          </a:p>
        </p:txBody>
      </p:sp>
      <p:sp>
        <p:nvSpPr>
          <p:cNvPr id="205" name="Text Box 6"/>
          <p:cNvSpPr txBox="1">
            <a:spLocks noChangeAspect="1" noChangeArrowheads="1"/>
          </p:cNvSpPr>
          <p:nvPr/>
        </p:nvSpPr>
        <p:spPr bwMode="auto">
          <a:xfrm>
            <a:off x="1831181" y="2943858"/>
            <a:ext cx="268288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en-US" sz="1200">
                <a:solidFill>
                  <a:srgbClr val="000000"/>
                </a:solidFill>
              </a:rPr>
              <a:t>E</a:t>
            </a:r>
            <a:endParaRPr lang="sv-SE" sz="1200">
              <a:solidFill>
                <a:srgbClr val="000000"/>
              </a:solidFill>
            </a:endParaRPr>
          </a:p>
        </p:txBody>
      </p:sp>
      <p:grpSp>
        <p:nvGrpSpPr>
          <p:cNvPr id="206" name="Group 48"/>
          <p:cNvGrpSpPr>
            <a:grpSpLocks noChangeAspect="1"/>
          </p:cNvGrpSpPr>
          <p:nvPr/>
        </p:nvGrpSpPr>
        <p:grpSpPr bwMode="auto">
          <a:xfrm>
            <a:off x="1415256" y="2792299"/>
            <a:ext cx="331788" cy="414337"/>
            <a:chOff x="1791" y="860"/>
            <a:chExt cx="966" cy="1391"/>
          </a:xfrm>
        </p:grpSpPr>
        <p:sp>
          <p:nvSpPr>
            <p:cNvPr id="207" name="Freeform 12"/>
            <p:cNvSpPr>
              <a:spLocks noChangeAspect="1"/>
            </p:cNvSpPr>
            <p:nvPr/>
          </p:nvSpPr>
          <p:spPr bwMode="auto">
            <a:xfrm>
              <a:off x="1810" y="879"/>
              <a:ext cx="928" cy="1353"/>
            </a:xfrm>
            <a:custGeom>
              <a:avLst/>
              <a:gdLst>
                <a:gd name="T0" fmla="*/ 5174 w 393"/>
                <a:gd name="T1" fmla="*/ 1093 h 573"/>
                <a:gd name="T2" fmla="*/ 5174 w 393"/>
                <a:gd name="T3" fmla="*/ 7119 h 573"/>
                <a:gd name="T4" fmla="*/ 4751 w 393"/>
                <a:gd name="T5" fmla="*/ 7544 h 573"/>
                <a:gd name="T6" fmla="*/ 423 w 393"/>
                <a:gd name="T7" fmla="*/ 7544 h 573"/>
                <a:gd name="T8" fmla="*/ 0 w 393"/>
                <a:gd name="T9" fmla="*/ 7119 h 573"/>
                <a:gd name="T10" fmla="*/ 0 w 393"/>
                <a:gd name="T11" fmla="*/ 423 h 573"/>
                <a:gd name="T12" fmla="*/ 423 w 393"/>
                <a:gd name="T13" fmla="*/ 0 h 573"/>
                <a:gd name="T14" fmla="*/ 4751 w 393"/>
                <a:gd name="T15" fmla="*/ 0 h 573"/>
                <a:gd name="T16" fmla="*/ 5174 w 393"/>
                <a:gd name="T17" fmla="*/ 423 h 573"/>
                <a:gd name="T18" fmla="*/ 5174 w 393"/>
                <a:gd name="T19" fmla="*/ 668 h 57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93"/>
                <a:gd name="T31" fmla="*/ 0 h 573"/>
                <a:gd name="T32" fmla="*/ 393 w 393"/>
                <a:gd name="T33" fmla="*/ 573 h 57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93" h="573">
                  <a:moveTo>
                    <a:pt x="393" y="83"/>
                  </a:moveTo>
                  <a:cubicBezTo>
                    <a:pt x="393" y="541"/>
                    <a:pt x="393" y="541"/>
                    <a:pt x="393" y="541"/>
                  </a:cubicBezTo>
                  <a:cubicBezTo>
                    <a:pt x="393" y="559"/>
                    <a:pt x="379" y="573"/>
                    <a:pt x="361" y="573"/>
                  </a:cubicBezTo>
                  <a:cubicBezTo>
                    <a:pt x="32" y="573"/>
                    <a:pt x="32" y="573"/>
                    <a:pt x="32" y="573"/>
                  </a:cubicBezTo>
                  <a:cubicBezTo>
                    <a:pt x="14" y="573"/>
                    <a:pt x="0" y="559"/>
                    <a:pt x="0" y="54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361" y="0"/>
                    <a:pt x="361" y="0"/>
                    <a:pt x="361" y="0"/>
                  </a:cubicBezTo>
                  <a:cubicBezTo>
                    <a:pt x="379" y="0"/>
                    <a:pt x="393" y="14"/>
                    <a:pt x="393" y="32"/>
                  </a:cubicBezTo>
                  <a:cubicBezTo>
                    <a:pt x="393" y="51"/>
                    <a:pt x="393" y="51"/>
                    <a:pt x="393" y="5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208" name="Freeform 13"/>
            <p:cNvSpPr>
              <a:spLocks noChangeAspect="1" noEditPoints="1"/>
            </p:cNvSpPr>
            <p:nvPr/>
          </p:nvSpPr>
          <p:spPr bwMode="auto">
            <a:xfrm>
              <a:off x="1791" y="860"/>
              <a:ext cx="966" cy="1391"/>
            </a:xfrm>
            <a:custGeom>
              <a:avLst/>
              <a:gdLst>
                <a:gd name="T0" fmla="*/ 5283 w 409"/>
                <a:gd name="T1" fmla="*/ 881 h 589"/>
                <a:gd name="T2" fmla="*/ 5390 w 409"/>
                <a:gd name="T3" fmla="*/ 775 h 589"/>
                <a:gd name="T4" fmla="*/ 5390 w 409"/>
                <a:gd name="T5" fmla="*/ 524 h 589"/>
                <a:gd name="T6" fmla="*/ 4865 w 409"/>
                <a:gd name="T7" fmla="*/ 0 h 589"/>
                <a:gd name="T8" fmla="*/ 524 w 409"/>
                <a:gd name="T9" fmla="*/ 0 h 589"/>
                <a:gd name="T10" fmla="*/ 0 w 409"/>
                <a:gd name="T11" fmla="*/ 524 h 589"/>
                <a:gd name="T12" fmla="*/ 0 w 409"/>
                <a:gd name="T13" fmla="*/ 7234 h 589"/>
                <a:gd name="T14" fmla="*/ 524 w 409"/>
                <a:gd name="T15" fmla="*/ 7758 h 589"/>
                <a:gd name="T16" fmla="*/ 4865 w 409"/>
                <a:gd name="T17" fmla="*/ 7758 h 589"/>
                <a:gd name="T18" fmla="*/ 5390 w 409"/>
                <a:gd name="T19" fmla="*/ 7234 h 589"/>
                <a:gd name="T20" fmla="*/ 5390 w 409"/>
                <a:gd name="T21" fmla="*/ 1200 h 589"/>
                <a:gd name="T22" fmla="*/ 5283 w 409"/>
                <a:gd name="T23" fmla="*/ 1093 h 589"/>
                <a:gd name="T24" fmla="*/ 5177 w 409"/>
                <a:gd name="T25" fmla="*/ 1200 h 589"/>
                <a:gd name="T26" fmla="*/ 5177 w 409"/>
                <a:gd name="T27" fmla="*/ 7234 h 589"/>
                <a:gd name="T28" fmla="*/ 4865 w 409"/>
                <a:gd name="T29" fmla="*/ 7545 h 589"/>
                <a:gd name="T30" fmla="*/ 524 w 409"/>
                <a:gd name="T31" fmla="*/ 7545 h 589"/>
                <a:gd name="T32" fmla="*/ 213 w 409"/>
                <a:gd name="T33" fmla="*/ 7234 h 589"/>
                <a:gd name="T34" fmla="*/ 213 w 409"/>
                <a:gd name="T35" fmla="*/ 524 h 589"/>
                <a:gd name="T36" fmla="*/ 524 w 409"/>
                <a:gd name="T37" fmla="*/ 213 h 589"/>
                <a:gd name="T38" fmla="*/ 4865 w 409"/>
                <a:gd name="T39" fmla="*/ 213 h 589"/>
                <a:gd name="T40" fmla="*/ 5177 w 409"/>
                <a:gd name="T41" fmla="*/ 524 h 589"/>
                <a:gd name="T42" fmla="*/ 5177 w 409"/>
                <a:gd name="T43" fmla="*/ 775 h 589"/>
                <a:gd name="T44" fmla="*/ 5283 w 409"/>
                <a:gd name="T45" fmla="*/ 881 h 589"/>
                <a:gd name="T46" fmla="*/ 1094 w 409"/>
                <a:gd name="T47" fmla="*/ 4199 h 589"/>
                <a:gd name="T48" fmla="*/ 987 w 409"/>
                <a:gd name="T49" fmla="*/ 4305 h 589"/>
                <a:gd name="T50" fmla="*/ 1094 w 409"/>
                <a:gd name="T51" fmla="*/ 4412 h 589"/>
                <a:gd name="T52" fmla="*/ 2052 w 409"/>
                <a:gd name="T53" fmla="*/ 4412 h 589"/>
                <a:gd name="T54" fmla="*/ 2147 w 409"/>
                <a:gd name="T55" fmla="*/ 4362 h 589"/>
                <a:gd name="T56" fmla="*/ 2688 w 409"/>
                <a:gd name="T57" fmla="*/ 3580 h 589"/>
                <a:gd name="T58" fmla="*/ 3240 w 409"/>
                <a:gd name="T59" fmla="*/ 4362 h 589"/>
                <a:gd name="T60" fmla="*/ 3318 w 409"/>
                <a:gd name="T61" fmla="*/ 4412 h 589"/>
                <a:gd name="T62" fmla="*/ 4296 w 409"/>
                <a:gd name="T63" fmla="*/ 4412 h 589"/>
                <a:gd name="T64" fmla="*/ 4403 w 409"/>
                <a:gd name="T65" fmla="*/ 4305 h 589"/>
                <a:gd name="T66" fmla="*/ 4296 w 409"/>
                <a:gd name="T67" fmla="*/ 4199 h 589"/>
                <a:gd name="T68" fmla="*/ 4296 w 409"/>
                <a:gd name="T69" fmla="*/ 4199 h 589"/>
                <a:gd name="T70" fmla="*/ 3387 w 409"/>
                <a:gd name="T71" fmla="*/ 4199 h 589"/>
                <a:gd name="T72" fmla="*/ 2818 w 409"/>
                <a:gd name="T73" fmla="*/ 3413 h 589"/>
                <a:gd name="T74" fmla="*/ 4384 w 409"/>
                <a:gd name="T75" fmla="*/ 1200 h 589"/>
                <a:gd name="T76" fmla="*/ 4362 w 409"/>
                <a:gd name="T77" fmla="*/ 1053 h 589"/>
                <a:gd name="T78" fmla="*/ 4218 w 409"/>
                <a:gd name="T79" fmla="*/ 1065 h 589"/>
                <a:gd name="T80" fmla="*/ 2688 w 409"/>
                <a:gd name="T81" fmla="*/ 3228 h 589"/>
                <a:gd name="T82" fmla="*/ 1171 w 409"/>
                <a:gd name="T83" fmla="*/ 1065 h 589"/>
                <a:gd name="T84" fmla="*/ 1027 w 409"/>
                <a:gd name="T85" fmla="*/ 1053 h 589"/>
                <a:gd name="T86" fmla="*/ 1004 w 409"/>
                <a:gd name="T87" fmla="*/ 1200 h 589"/>
                <a:gd name="T88" fmla="*/ 2572 w 409"/>
                <a:gd name="T89" fmla="*/ 3413 h 589"/>
                <a:gd name="T90" fmla="*/ 2003 w 409"/>
                <a:gd name="T91" fmla="*/ 4199 h 589"/>
                <a:gd name="T92" fmla="*/ 1094 w 409"/>
                <a:gd name="T93" fmla="*/ 4199 h 589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09"/>
                <a:gd name="T142" fmla="*/ 0 h 589"/>
                <a:gd name="T143" fmla="*/ 409 w 409"/>
                <a:gd name="T144" fmla="*/ 589 h 589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09" h="589">
                  <a:moveTo>
                    <a:pt x="401" y="67"/>
                  </a:moveTo>
                  <a:cubicBezTo>
                    <a:pt x="405" y="67"/>
                    <a:pt x="409" y="64"/>
                    <a:pt x="409" y="59"/>
                  </a:cubicBezTo>
                  <a:cubicBezTo>
                    <a:pt x="409" y="40"/>
                    <a:pt x="409" y="40"/>
                    <a:pt x="409" y="40"/>
                  </a:cubicBezTo>
                  <a:cubicBezTo>
                    <a:pt x="409" y="18"/>
                    <a:pt x="391" y="0"/>
                    <a:pt x="369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549"/>
                    <a:pt x="0" y="549"/>
                    <a:pt x="0" y="549"/>
                  </a:cubicBezTo>
                  <a:cubicBezTo>
                    <a:pt x="0" y="571"/>
                    <a:pt x="18" y="589"/>
                    <a:pt x="40" y="589"/>
                  </a:cubicBezTo>
                  <a:cubicBezTo>
                    <a:pt x="369" y="589"/>
                    <a:pt x="369" y="589"/>
                    <a:pt x="369" y="589"/>
                  </a:cubicBezTo>
                  <a:cubicBezTo>
                    <a:pt x="391" y="589"/>
                    <a:pt x="409" y="571"/>
                    <a:pt x="409" y="549"/>
                  </a:cubicBezTo>
                  <a:cubicBezTo>
                    <a:pt x="409" y="91"/>
                    <a:pt x="409" y="91"/>
                    <a:pt x="409" y="91"/>
                  </a:cubicBezTo>
                  <a:cubicBezTo>
                    <a:pt x="409" y="87"/>
                    <a:pt x="405" y="83"/>
                    <a:pt x="401" y="83"/>
                  </a:cubicBezTo>
                  <a:cubicBezTo>
                    <a:pt x="397" y="83"/>
                    <a:pt x="393" y="87"/>
                    <a:pt x="393" y="91"/>
                  </a:cubicBezTo>
                  <a:cubicBezTo>
                    <a:pt x="393" y="549"/>
                    <a:pt x="393" y="549"/>
                    <a:pt x="393" y="549"/>
                  </a:cubicBezTo>
                  <a:cubicBezTo>
                    <a:pt x="393" y="562"/>
                    <a:pt x="382" y="573"/>
                    <a:pt x="369" y="573"/>
                  </a:cubicBezTo>
                  <a:cubicBezTo>
                    <a:pt x="40" y="573"/>
                    <a:pt x="40" y="573"/>
                    <a:pt x="40" y="573"/>
                  </a:cubicBezTo>
                  <a:cubicBezTo>
                    <a:pt x="26" y="573"/>
                    <a:pt x="16" y="562"/>
                    <a:pt x="16" y="549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27"/>
                    <a:pt x="26" y="16"/>
                    <a:pt x="40" y="16"/>
                  </a:cubicBezTo>
                  <a:cubicBezTo>
                    <a:pt x="369" y="16"/>
                    <a:pt x="369" y="16"/>
                    <a:pt x="369" y="16"/>
                  </a:cubicBezTo>
                  <a:cubicBezTo>
                    <a:pt x="382" y="16"/>
                    <a:pt x="393" y="27"/>
                    <a:pt x="393" y="40"/>
                  </a:cubicBezTo>
                  <a:cubicBezTo>
                    <a:pt x="393" y="59"/>
                    <a:pt x="393" y="59"/>
                    <a:pt x="393" y="59"/>
                  </a:cubicBezTo>
                  <a:cubicBezTo>
                    <a:pt x="393" y="64"/>
                    <a:pt x="397" y="67"/>
                    <a:pt x="401" y="67"/>
                  </a:cubicBezTo>
                  <a:close/>
                  <a:moveTo>
                    <a:pt x="83" y="319"/>
                  </a:moveTo>
                  <a:cubicBezTo>
                    <a:pt x="78" y="319"/>
                    <a:pt x="75" y="322"/>
                    <a:pt x="75" y="327"/>
                  </a:cubicBezTo>
                  <a:cubicBezTo>
                    <a:pt x="75" y="331"/>
                    <a:pt x="78" y="335"/>
                    <a:pt x="83" y="335"/>
                  </a:cubicBezTo>
                  <a:cubicBezTo>
                    <a:pt x="156" y="335"/>
                    <a:pt x="156" y="335"/>
                    <a:pt x="156" y="335"/>
                  </a:cubicBezTo>
                  <a:cubicBezTo>
                    <a:pt x="159" y="335"/>
                    <a:pt x="161" y="333"/>
                    <a:pt x="163" y="331"/>
                  </a:cubicBezTo>
                  <a:cubicBezTo>
                    <a:pt x="204" y="272"/>
                    <a:pt x="204" y="272"/>
                    <a:pt x="204" y="272"/>
                  </a:cubicBezTo>
                  <a:cubicBezTo>
                    <a:pt x="246" y="331"/>
                    <a:pt x="246" y="331"/>
                    <a:pt x="246" y="331"/>
                  </a:cubicBezTo>
                  <a:cubicBezTo>
                    <a:pt x="247" y="333"/>
                    <a:pt x="250" y="335"/>
                    <a:pt x="252" y="335"/>
                  </a:cubicBezTo>
                  <a:cubicBezTo>
                    <a:pt x="326" y="335"/>
                    <a:pt x="326" y="335"/>
                    <a:pt x="326" y="335"/>
                  </a:cubicBezTo>
                  <a:cubicBezTo>
                    <a:pt x="331" y="335"/>
                    <a:pt x="334" y="331"/>
                    <a:pt x="334" y="327"/>
                  </a:cubicBezTo>
                  <a:cubicBezTo>
                    <a:pt x="334" y="322"/>
                    <a:pt x="331" y="319"/>
                    <a:pt x="326" y="319"/>
                  </a:cubicBezTo>
                  <a:cubicBezTo>
                    <a:pt x="326" y="319"/>
                    <a:pt x="326" y="319"/>
                    <a:pt x="326" y="319"/>
                  </a:cubicBezTo>
                  <a:cubicBezTo>
                    <a:pt x="257" y="319"/>
                    <a:pt x="257" y="319"/>
                    <a:pt x="257" y="319"/>
                  </a:cubicBezTo>
                  <a:cubicBezTo>
                    <a:pt x="214" y="259"/>
                    <a:pt x="214" y="259"/>
                    <a:pt x="214" y="259"/>
                  </a:cubicBezTo>
                  <a:cubicBezTo>
                    <a:pt x="333" y="91"/>
                    <a:pt x="333" y="91"/>
                    <a:pt x="333" y="91"/>
                  </a:cubicBezTo>
                  <a:cubicBezTo>
                    <a:pt x="335" y="87"/>
                    <a:pt x="334" y="82"/>
                    <a:pt x="331" y="80"/>
                  </a:cubicBezTo>
                  <a:cubicBezTo>
                    <a:pt x="327" y="77"/>
                    <a:pt x="322" y="78"/>
                    <a:pt x="320" y="81"/>
                  </a:cubicBezTo>
                  <a:cubicBezTo>
                    <a:pt x="204" y="245"/>
                    <a:pt x="204" y="245"/>
                    <a:pt x="204" y="245"/>
                  </a:cubicBezTo>
                  <a:cubicBezTo>
                    <a:pt x="89" y="81"/>
                    <a:pt x="89" y="81"/>
                    <a:pt x="89" y="81"/>
                  </a:cubicBezTo>
                  <a:cubicBezTo>
                    <a:pt x="87" y="78"/>
                    <a:pt x="82" y="77"/>
                    <a:pt x="78" y="80"/>
                  </a:cubicBezTo>
                  <a:cubicBezTo>
                    <a:pt x="74" y="82"/>
                    <a:pt x="74" y="87"/>
                    <a:pt x="76" y="91"/>
                  </a:cubicBezTo>
                  <a:cubicBezTo>
                    <a:pt x="195" y="259"/>
                    <a:pt x="195" y="259"/>
                    <a:pt x="195" y="259"/>
                  </a:cubicBezTo>
                  <a:cubicBezTo>
                    <a:pt x="152" y="319"/>
                    <a:pt x="152" y="319"/>
                    <a:pt x="152" y="319"/>
                  </a:cubicBezTo>
                  <a:lnTo>
                    <a:pt x="83" y="319"/>
                  </a:lnTo>
                  <a:close/>
                </a:path>
              </a:pathLst>
            </a:custGeom>
            <a:solidFill>
              <a:srgbClr val="E321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209" name="Text Box 14"/>
            <p:cNvSpPr txBox="1">
              <a:spLocks noChangeAspect="1" noChangeArrowheads="1"/>
            </p:cNvSpPr>
            <p:nvPr/>
          </p:nvSpPr>
          <p:spPr bwMode="auto">
            <a:xfrm>
              <a:off x="1860" y="1731"/>
              <a:ext cx="818" cy="4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lnSpc>
                  <a:spcPct val="80000"/>
                </a:lnSpc>
              </a:pPr>
              <a:r>
                <a:rPr lang="en-US" sz="1200">
                  <a:solidFill>
                    <a:srgbClr val="E32119"/>
                  </a:solidFill>
                </a:rPr>
                <a:t>D</a:t>
              </a:r>
              <a:endParaRPr lang="sv-SE" sz="1200">
                <a:solidFill>
                  <a:srgbClr val="E32119"/>
                </a:solidFill>
              </a:endParaRPr>
            </a:p>
          </p:txBody>
        </p:sp>
      </p:grpSp>
      <p:sp>
        <p:nvSpPr>
          <p:cNvPr id="210" name="Rectangle 99"/>
          <p:cNvSpPr>
            <a:spLocks noChangeAspect="1" noChangeArrowheads="1"/>
          </p:cNvSpPr>
          <p:nvPr/>
        </p:nvSpPr>
        <p:spPr bwMode="auto">
          <a:xfrm>
            <a:off x="1415256" y="2792299"/>
            <a:ext cx="333375" cy="414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rIns="0" anchor="ctr"/>
          <a:lstStyle/>
          <a:p>
            <a:pPr algn="ctr">
              <a:spcBef>
                <a:spcPct val="50000"/>
              </a:spcBef>
            </a:pPr>
            <a:endParaRPr lang="sv-SE" sz="1200"/>
          </a:p>
        </p:txBody>
      </p:sp>
      <p:sp>
        <p:nvSpPr>
          <p:cNvPr id="211" name="Freeform 4"/>
          <p:cNvSpPr>
            <a:spLocks noChangeAspect="1"/>
          </p:cNvSpPr>
          <p:nvPr/>
        </p:nvSpPr>
        <p:spPr bwMode="auto">
          <a:xfrm>
            <a:off x="1920081" y="2798649"/>
            <a:ext cx="303213" cy="379412"/>
          </a:xfrm>
          <a:custGeom>
            <a:avLst/>
            <a:gdLst>
              <a:gd name="T0" fmla="*/ 552404708 w 393"/>
              <a:gd name="T1" fmla="*/ 85935163 h 573"/>
              <a:gd name="T2" fmla="*/ 552404708 w 393"/>
              <a:gd name="T3" fmla="*/ 559892925 h 573"/>
              <a:gd name="T4" fmla="*/ 507164248 w 393"/>
              <a:gd name="T5" fmla="*/ 593214304 h 573"/>
              <a:gd name="T6" fmla="*/ 45239688 w 393"/>
              <a:gd name="T7" fmla="*/ 593214304 h 573"/>
              <a:gd name="T8" fmla="*/ 0 w 393"/>
              <a:gd name="T9" fmla="*/ 559892925 h 573"/>
              <a:gd name="T10" fmla="*/ 0 w 393"/>
              <a:gd name="T11" fmla="*/ 33322041 h 573"/>
              <a:gd name="T12" fmla="*/ 45239688 w 393"/>
              <a:gd name="T13" fmla="*/ 0 h 573"/>
              <a:gd name="T14" fmla="*/ 507164248 w 393"/>
              <a:gd name="T15" fmla="*/ 0 h 573"/>
              <a:gd name="T16" fmla="*/ 552404708 w 393"/>
              <a:gd name="T17" fmla="*/ 33322041 h 573"/>
              <a:gd name="T18" fmla="*/ 552404708 w 393"/>
              <a:gd name="T19" fmla="*/ 52613122 h 57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93"/>
              <a:gd name="T31" fmla="*/ 0 h 573"/>
              <a:gd name="T32" fmla="*/ 393 w 393"/>
              <a:gd name="T33" fmla="*/ 573 h 573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93" h="573">
                <a:moveTo>
                  <a:pt x="393" y="83"/>
                </a:moveTo>
                <a:cubicBezTo>
                  <a:pt x="393" y="541"/>
                  <a:pt x="393" y="541"/>
                  <a:pt x="393" y="541"/>
                </a:cubicBezTo>
                <a:cubicBezTo>
                  <a:pt x="393" y="559"/>
                  <a:pt x="379" y="573"/>
                  <a:pt x="361" y="573"/>
                </a:cubicBezTo>
                <a:cubicBezTo>
                  <a:pt x="32" y="573"/>
                  <a:pt x="32" y="573"/>
                  <a:pt x="32" y="573"/>
                </a:cubicBezTo>
                <a:cubicBezTo>
                  <a:pt x="14" y="573"/>
                  <a:pt x="0" y="559"/>
                  <a:pt x="0" y="541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14"/>
                  <a:pt x="14" y="0"/>
                  <a:pt x="32" y="0"/>
                </a:cubicBezTo>
                <a:cubicBezTo>
                  <a:pt x="361" y="0"/>
                  <a:pt x="361" y="0"/>
                  <a:pt x="361" y="0"/>
                </a:cubicBezTo>
                <a:cubicBezTo>
                  <a:pt x="379" y="0"/>
                  <a:pt x="393" y="14"/>
                  <a:pt x="393" y="32"/>
                </a:cubicBezTo>
                <a:cubicBezTo>
                  <a:pt x="393" y="51"/>
                  <a:pt x="393" y="51"/>
                  <a:pt x="393" y="51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/>
          </a:p>
        </p:txBody>
      </p:sp>
      <p:sp>
        <p:nvSpPr>
          <p:cNvPr id="212" name="Freeform 5"/>
          <p:cNvSpPr>
            <a:spLocks noChangeAspect="1" noEditPoints="1"/>
          </p:cNvSpPr>
          <p:nvPr/>
        </p:nvSpPr>
        <p:spPr bwMode="auto">
          <a:xfrm>
            <a:off x="1913731" y="2792299"/>
            <a:ext cx="315913" cy="392112"/>
          </a:xfrm>
          <a:custGeom>
            <a:avLst/>
            <a:gdLst>
              <a:gd name="T0" fmla="*/ 576320318 w 409"/>
              <a:gd name="T1" fmla="*/ 61603525 h 589"/>
              <a:gd name="T2" fmla="*/ 520239967 w 409"/>
              <a:gd name="T3" fmla="*/ 0 h 589"/>
              <a:gd name="T4" fmla="*/ 0 w 409"/>
              <a:gd name="T5" fmla="*/ 41659736 h 589"/>
              <a:gd name="T6" fmla="*/ 56081123 w 409"/>
              <a:gd name="T7" fmla="*/ 616478620 h 589"/>
              <a:gd name="T8" fmla="*/ 576320318 w 409"/>
              <a:gd name="T9" fmla="*/ 574818217 h 589"/>
              <a:gd name="T10" fmla="*/ 564985297 w 409"/>
              <a:gd name="T11" fmla="*/ 86865124 h 589"/>
              <a:gd name="T12" fmla="*/ 553649505 w 409"/>
              <a:gd name="T13" fmla="*/ 574818217 h 589"/>
              <a:gd name="T14" fmla="*/ 56081123 w 409"/>
              <a:gd name="T15" fmla="*/ 599637110 h 589"/>
              <a:gd name="T16" fmla="*/ 22670813 w 409"/>
              <a:gd name="T17" fmla="*/ 41659736 h 589"/>
              <a:gd name="T18" fmla="*/ 520239967 w 409"/>
              <a:gd name="T19" fmla="*/ 16841510 h 589"/>
              <a:gd name="T20" fmla="*/ 553649505 w 409"/>
              <a:gd name="T21" fmla="*/ 61603525 h 589"/>
              <a:gd name="T22" fmla="*/ 112758541 w 409"/>
              <a:gd name="T23" fmla="*/ 331949770 h 589"/>
              <a:gd name="T24" fmla="*/ 287563477 w 409"/>
              <a:gd name="T25" fmla="*/ 350564105 h 589"/>
              <a:gd name="T26" fmla="*/ 449243734 w 409"/>
              <a:gd name="T27" fmla="*/ 336824874 h 589"/>
              <a:gd name="T28" fmla="*/ 470721184 w 409"/>
              <a:gd name="T29" fmla="*/ 321313482 h 589"/>
              <a:gd name="T30" fmla="*/ 470721184 w 409"/>
              <a:gd name="T31" fmla="*/ 109025111 h 589"/>
              <a:gd name="T32" fmla="*/ 436715351 w 409"/>
              <a:gd name="T33" fmla="*/ 89968068 h 589"/>
              <a:gd name="T34" fmla="*/ 164663279 w 409"/>
              <a:gd name="T35" fmla="*/ 85979044 h 589"/>
              <a:gd name="T36" fmla="*/ 112758541 w 409"/>
              <a:gd name="T37" fmla="*/ 98388157 h 589"/>
              <a:gd name="T38" fmla="*/ 105599134 w 409"/>
              <a:gd name="T39" fmla="*/ 109911190 h 589"/>
              <a:gd name="T40" fmla="*/ 112758541 w 409"/>
              <a:gd name="T41" fmla="*/ 331949770 h 589"/>
              <a:gd name="T42" fmla="*/ 287563477 w 409"/>
              <a:gd name="T43" fmla="*/ 96172625 h 589"/>
              <a:gd name="T44" fmla="*/ 440890963 w 409"/>
              <a:gd name="T45" fmla="*/ 109025111 h 589"/>
              <a:gd name="T46" fmla="*/ 431345602 w 409"/>
              <a:gd name="T47" fmla="*/ 113013469 h 589"/>
              <a:gd name="T48" fmla="*/ 168838892 w 409"/>
              <a:gd name="T49" fmla="*/ 116115747 h 589"/>
              <a:gd name="T50" fmla="*/ 132446332 w 409"/>
              <a:gd name="T51" fmla="*/ 109911190 h 589"/>
              <a:gd name="T52" fmla="*/ 128269947 w 409"/>
              <a:gd name="T53" fmla="*/ 126752700 h 589"/>
              <a:gd name="T54" fmla="*/ 287563477 w 409"/>
              <a:gd name="T55" fmla="*/ 139161814 h 589"/>
              <a:gd name="T56" fmla="*/ 448050371 w 409"/>
              <a:gd name="T57" fmla="*/ 126752700 h 589"/>
              <a:gd name="T58" fmla="*/ 431345602 w 409"/>
              <a:gd name="T59" fmla="*/ 324415761 h 589"/>
              <a:gd name="T60" fmla="*/ 168838892 w 409"/>
              <a:gd name="T61" fmla="*/ 327518039 h 589"/>
              <a:gd name="T62" fmla="*/ 128269947 w 409"/>
              <a:gd name="T63" fmla="*/ 319097284 h 58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409"/>
              <a:gd name="T97" fmla="*/ 0 h 589"/>
              <a:gd name="T98" fmla="*/ 409 w 409"/>
              <a:gd name="T99" fmla="*/ 589 h 589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409" h="589">
                <a:moveTo>
                  <a:pt x="401" y="67"/>
                </a:moveTo>
                <a:cubicBezTo>
                  <a:pt x="405" y="67"/>
                  <a:pt x="409" y="64"/>
                  <a:pt x="409" y="59"/>
                </a:cubicBezTo>
                <a:cubicBezTo>
                  <a:pt x="409" y="40"/>
                  <a:pt x="409" y="40"/>
                  <a:pt x="409" y="40"/>
                </a:cubicBezTo>
                <a:cubicBezTo>
                  <a:pt x="409" y="18"/>
                  <a:pt x="391" y="0"/>
                  <a:pt x="369" y="0"/>
                </a:cubicBezTo>
                <a:cubicBezTo>
                  <a:pt x="40" y="0"/>
                  <a:pt x="40" y="0"/>
                  <a:pt x="40" y="0"/>
                </a:cubicBezTo>
                <a:cubicBezTo>
                  <a:pt x="18" y="0"/>
                  <a:pt x="0" y="18"/>
                  <a:pt x="0" y="40"/>
                </a:cubicBezTo>
                <a:cubicBezTo>
                  <a:pt x="0" y="549"/>
                  <a:pt x="0" y="549"/>
                  <a:pt x="0" y="549"/>
                </a:cubicBezTo>
                <a:cubicBezTo>
                  <a:pt x="0" y="571"/>
                  <a:pt x="18" y="589"/>
                  <a:pt x="40" y="589"/>
                </a:cubicBezTo>
                <a:cubicBezTo>
                  <a:pt x="369" y="589"/>
                  <a:pt x="369" y="589"/>
                  <a:pt x="369" y="589"/>
                </a:cubicBezTo>
                <a:cubicBezTo>
                  <a:pt x="391" y="589"/>
                  <a:pt x="409" y="571"/>
                  <a:pt x="409" y="549"/>
                </a:cubicBezTo>
                <a:cubicBezTo>
                  <a:pt x="409" y="91"/>
                  <a:pt x="409" y="91"/>
                  <a:pt x="409" y="91"/>
                </a:cubicBezTo>
                <a:cubicBezTo>
                  <a:pt x="409" y="87"/>
                  <a:pt x="405" y="83"/>
                  <a:pt x="401" y="83"/>
                </a:cubicBezTo>
                <a:cubicBezTo>
                  <a:pt x="397" y="83"/>
                  <a:pt x="393" y="87"/>
                  <a:pt x="393" y="91"/>
                </a:cubicBezTo>
                <a:cubicBezTo>
                  <a:pt x="393" y="549"/>
                  <a:pt x="393" y="549"/>
                  <a:pt x="393" y="549"/>
                </a:cubicBezTo>
                <a:cubicBezTo>
                  <a:pt x="393" y="562"/>
                  <a:pt x="382" y="573"/>
                  <a:pt x="369" y="573"/>
                </a:cubicBezTo>
                <a:cubicBezTo>
                  <a:pt x="40" y="573"/>
                  <a:pt x="40" y="573"/>
                  <a:pt x="40" y="573"/>
                </a:cubicBezTo>
                <a:cubicBezTo>
                  <a:pt x="26" y="573"/>
                  <a:pt x="16" y="562"/>
                  <a:pt x="16" y="549"/>
                </a:cubicBezTo>
                <a:cubicBezTo>
                  <a:pt x="16" y="40"/>
                  <a:pt x="16" y="40"/>
                  <a:pt x="16" y="40"/>
                </a:cubicBezTo>
                <a:cubicBezTo>
                  <a:pt x="16" y="27"/>
                  <a:pt x="26" y="16"/>
                  <a:pt x="40" y="16"/>
                </a:cubicBezTo>
                <a:cubicBezTo>
                  <a:pt x="369" y="16"/>
                  <a:pt x="369" y="16"/>
                  <a:pt x="369" y="16"/>
                </a:cubicBezTo>
                <a:cubicBezTo>
                  <a:pt x="382" y="16"/>
                  <a:pt x="393" y="27"/>
                  <a:pt x="393" y="40"/>
                </a:cubicBezTo>
                <a:cubicBezTo>
                  <a:pt x="393" y="59"/>
                  <a:pt x="393" y="59"/>
                  <a:pt x="393" y="59"/>
                </a:cubicBezTo>
                <a:cubicBezTo>
                  <a:pt x="393" y="64"/>
                  <a:pt x="397" y="67"/>
                  <a:pt x="401" y="67"/>
                </a:cubicBezTo>
                <a:close/>
                <a:moveTo>
                  <a:pt x="80" y="317"/>
                </a:moveTo>
                <a:cubicBezTo>
                  <a:pt x="85" y="321"/>
                  <a:pt x="91" y="323"/>
                  <a:pt x="98" y="325"/>
                </a:cubicBezTo>
                <a:cubicBezTo>
                  <a:pt x="121" y="331"/>
                  <a:pt x="160" y="335"/>
                  <a:pt x="204" y="335"/>
                </a:cubicBezTo>
                <a:cubicBezTo>
                  <a:pt x="238" y="335"/>
                  <a:pt x="269" y="333"/>
                  <a:pt x="292" y="329"/>
                </a:cubicBezTo>
                <a:cubicBezTo>
                  <a:pt x="303" y="327"/>
                  <a:pt x="312" y="325"/>
                  <a:pt x="319" y="322"/>
                </a:cubicBezTo>
                <a:cubicBezTo>
                  <a:pt x="323" y="321"/>
                  <a:pt x="326" y="319"/>
                  <a:pt x="328" y="317"/>
                </a:cubicBezTo>
                <a:cubicBezTo>
                  <a:pt x="331" y="315"/>
                  <a:pt x="334" y="311"/>
                  <a:pt x="334" y="307"/>
                </a:cubicBezTo>
                <a:cubicBezTo>
                  <a:pt x="334" y="105"/>
                  <a:pt x="334" y="105"/>
                  <a:pt x="334" y="105"/>
                </a:cubicBezTo>
                <a:cubicBezTo>
                  <a:pt x="334" y="105"/>
                  <a:pt x="334" y="104"/>
                  <a:pt x="334" y="104"/>
                </a:cubicBezTo>
                <a:cubicBezTo>
                  <a:pt x="334" y="100"/>
                  <a:pt x="331" y="96"/>
                  <a:pt x="328" y="94"/>
                </a:cubicBezTo>
                <a:cubicBezTo>
                  <a:pt x="324" y="91"/>
                  <a:pt x="318" y="88"/>
                  <a:pt x="310" y="86"/>
                </a:cubicBezTo>
                <a:cubicBezTo>
                  <a:pt x="288" y="80"/>
                  <a:pt x="249" y="76"/>
                  <a:pt x="204" y="76"/>
                </a:cubicBezTo>
                <a:cubicBezTo>
                  <a:pt x="171" y="76"/>
                  <a:pt x="140" y="78"/>
                  <a:pt x="117" y="82"/>
                </a:cubicBezTo>
                <a:cubicBezTo>
                  <a:pt x="106" y="84"/>
                  <a:pt x="97" y="86"/>
                  <a:pt x="90" y="89"/>
                </a:cubicBezTo>
                <a:cubicBezTo>
                  <a:pt x="86" y="91"/>
                  <a:pt x="83" y="92"/>
                  <a:pt x="80" y="94"/>
                </a:cubicBezTo>
                <a:cubicBezTo>
                  <a:pt x="78" y="96"/>
                  <a:pt x="75" y="100"/>
                  <a:pt x="75" y="105"/>
                </a:cubicBezTo>
                <a:cubicBezTo>
                  <a:pt x="75" y="105"/>
                  <a:pt x="75" y="105"/>
                  <a:pt x="75" y="105"/>
                </a:cubicBezTo>
                <a:cubicBezTo>
                  <a:pt x="75" y="307"/>
                  <a:pt x="75" y="307"/>
                  <a:pt x="75" y="307"/>
                </a:cubicBezTo>
                <a:cubicBezTo>
                  <a:pt x="75" y="311"/>
                  <a:pt x="78" y="315"/>
                  <a:pt x="80" y="317"/>
                </a:cubicBezTo>
                <a:close/>
                <a:moveTo>
                  <a:pt x="103" y="102"/>
                </a:moveTo>
                <a:cubicBezTo>
                  <a:pt x="122" y="96"/>
                  <a:pt x="161" y="92"/>
                  <a:pt x="204" y="92"/>
                </a:cubicBezTo>
                <a:cubicBezTo>
                  <a:pt x="238" y="92"/>
                  <a:pt x="268" y="94"/>
                  <a:pt x="289" y="98"/>
                </a:cubicBezTo>
                <a:cubicBezTo>
                  <a:pt x="299" y="100"/>
                  <a:pt x="308" y="102"/>
                  <a:pt x="313" y="104"/>
                </a:cubicBezTo>
                <a:cubicBezTo>
                  <a:pt x="314" y="104"/>
                  <a:pt x="314" y="104"/>
                  <a:pt x="315" y="105"/>
                </a:cubicBezTo>
                <a:cubicBezTo>
                  <a:pt x="313" y="106"/>
                  <a:pt x="310" y="107"/>
                  <a:pt x="306" y="108"/>
                </a:cubicBezTo>
                <a:cubicBezTo>
                  <a:pt x="286" y="113"/>
                  <a:pt x="248" y="117"/>
                  <a:pt x="204" y="117"/>
                </a:cubicBezTo>
                <a:cubicBezTo>
                  <a:pt x="171" y="117"/>
                  <a:pt x="141" y="115"/>
                  <a:pt x="120" y="111"/>
                </a:cubicBezTo>
                <a:cubicBezTo>
                  <a:pt x="109" y="110"/>
                  <a:pt x="101" y="107"/>
                  <a:pt x="96" y="105"/>
                </a:cubicBezTo>
                <a:cubicBezTo>
                  <a:pt x="95" y="105"/>
                  <a:pt x="95" y="105"/>
                  <a:pt x="94" y="105"/>
                </a:cubicBezTo>
                <a:cubicBezTo>
                  <a:pt x="96" y="104"/>
                  <a:pt x="99" y="103"/>
                  <a:pt x="103" y="102"/>
                </a:cubicBezTo>
                <a:close/>
                <a:moveTo>
                  <a:pt x="91" y="121"/>
                </a:moveTo>
                <a:cubicBezTo>
                  <a:pt x="93" y="121"/>
                  <a:pt x="96" y="122"/>
                  <a:pt x="98" y="123"/>
                </a:cubicBezTo>
                <a:cubicBezTo>
                  <a:pt x="121" y="129"/>
                  <a:pt x="160" y="133"/>
                  <a:pt x="204" y="133"/>
                </a:cubicBezTo>
                <a:cubicBezTo>
                  <a:pt x="238" y="133"/>
                  <a:pt x="269" y="131"/>
                  <a:pt x="292" y="127"/>
                </a:cubicBezTo>
                <a:cubicBezTo>
                  <a:pt x="302" y="125"/>
                  <a:pt x="311" y="123"/>
                  <a:pt x="318" y="121"/>
                </a:cubicBezTo>
                <a:cubicBezTo>
                  <a:pt x="318" y="305"/>
                  <a:pt x="318" y="305"/>
                  <a:pt x="318" y="305"/>
                </a:cubicBezTo>
                <a:cubicBezTo>
                  <a:pt x="316" y="306"/>
                  <a:pt x="312" y="308"/>
                  <a:pt x="306" y="310"/>
                </a:cubicBezTo>
                <a:cubicBezTo>
                  <a:pt x="286" y="315"/>
                  <a:pt x="248" y="319"/>
                  <a:pt x="204" y="319"/>
                </a:cubicBezTo>
                <a:cubicBezTo>
                  <a:pt x="171" y="319"/>
                  <a:pt x="141" y="317"/>
                  <a:pt x="120" y="313"/>
                </a:cubicBezTo>
                <a:cubicBezTo>
                  <a:pt x="109" y="312"/>
                  <a:pt x="101" y="309"/>
                  <a:pt x="96" y="307"/>
                </a:cubicBezTo>
                <a:cubicBezTo>
                  <a:pt x="93" y="306"/>
                  <a:pt x="92" y="306"/>
                  <a:pt x="91" y="305"/>
                </a:cubicBezTo>
                <a:lnTo>
                  <a:pt x="91" y="12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/>
          </a:p>
        </p:txBody>
      </p:sp>
      <p:sp>
        <p:nvSpPr>
          <p:cNvPr id="213" name="Text Box 6"/>
          <p:cNvSpPr txBox="1">
            <a:spLocks noChangeAspect="1" noChangeArrowheads="1"/>
          </p:cNvSpPr>
          <p:nvPr/>
        </p:nvSpPr>
        <p:spPr bwMode="auto">
          <a:xfrm>
            <a:off x="1937544" y="3035933"/>
            <a:ext cx="268287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en-US" sz="1200">
                <a:solidFill>
                  <a:srgbClr val="000000"/>
                </a:solidFill>
              </a:rPr>
              <a:t>E</a:t>
            </a:r>
            <a:endParaRPr lang="sv-SE" sz="1200">
              <a:solidFill>
                <a:srgbClr val="000000"/>
              </a:solidFill>
            </a:endParaRPr>
          </a:p>
        </p:txBody>
      </p:sp>
      <p:sp>
        <p:nvSpPr>
          <p:cNvPr id="214" name="Freeform 4"/>
          <p:cNvSpPr>
            <a:spLocks noChangeAspect="1"/>
          </p:cNvSpPr>
          <p:nvPr/>
        </p:nvSpPr>
        <p:spPr bwMode="auto">
          <a:xfrm>
            <a:off x="929481" y="2754199"/>
            <a:ext cx="322263" cy="379412"/>
          </a:xfrm>
          <a:custGeom>
            <a:avLst/>
            <a:gdLst>
              <a:gd name="T0" fmla="*/ 623997109 w 393"/>
              <a:gd name="T1" fmla="*/ 85935163 h 573"/>
              <a:gd name="T2" fmla="*/ 623997109 w 393"/>
              <a:gd name="T3" fmla="*/ 559892925 h 573"/>
              <a:gd name="T4" fmla="*/ 572893413 w 393"/>
              <a:gd name="T5" fmla="*/ 593214304 h 573"/>
              <a:gd name="T6" fmla="*/ 51102876 w 393"/>
              <a:gd name="T7" fmla="*/ 593214304 h 573"/>
              <a:gd name="T8" fmla="*/ 0 w 393"/>
              <a:gd name="T9" fmla="*/ 559892925 h 573"/>
              <a:gd name="T10" fmla="*/ 0 w 393"/>
              <a:gd name="T11" fmla="*/ 33322041 h 573"/>
              <a:gd name="T12" fmla="*/ 51102876 w 393"/>
              <a:gd name="T13" fmla="*/ 0 h 573"/>
              <a:gd name="T14" fmla="*/ 572893413 w 393"/>
              <a:gd name="T15" fmla="*/ 0 h 573"/>
              <a:gd name="T16" fmla="*/ 623997109 w 393"/>
              <a:gd name="T17" fmla="*/ 33322041 h 573"/>
              <a:gd name="T18" fmla="*/ 623997109 w 393"/>
              <a:gd name="T19" fmla="*/ 52613122 h 57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93"/>
              <a:gd name="T31" fmla="*/ 0 h 573"/>
              <a:gd name="T32" fmla="*/ 393 w 393"/>
              <a:gd name="T33" fmla="*/ 573 h 573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93" h="573">
                <a:moveTo>
                  <a:pt x="393" y="83"/>
                </a:moveTo>
                <a:cubicBezTo>
                  <a:pt x="393" y="541"/>
                  <a:pt x="393" y="541"/>
                  <a:pt x="393" y="541"/>
                </a:cubicBezTo>
                <a:cubicBezTo>
                  <a:pt x="393" y="559"/>
                  <a:pt x="379" y="573"/>
                  <a:pt x="361" y="573"/>
                </a:cubicBezTo>
                <a:cubicBezTo>
                  <a:pt x="32" y="573"/>
                  <a:pt x="32" y="573"/>
                  <a:pt x="32" y="573"/>
                </a:cubicBezTo>
                <a:cubicBezTo>
                  <a:pt x="14" y="573"/>
                  <a:pt x="0" y="559"/>
                  <a:pt x="0" y="541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14"/>
                  <a:pt x="14" y="0"/>
                  <a:pt x="32" y="0"/>
                </a:cubicBezTo>
                <a:cubicBezTo>
                  <a:pt x="361" y="0"/>
                  <a:pt x="361" y="0"/>
                  <a:pt x="361" y="0"/>
                </a:cubicBezTo>
                <a:cubicBezTo>
                  <a:pt x="379" y="0"/>
                  <a:pt x="393" y="14"/>
                  <a:pt x="393" y="32"/>
                </a:cubicBezTo>
                <a:cubicBezTo>
                  <a:pt x="393" y="51"/>
                  <a:pt x="393" y="51"/>
                  <a:pt x="393" y="51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/>
          </a:p>
        </p:txBody>
      </p:sp>
      <p:sp>
        <p:nvSpPr>
          <p:cNvPr id="215" name="Freeform 5"/>
          <p:cNvSpPr>
            <a:spLocks noChangeAspect="1" noEditPoints="1"/>
          </p:cNvSpPr>
          <p:nvPr/>
        </p:nvSpPr>
        <p:spPr bwMode="auto">
          <a:xfrm>
            <a:off x="923131" y="2747849"/>
            <a:ext cx="333375" cy="390525"/>
          </a:xfrm>
          <a:custGeom>
            <a:avLst/>
            <a:gdLst>
              <a:gd name="T0" fmla="*/ 629172361 w 409"/>
              <a:gd name="T1" fmla="*/ 69458418 h 589"/>
              <a:gd name="T2" fmla="*/ 641794966 w 409"/>
              <a:gd name="T3" fmla="*/ 61105559 h 589"/>
              <a:gd name="T4" fmla="*/ 641794966 w 409"/>
              <a:gd name="T5" fmla="*/ 41323380 h 589"/>
              <a:gd name="T6" fmla="*/ 579342987 w 409"/>
              <a:gd name="T7" fmla="*/ 0 h 589"/>
              <a:gd name="T8" fmla="*/ 62451978 w 409"/>
              <a:gd name="T9" fmla="*/ 0 h 589"/>
              <a:gd name="T10" fmla="*/ 0 w 409"/>
              <a:gd name="T11" fmla="*/ 41323380 h 589"/>
              <a:gd name="T12" fmla="*/ 0 w 409"/>
              <a:gd name="T13" fmla="*/ 570173793 h 589"/>
              <a:gd name="T14" fmla="*/ 62451978 w 409"/>
              <a:gd name="T15" fmla="*/ 611497173 h 589"/>
              <a:gd name="T16" fmla="*/ 579342987 w 409"/>
              <a:gd name="T17" fmla="*/ 611497173 h 589"/>
              <a:gd name="T18" fmla="*/ 641794966 w 409"/>
              <a:gd name="T19" fmla="*/ 570173793 h 589"/>
              <a:gd name="T20" fmla="*/ 641794966 w 409"/>
              <a:gd name="T21" fmla="*/ 94516332 h 589"/>
              <a:gd name="T22" fmla="*/ 629172361 w 409"/>
              <a:gd name="T23" fmla="*/ 86163473 h 589"/>
              <a:gd name="T24" fmla="*/ 616548942 w 409"/>
              <a:gd name="T25" fmla="*/ 94516332 h 589"/>
              <a:gd name="T26" fmla="*/ 616548942 w 409"/>
              <a:gd name="T27" fmla="*/ 570173793 h 589"/>
              <a:gd name="T28" fmla="*/ 579342987 w 409"/>
              <a:gd name="T29" fmla="*/ 594791455 h 589"/>
              <a:gd name="T30" fmla="*/ 62451978 w 409"/>
              <a:gd name="T31" fmla="*/ 594791455 h 589"/>
              <a:gd name="T32" fmla="*/ 25246839 w 409"/>
              <a:gd name="T33" fmla="*/ 570173793 h 589"/>
              <a:gd name="T34" fmla="*/ 25246839 w 409"/>
              <a:gd name="T35" fmla="*/ 41323380 h 589"/>
              <a:gd name="T36" fmla="*/ 62451978 w 409"/>
              <a:gd name="T37" fmla="*/ 16705055 h 589"/>
              <a:gd name="T38" fmla="*/ 579342987 w 409"/>
              <a:gd name="T39" fmla="*/ 16705055 h 589"/>
              <a:gd name="T40" fmla="*/ 616548942 w 409"/>
              <a:gd name="T41" fmla="*/ 41323380 h 589"/>
              <a:gd name="T42" fmla="*/ 616548942 w 409"/>
              <a:gd name="T43" fmla="*/ 61105559 h 589"/>
              <a:gd name="T44" fmla="*/ 629172361 w 409"/>
              <a:gd name="T45" fmla="*/ 69458418 h 589"/>
              <a:gd name="T46" fmla="*/ 320233178 w 409"/>
              <a:gd name="T47" fmla="*/ 78689793 h 589"/>
              <a:gd name="T48" fmla="*/ 308938368 w 409"/>
              <a:gd name="T49" fmla="*/ 83086349 h 589"/>
              <a:gd name="T50" fmla="*/ 117595790 w 409"/>
              <a:gd name="T51" fmla="*/ 336301035 h 589"/>
              <a:gd name="T52" fmla="*/ 119589519 w 409"/>
              <a:gd name="T53" fmla="*/ 344653894 h 589"/>
              <a:gd name="T54" fmla="*/ 130219209 w 409"/>
              <a:gd name="T55" fmla="*/ 347731019 h 589"/>
              <a:gd name="T56" fmla="*/ 511575756 w 409"/>
              <a:gd name="T57" fmla="*/ 347731019 h 589"/>
              <a:gd name="T58" fmla="*/ 522206262 w 409"/>
              <a:gd name="T59" fmla="*/ 344653894 h 589"/>
              <a:gd name="T60" fmla="*/ 522206262 w 409"/>
              <a:gd name="T61" fmla="*/ 336301035 h 589"/>
              <a:gd name="T62" fmla="*/ 332856598 w 409"/>
              <a:gd name="T63" fmla="*/ 83086349 h 589"/>
              <a:gd name="T64" fmla="*/ 320233178 w 409"/>
              <a:gd name="T65" fmla="*/ 78689793 h 589"/>
              <a:gd name="T66" fmla="*/ 150815101 w 409"/>
              <a:gd name="T67" fmla="*/ 331025964 h 589"/>
              <a:gd name="T68" fmla="*/ 320233178 w 409"/>
              <a:gd name="T69" fmla="*/ 105945653 h 589"/>
              <a:gd name="T70" fmla="*/ 490979865 w 409"/>
              <a:gd name="T71" fmla="*/ 331025964 h 589"/>
              <a:gd name="T72" fmla="*/ 150815101 w 409"/>
              <a:gd name="T73" fmla="*/ 331025964 h 58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409"/>
              <a:gd name="T112" fmla="*/ 0 h 589"/>
              <a:gd name="T113" fmla="*/ 409 w 409"/>
              <a:gd name="T114" fmla="*/ 589 h 589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409" h="589">
                <a:moveTo>
                  <a:pt x="401" y="67"/>
                </a:moveTo>
                <a:cubicBezTo>
                  <a:pt x="405" y="67"/>
                  <a:pt x="409" y="64"/>
                  <a:pt x="409" y="59"/>
                </a:cubicBezTo>
                <a:cubicBezTo>
                  <a:pt x="409" y="40"/>
                  <a:pt x="409" y="40"/>
                  <a:pt x="409" y="40"/>
                </a:cubicBezTo>
                <a:cubicBezTo>
                  <a:pt x="409" y="18"/>
                  <a:pt x="391" y="0"/>
                  <a:pt x="369" y="0"/>
                </a:cubicBezTo>
                <a:cubicBezTo>
                  <a:pt x="40" y="0"/>
                  <a:pt x="40" y="0"/>
                  <a:pt x="40" y="0"/>
                </a:cubicBezTo>
                <a:cubicBezTo>
                  <a:pt x="18" y="0"/>
                  <a:pt x="0" y="18"/>
                  <a:pt x="0" y="40"/>
                </a:cubicBezTo>
                <a:cubicBezTo>
                  <a:pt x="0" y="549"/>
                  <a:pt x="0" y="549"/>
                  <a:pt x="0" y="549"/>
                </a:cubicBezTo>
                <a:cubicBezTo>
                  <a:pt x="0" y="571"/>
                  <a:pt x="18" y="589"/>
                  <a:pt x="40" y="589"/>
                </a:cubicBezTo>
                <a:cubicBezTo>
                  <a:pt x="369" y="589"/>
                  <a:pt x="369" y="589"/>
                  <a:pt x="369" y="589"/>
                </a:cubicBezTo>
                <a:cubicBezTo>
                  <a:pt x="391" y="589"/>
                  <a:pt x="409" y="571"/>
                  <a:pt x="409" y="549"/>
                </a:cubicBezTo>
                <a:cubicBezTo>
                  <a:pt x="409" y="91"/>
                  <a:pt x="409" y="91"/>
                  <a:pt x="409" y="91"/>
                </a:cubicBezTo>
                <a:cubicBezTo>
                  <a:pt x="409" y="87"/>
                  <a:pt x="405" y="83"/>
                  <a:pt x="401" y="83"/>
                </a:cubicBezTo>
                <a:cubicBezTo>
                  <a:pt x="397" y="83"/>
                  <a:pt x="393" y="87"/>
                  <a:pt x="393" y="91"/>
                </a:cubicBezTo>
                <a:cubicBezTo>
                  <a:pt x="393" y="549"/>
                  <a:pt x="393" y="549"/>
                  <a:pt x="393" y="549"/>
                </a:cubicBezTo>
                <a:cubicBezTo>
                  <a:pt x="393" y="562"/>
                  <a:pt x="382" y="573"/>
                  <a:pt x="369" y="573"/>
                </a:cubicBezTo>
                <a:cubicBezTo>
                  <a:pt x="40" y="573"/>
                  <a:pt x="40" y="573"/>
                  <a:pt x="40" y="573"/>
                </a:cubicBezTo>
                <a:cubicBezTo>
                  <a:pt x="26" y="573"/>
                  <a:pt x="16" y="562"/>
                  <a:pt x="16" y="549"/>
                </a:cubicBezTo>
                <a:cubicBezTo>
                  <a:pt x="16" y="40"/>
                  <a:pt x="16" y="40"/>
                  <a:pt x="16" y="40"/>
                </a:cubicBezTo>
                <a:cubicBezTo>
                  <a:pt x="16" y="27"/>
                  <a:pt x="26" y="16"/>
                  <a:pt x="40" y="16"/>
                </a:cubicBezTo>
                <a:cubicBezTo>
                  <a:pt x="369" y="16"/>
                  <a:pt x="369" y="16"/>
                  <a:pt x="369" y="16"/>
                </a:cubicBezTo>
                <a:cubicBezTo>
                  <a:pt x="382" y="16"/>
                  <a:pt x="393" y="27"/>
                  <a:pt x="393" y="40"/>
                </a:cubicBezTo>
                <a:cubicBezTo>
                  <a:pt x="393" y="59"/>
                  <a:pt x="393" y="59"/>
                  <a:pt x="393" y="59"/>
                </a:cubicBezTo>
                <a:cubicBezTo>
                  <a:pt x="393" y="64"/>
                  <a:pt x="397" y="67"/>
                  <a:pt x="401" y="67"/>
                </a:cubicBezTo>
                <a:close/>
                <a:moveTo>
                  <a:pt x="204" y="76"/>
                </a:moveTo>
                <a:cubicBezTo>
                  <a:pt x="201" y="76"/>
                  <a:pt x="199" y="78"/>
                  <a:pt x="197" y="80"/>
                </a:cubicBezTo>
                <a:cubicBezTo>
                  <a:pt x="75" y="324"/>
                  <a:pt x="75" y="324"/>
                  <a:pt x="75" y="324"/>
                </a:cubicBezTo>
                <a:cubicBezTo>
                  <a:pt x="74" y="326"/>
                  <a:pt x="74" y="329"/>
                  <a:pt x="76" y="332"/>
                </a:cubicBezTo>
                <a:cubicBezTo>
                  <a:pt x="77" y="334"/>
                  <a:pt x="80" y="335"/>
                  <a:pt x="83" y="335"/>
                </a:cubicBezTo>
                <a:cubicBezTo>
                  <a:pt x="326" y="335"/>
                  <a:pt x="326" y="335"/>
                  <a:pt x="326" y="335"/>
                </a:cubicBezTo>
                <a:cubicBezTo>
                  <a:pt x="329" y="335"/>
                  <a:pt x="332" y="334"/>
                  <a:pt x="333" y="332"/>
                </a:cubicBezTo>
                <a:cubicBezTo>
                  <a:pt x="334" y="329"/>
                  <a:pt x="335" y="326"/>
                  <a:pt x="333" y="324"/>
                </a:cubicBezTo>
                <a:cubicBezTo>
                  <a:pt x="212" y="80"/>
                  <a:pt x="212" y="80"/>
                  <a:pt x="212" y="80"/>
                </a:cubicBezTo>
                <a:cubicBezTo>
                  <a:pt x="210" y="78"/>
                  <a:pt x="207" y="76"/>
                  <a:pt x="204" y="76"/>
                </a:cubicBezTo>
                <a:close/>
                <a:moveTo>
                  <a:pt x="96" y="319"/>
                </a:moveTo>
                <a:cubicBezTo>
                  <a:pt x="204" y="102"/>
                  <a:pt x="204" y="102"/>
                  <a:pt x="204" y="102"/>
                </a:cubicBezTo>
                <a:cubicBezTo>
                  <a:pt x="313" y="319"/>
                  <a:pt x="313" y="319"/>
                  <a:pt x="313" y="319"/>
                </a:cubicBezTo>
                <a:lnTo>
                  <a:pt x="96" y="319"/>
                </a:lnTo>
                <a:close/>
              </a:path>
            </a:pathLst>
          </a:cu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/>
          </a:p>
        </p:txBody>
      </p:sp>
      <p:sp>
        <p:nvSpPr>
          <p:cNvPr id="216" name="Text Box 6"/>
          <p:cNvSpPr txBox="1">
            <a:spLocks noChangeAspect="1" noChangeArrowheads="1"/>
          </p:cNvSpPr>
          <p:nvPr/>
        </p:nvSpPr>
        <p:spPr bwMode="auto">
          <a:xfrm>
            <a:off x="948531" y="2989895"/>
            <a:ext cx="279400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en-US" sz="1200">
                <a:solidFill>
                  <a:srgbClr val="00A9D4"/>
                </a:solidFill>
              </a:rPr>
              <a:t>B</a:t>
            </a:r>
            <a:endParaRPr lang="sv-SE" sz="1200">
              <a:solidFill>
                <a:srgbClr val="00A9D4"/>
              </a:solidFill>
            </a:endParaRPr>
          </a:p>
        </p:txBody>
      </p:sp>
      <p:sp>
        <p:nvSpPr>
          <p:cNvPr id="217" name="Rectangle 7"/>
          <p:cNvSpPr>
            <a:spLocks noChangeArrowheads="1"/>
          </p:cNvSpPr>
          <p:nvPr/>
        </p:nvSpPr>
        <p:spPr bwMode="auto">
          <a:xfrm>
            <a:off x="3760235" y="4013127"/>
            <a:ext cx="2947987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76213" indent="-176213" algn="l">
              <a:spcBef>
                <a:spcPct val="20000"/>
              </a:spcBef>
              <a:buClr>
                <a:srgbClr val="00A9D4"/>
              </a:buClr>
              <a:buFont typeface="Arial" pitchFamily="34" charset="0"/>
              <a:buChar char="›"/>
            </a:pPr>
            <a:r>
              <a:rPr lang="en-US" sz="1800" dirty="0"/>
              <a:t>High </a:t>
            </a:r>
            <a:r>
              <a:rPr lang="en-US" sz="1800" dirty="0" smtClean="0"/>
              <a:t>Reliability</a:t>
            </a:r>
          </a:p>
          <a:p>
            <a:pPr marL="176213" indent="-176213" algn="l">
              <a:spcBef>
                <a:spcPct val="20000"/>
              </a:spcBef>
              <a:buClr>
                <a:srgbClr val="00A9D4"/>
              </a:buClr>
              <a:buFont typeface="Arial" pitchFamily="34" charset="0"/>
              <a:buChar char="›"/>
            </a:pPr>
            <a:r>
              <a:rPr lang="en-US" sz="1800" dirty="0" smtClean="0"/>
              <a:t>High Availability</a:t>
            </a:r>
          </a:p>
          <a:p>
            <a:pPr marL="176213" indent="-176213" algn="l">
              <a:spcBef>
                <a:spcPct val="20000"/>
              </a:spcBef>
              <a:buClr>
                <a:srgbClr val="00A9D4"/>
              </a:buClr>
              <a:buFont typeface="Arial" pitchFamily="34" charset="0"/>
              <a:buChar char="›"/>
            </a:pPr>
            <a:r>
              <a:rPr lang="en-US" sz="1800" dirty="0" smtClean="0"/>
              <a:t>High Security</a:t>
            </a:r>
            <a:endParaRPr lang="en-US" sz="1800" dirty="0"/>
          </a:p>
          <a:p>
            <a:pPr marL="176213" indent="-176213" algn="l">
              <a:spcBef>
                <a:spcPct val="20000"/>
              </a:spcBef>
              <a:buClr>
                <a:srgbClr val="00A9D4"/>
              </a:buClr>
              <a:buFont typeface="Arial" pitchFamily="34" charset="0"/>
              <a:buChar char="›"/>
            </a:pPr>
            <a:r>
              <a:rPr lang="en-US" sz="1800" dirty="0"/>
              <a:t>In service upgrade</a:t>
            </a:r>
          </a:p>
          <a:p>
            <a:pPr marL="176213" indent="-176213" algn="l">
              <a:spcBef>
                <a:spcPct val="20000"/>
              </a:spcBef>
              <a:buClr>
                <a:srgbClr val="00A9D4"/>
              </a:buClr>
              <a:buFont typeface="Arial" pitchFamily="34" charset="0"/>
              <a:buChar char="›"/>
            </a:pPr>
            <a:r>
              <a:rPr lang="en-US" sz="1800" dirty="0"/>
              <a:t>Software redundancy</a:t>
            </a:r>
          </a:p>
          <a:p>
            <a:pPr marL="176213" indent="-176213" algn="l">
              <a:spcBef>
                <a:spcPct val="20000"/>
              </a:spcBef>
              <a:buClr>
                <a:srgbClr val="00A9D4"/>
              </a:buClr>
              <a:buFont typeface="Arial" pitchFamily="34" charset="0"/>
              <a:buChar char="›"/>
            </a:pPr>
            <a:r>
              <a:rPr lang="en-US" sz="1800" dirty="0"/>
              <a:t>No single point of failure</a:t>
            </a:r>
            <a:endParaRPr lang="en-US" sz="1800" b="1" dirty="0"/>
          </a:p>
        </p:txBody>
      </p:sp>
      <p:sp>
        <p:nvSpPr>
          <p:cNvPr id="218" name="Freeform 4"/>
          <p:cNvSpPr>
            <a:spLocks noChangeAspect="1"/>
          </p:cNvSpPr>
          <p:nvPr/>
        </p:nvSpPr>
        <p:spPr bwMode="auto">
          <a:xfrm>
            <a:off x="4557713" y="2055602"/>
            <a:ext cx="320675" cy="379413"/>
          </a:xfrm>
          <a:custGeom>
            <a:avLst/>
            <a:gdLst>
              <a:gd name="T0" fmla="*/ 617864024 w 393"/>
              <a:gd name="T1" fmla="*/ 85935389 h 573"/>
              <a:gd name="T2" fmla="*/ 617864024 w 393"/>
              <a:gd name="T3" fmla="*/ 559894401 h 573"/>
              <a:gd name="T4" fmla="*/ 567263467 w 393"/>
              <a:gd name="T5" fmla="*/ 593215867 h 573"/>
              <a:gd name="T6" fmla="*/ 50600557 w 393"/>
              <a:gd name="T7" fmla="*/ 593215867 h 573"/>
              <a:gd name="T8" fmla="*/ 0 w 393"/>
              <a:gd name="T9" fmla="*/ 559894401 h 573"/>
              <a:gd name="T10" fmla="*/ 0 w 393"/>
              <a:gd name="T11" fmla="*/ 33322129 h 573"/>
              <a:gd name="T12" fmla="*/ 50600557 w 393"/>
              <a:gd name="T13" fmla="*/ 0 h 573"/>
              <a:gd name="T14" fmla="*/ 567263467 w 393"/>
              <a:gd name="T15" fmla="*/ 0 h 573"/>
              <a:gd name="T16" fmla="*/ 617864024 w 393"/>
              <a:gd name="T17" fmla="*/ 33322129 h 573"/>
              <a:gd name="T18" fmla="*/ 617864024 w 393"/>
              <a:gd name="T19" fmla="*/ 52613260 h 57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93"/>
              <a:gd name="T31" fmla="*/ 0 h 573"/>
              <a:gd name="T32" fmla="*/ 393 w 393"/>
              <a:gd name="T33" fmla="*/ 573 h 573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93" h="573">
                <a:moveTo>
                  <a:pt x="393" y="83"/>
                </a:moveTo>
                <a:cubicBezTo>
                  <a:pt x="393" y="541"/>
                  <a:pt x="393" y="541"/>
                  <a:pt x="393" y="541"/>
                </a:cubicBezTo>
                <a:cubicBezTo>
                  <a:pt x="393" y="559"/>
                  <a:pt x="379" y="573"/>
                  <a:pt x="361" y="573"/>
                </a:cubicBezTo>
                <a:cubicBezTo>
                  <a:pt x="32" y="573"/>
                  <a:pt x="32" y="573"/>
                  <a:pt x="32" y="573"/>
                </a:cubicBezTo>
                <a:cubicBezTo>
                  <a:pt x="14" y="573"/>
                  <a:pt x="0" y="559"/>
                  <a:pt x="0" y="541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14"/>
                  <a:pt x="14" y="0"/>
                  <a:pt x="32" y="0"/>
                </a:cubicBezTo>
                <a:cubicBezTo>
                  <a:pt x="361" y="0"/>
                  <a:pt x="361" y="0"/>
                  <a:pt x="361" y="0"/>
                </a:cubicBezTo>
                <a:cubicBezTo>
                  <a:pt x="379" y="0"/>
                  <a:pt x="393" y="14"/>
                  <a:pt x="393" y="32"/>
                </a:cubicBezTo>
                <a:cubicBezTo>
                  <a:pt x="393" y="51"/>
                  <a:pt x="393" y="51"/>
                  <a:pt x="393" y="51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/>
          </a:p>
        </p:txBody>
      </p:sp>
      <p:sp>
        <p:nvSpPr>
          <p:cNvPr id="219" name="Freeform 5"/>
          <p:cNvSpPr>
            <a:spLocks noChangeAspect="1" noEditPoints="1"/>
          </p:cNvSpPr>
          <p:nvPr/>
        </p:nvSpPr>
        <p:spPr bwMode="auto">
          <a:xfrm>
            <a:off x="4551363" y="2049252"/>
            <a:ext cx="333375" cy="390525"/>
          </a:xfrm>
          <a:custGeom>
            <a:avLst/>
            <a:gdLst>
              <a:gd name="T0" fmla="*/ 629172361 w 409"/>
              <a:gd name="T1" fmla="*/ 69458418 h 589"/>
              <a:gd name="T2" fmla="*/ 641794966 w 409"/>
              <a:gd name="T3" fmla="*/ 61105559 h 589"/>
              <a:gd name="T4" fmla="*/ 641794966 w 409"/>
              <a:gd name="T5" fmla="*/ 41323380 h 589"/>
              <a:gd name="T6" fmla="*/ 579342987 w 409"/>
              <a:gd name="T7" fmla="*/ 0 h 589"/>
              <a:gd name="T8" fmla="*/ 62451978 w 409"/>
              <a:gd name="T9" fmla="*/ 0 h 589"/>
              <a:gd name="T10" fmla="*/ 0 w 409"/>
              <a:gd name="T11" fmla="*/ 41323380 h 589"/>
              <a:gd name="T12" fmla="*/ 0 w 409"/>
              <a:gd name="T13" fmla="*/ 570173793 h 589"/>
              <a:gd name="T14" fmla="*/ 62451978 w 409"/>
              <a:gd name="T15" fmla="*/ 611497173 h 589"/>
              <a:gd name="T16" fmla="*/ 579342987 w 409"/>
              <a:gd name="T17" fmla="*/ 611497173 h 589"/>
              <a:gd name="T18" fmla="*/ 641794966 w 409"/>
              <a:gd name="T19" fmla="*/ 570173793 h 589"/>
              <a:gd name="T20" fmla="*/ 641794966 w 409"/>
              <a:gd name="T21" fmla="*/ 94516332 h 589"/>
              <a:gd name="T22" fmla="*/ 629172361 w 409"/>
              <a:gd name="T23" fmla="*/ 86163473 h 589"/>
              <a:gd name="T24" fmla="*/ 616548942 w 409"/>
              <a:gd name="T25" fmla="*/ 94516332 h 589"/>
              <a:gd name="T26" fmla="*/ 616548942 w 409"/>
              <a:gd name="T27" fmla="*/ 570173793 h 589"/>
              <a:gd name="T28" fmla="*/ 579342987 w 409"/>
              <a:gd name="T29" fmla="*/ 594791455 h 589"/>
              <a:gd name="T30" fmla="*/ 62451978 w 409"/>
              <a:gd name="T31" fmla="*/ 594791455 h 589"/>
              <a:gd name="T32" fmla="*/ 25246839 w 409"/>
              <a:gd name="T33" fmla="*/ 570173793 h 589"/>
              <a:gd name="T34" fmla="*/ 25246839 w 409"/>
              <a:gd name="T35" fmla="*/ 41323380 h 589"/>
              <a:gd name="T36" fmla="*/ 62451978 w 409"/>
              <a:gd name="T37" fmla="*/ 16705055 h 589"/>
              <a:gd name="T38" fmla="*/ 579342987 w 409"/>
              <a:gd name="T39" fmla="*/ 16705055 h 589"/>
              <a:gd name="T40" fmla="*/ 616548942 w 409"/>
              <a:gd name="T41" fmla="*/ 41323380 h 589"/>
              <a:gd name="T42" fmla="*/ 616548942 w 409"/>
              <a:gd name="T43" fmla="*/ 61105559 h 589"/>
              <a:gd name="T44" fmla="*/ 629172361 w 409"/>
              <a:gd name="T45" fmla="*/ 69458418 h 589"/>
              <a:gd name="T46" fmla="*/ 320233178 w 409"/>
              <a:gd name="T47" fmla="*/ 78689793 h 589"/>
              <a:gd name="T48" fmla="*/ 308938368 w 409"/>
              <a:gd name="T49" fmla="*/ 83086349 h 589"/>
              <a:gd name="T50" fmla="*/ 117595790 w 409"/>
              <a:gd name="T51" fmla="*/ 336301035 h 589"/>
              <a:gd name="T52" fmla="*/ 119589519 w 409"/>
              <a:gd name="T53" fmla="*/ 344653894 h 589"/>
              <a:gd name="T54" fmla="*/ 130219209 w 409"/>
              <a:gd name="T55" fmla="*/ 347731019 h 589"/>
              <a:gd name="T56" fmla="*/ 511575756 w 409"/>
              <a:gd name="T57" fmla="*/ 347731019 h 589"/>
              <a:gd name="T58" fmla="*/ 522206262 w 409"/>
              <a:gd name="T59" fmla="*/ 344653894 h 589"/>
              <a:gd name="T60" fmla="*/ 522206262 w 409"/>
              <a:gd name="T61" fmla="*/ 336301035 h 589"/>
              <a:gd name="T62" fmla="*/ 332856598 w 409"/>
              <a:gd name="T63" fmla="*/ 83086349 h 589"/>
              <a:gd name="T64" fmla="*/ 320233178 w 409"/>
              <a:gd name="T65" fmla="*/ 78689793 h 589"/>
              <a:gd name="T66" fmla="*/ 150815101 w 409"/>
              <a:gd name="T67" fmla="*/ 331025964 h 589"/>
              <a:gd name="T68" fmla="*/ 320233178 w 409"/>
              <a:gd name="T69" fmla="*/ 105945653 h 589"/>
              <a:gd name="T70" fmla="*/ 490979865 w 409"/>
              <a:gd name="T71" fmla="*/ 331025964 h 589"/>
              <a:gd name="T72" fmla="*/ 150815101 w 409"/>
              <a:gd name="T73" fmla="*/ 331025964 h 58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409"/>
              <a:gd name="T112" fmla="*/ 0 h 589"/>
              <a:gd name="T113" fmla="*/ 409 w 409"/>
              <a:gd name="T114" fmla="*/ 589 h 589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409" h="589">
                <a:moveTo>
                  <a:pt x="401" y="67"/>
                </a:moveTo>
                <a:cubicBezTo>
                  <a:pt x="405" y="67"/>
                  <a:pt x="409" y="64"/>
                  <a:pt x="409" y="59"/>
                </a:cubicBezTo>
                <a:cubicBezTo>
                  <a:pt x="409" y="40"/>
                  <a:pt x="409" y="40"/>
                  <a:pt x="409" y="40"/>
                </a:cubicBezTo>
                <a:cubicBezTo>
                  <a:pt x="409" y="18"/>
                  <a:pt x="391" y="0"/>
                  <a:pt x="369" y="0"/>
                </a:cubicBezTo>
                <a:cubicBezTo>
                  <a:pt x="40" y="0"/>
                  <a:pt x="40" y="0"/>
                  <a:pt x="40" y="0"/>
                </a:cubicBezTo>
                <a:cubicBezTo>
                  <a:pt x="18" y="0"/>
                  <a:pt x="0" y="18"/>
                  <a:pt x="0" y="40"/>
                </a:cubicBezTo>
                <a:cubicBezTo>
                  <a:pt x="0" y="549"/>
                  <a:pt x="0" y="549"/>
                  <a:pt x="0" y="549"/>
                </a:cubicBezTo>
                <a:cubicBezTo>
                  <a:pt x="0" y="571"/>
                  <a:pt x="18" y="589"/>
                  <a:pt x="40" y="589"/>
                </a:cubicBezTo>
                <a:cubicBezTo>
                  <a:pt x="369" y="589"/>
                  <a:pt x="369" y="589"/>
                  <a:pt x="369" y="589"/>
                </a:cubicBezTo>
                <a:cubicBezTo>
                  <a:pt x="391" y="589"/>
                  <a:pt x="409" y="571"/>
                  <a:pt x="409" y="549"/>
                </a:cubicBezTo>
                <a:cubicBezTo>
                  <a:pt x="409" y="91"/>
                  <a:pt x="409" y="91"/>
                  <a:pt x="409" y="91"/>
                </a:cubicBezTo>
                <a:cubicBezTo>
                  <a:pt x="409" y="87"/>
                  <a:pt x="405" y="83"/>
                  <a:pt x="401" y="83"/>
                </a:cubicBezTo>
                <a:cubicBezTo>
                  <a:pt x="397" y="83"/>
                  <a:pt x="393" y="87"/>
                  <a:pt x="393" y="91"/>
                </a:cubicBezTo>
                <a:cubicBezTo>
                  <a:pt x="393" y="549"/>
                  <a:pt x="393" y="549"/>
                  <a:pt x="393" y="549"/>
                </a:cubicBezTo>
                <a:cubicBezTo>
                  <a:pt x="393" y="562"/>
                  <a:pt x="382" y="573"/>
                  <a:pt x="369" y="573"/>
                </a:cubicBezTo>
                <a:cubicBezTo>
                  <a:pt x="40" y="573"/>
                  <a:pt x="40" y="573"/>
                  <a:pt x="40" y="573"/>
                </a:cubicBezTo>
                <a:cubicBezTo>
                  <a:pt x="26" y="573"/>
                  <a:pt x="16" y="562"/>
                  <a:pt x="16" y="549"/>
                </a:cubicBezTo>
                <a:cubicBezTo>
                  <a:pt x="16" y="40"/>
                  <a:pt x="16" y="40"/>
                  <a:pt x="16" y="40"/>
                </a:cubicBezTo>
                <a:cubicBezTo>
                  <a:pt x="16" y="27"/>
                  <a:pt x="26" y="16"/>
                  <a:pt x="40" y="16"/>
                </a:cubicBezTo>
                <a:cubicBezTo>
                  <a:pt x="369" y="16"/>
                  <a:pt x="369" y="16"/>
                  <a:pt x="369" y="16"/>
                </a:cubicBezTo>
                <a:cubicBezTo>
                  <a:pt x="382" y="16"/>
                  <a:pt x="393" y="27"/>
                  <a:pt x="393" y="40"/>
                </a:cubicBezTo>
                <a:cubicBezTo>
                  <a:pt x="393" y="59"/>
                  <a:pt x="393" y="59"/>
                  <a:pt x="393" y="59"/>
                </a:cubicBezTo>
                <a:cubicBezTo>
                  <a:pt x="393" y="64"/>
                  <a:pt x="397" y="67"/>
                  <a:pt x="401" y="67"/>
                </a:cubicBezTo>
                <a:close/>
                <a:moveTo>
                  <a:pt x="204" y="76"/>
                </a:moveTo>
                <a:cubicBezTo>
                  <a:pt x="201" y="76"/>
                  <a:pt x="199" y="78"/>
                  <a:pt x="197" y="80"/>
                </a:cubicBezTo>
                <a:cubicBezTo>
                  <a:pt x="75" y="324"/>
                  <a:pt x="75" y="324"/>
                  <a:pt x="75" y="324"/>
                </a:cubicBezTo>
                <a:cubicBezTo>
                  <a:pt x="74" y="326"/>
                  <a:pt x="74" y="329"/>
                  <a:pt x="76" y="332"/>
                </a:cubicBezTo>
                <a:cubicBezTo>
                  <a:pt x="77" y="334"/>
                  <a:pt x="80" y="335"/>
                  <a:pt x="83" y="335"/>
                </a:cubicBezTo>
                <a:cubicBezTo>
                  <a:pt x="326" y="335"/>
                  <a:pt x="326" y="335"/>
                  <a:pt x="326" y="335"/>
                </a:cubicBezTo>
                <a:cubicBezTo>
                  <a:pt x="329" y="335"/>
                  <a:pt x="332" y="334"/>
                  <a:pt x="333" y="332"/>
                </a:cubicBezTo>
                <a:cubicBezTo>
                  <a:pt x="334" y="329"/>
                  <a:pt x="335" y="326"/>
                  <a:pt x="333" y="324"/>
                </a:cubicBezTo>
                <a:cubicBezTo>
                  <a:pt x="212" y="80"/>
                  <a:pt x="212" y="80"/>
                  <a:pt x="212" y="80"/>
                </a:cubicBezTo>
                <a:cubicBezTo>
                  <a:pt x="210" y="78"/>
                  <a:pt x="207" y="76"/>
                  <a:pt x="204" y="76"/>
                </a:cubicBezTo>
                <a:close/>
                <a:moveTo>
                  <a:pt x="96" y="319"/>
                </a:moveTo>
                <a:cubicBezTo>
                  <a:pt x="204" y="102"/>
                  <a:pt x="204" y="102"/>
                  <a:pt x="204" y="102"/>
                </a:cubicBezTo>
                <a:cubicBezTo>
                  <a:pt x="313" y="319"/>
                  <a:pt x="313" y="319"/>
                  <a:pt x="313" y="319"/>
                </a:cubicBezTo>
                <a:lnTo>
                  <a:pt x="96" y="319"/>
                </a:lnTo>
                <a:close/>
              </a:path>
            </a:pathLst>
          </a:cu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/>
          </a:p>
        </p:txBody>
      </p:sp>
      <p:sp>
        <p:nvSpPr>
          <p:cNvPr id="220" name="Text Box 6"/>
          <p:cNvSpPr txBox="1">
            <a:spLocks noChangeAspect="1" noChangeArrowheads="1"/>
          </p:cNvSpPr>
          <p:nvPr/>
        </p:nvSpPr>
        <p:spPr bwMode="auto">
          <a:xfrm>
            <a:off x="4575175" y="2291299"/>
            <a:ext cx="280988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en-US" sz="1200">
                <a:solidFill>
                  <a:srgbClr val="00A9D4"/>
                </a:solidFill>
              </a:rPr>
              <a:t>B</a:t>
            </a:r>
            <a:endParaRPr lang="sv-SE" sz="1200">
              <a:solidFill>
                <a:srgbClr val="00A9D4"/>
              </a:solidFill>
            </a:endParaRPr>
          </a:p>
        </p:txBody>
      </p:sp>
      <p:grpSp>
        <p:nvGrpSpPr>
          <p:cNvPr id="221" name="Group 48"/>
          <p:cNvGrpSpPr>
            <a:grpSpLocks noChangeAspect="1"/>
          </p:cNvGrpSpPr>
          <p:nvPr/>
        </p:nvGrpSpPr>
        <p:grpSpPr bwMode="auto">
          <a:xfrm>
            <a:off x="5043488" y="2095290"/>
            <a:ext cx="331787" cy="412750"/>
            <a:chOff x="1791" y="860"/>
            <a:chExt cx="966" cy="1391"/>
          </a:xfrm>
        </p:grpSpPr>
        <p:sp>
          <p:nvSpPr>
            <p:cNvPr id="222" name="Freeform 12"/>
            <p:cNvSpPr>
              <a:spLocks noChangeAspect="1"/>
            </p:cNvSpPr>
            <p:nvPr/>
          </p:nvSpPr>
          <p:spPr bwMode="auto">
            <a:xfrm>
              <a:off x="1810" y="879"/>
              <a:ext cx="928" cy="1353"/>
            </a:xfrm>
            <a:custGeom>
              <a:avLst/>
              <a:gdLst>
                <a:gd name="T0" fmla="*/ 5174 w 393"/>
                <a:gd name="T1" fmla="*/ 1093 h 573"/>
                <a:gd name="T2" fmla="*/ 5174 w 393"/>
                <a:gd name="T3" fmla="*/ 7119 h 573"/>
                <a:gd name="T4" fmla="*/ 4751 w 393"/>
                <a:gd name="T5" fmla="*/ 7544 h 573"/>
                <a:gd name="T6" fmla="*/ 423 w 393"/>
                <a:gd name="T7" fmla="*/ 7544 h 573"/>
                <a:gd name="T8" fmla="*/ 0 w 393"/>
                <a:gd name="T9" fmla="*/ 7119 h 573"/>
                <a:gd name="T10" fmla="*/ 0 w 393"/>
                <a:gd name="T11" fmla="*/ 423 h 573"/>
                <a:gd name="T12" fmla="*/ 423 w 393"/>
                <a:gd name="T13" fmla="*/ 0 h 573"/>
                <a:gd name="T14" fmla="*/ 4751 w 393"/>
                <a:gd name="T15" fmla="*/ 0 h 573"/>
                <a:gd name="T16" fmla="*/ 5174 w 393"/>
                <a:gd name="T17" fmla="*/ 423 h 573"/>
                <a:gd name="T18" fmla="*/ 5174 w 393"/>
                <a:gd name="T19" fmla="*/ 668 h 57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93"/>
                <a:gd name="T31" fmla="*/ 0 h 573"/>
                <a:gd name="T32" fmla="*/ 393 w 393"/>
                <a:gd name="T33" fmla="*/ 573 h 57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93" h="573">
                  <a:moveTo>
                    <a:pt x="393" y="83"/>
                  </a:moveTo>
                  <a:cubicBezTo>
                    <a:pt x="393" y="541"/>
                    <a:pt x="393" y="541"/>
                    <a:pt x="393" y="541"/>
                  </a:cubicBezTo>
                  <a:cubicBezTo>
                    <a:pt x="393" y="559"/>
                    <a:pt x="379" y="573"/>
                    <a:pt x="361" y="573"/>
                  </a:cubicBezTo>
                  <a:cubicBezTo>
                    <a:pt x="32" y="573"/>
                    <a:pt x="32" y="573"/>
                    <a:pt x="32" y="573"/>
                  </a:cubicBezTo>
                  <a:cubicBezTo>
                    <a:pt x="14" y="573"/>
                    <a:pt x="0" y="559"/>
                    <a:pt x="0" y="54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361" y="0"/>
                    <a:pt x="361" y="0"/>
                    <a:pt x="361" y="0"/>
                  </a:cubicBezTo>
                  <a:cubicBezTo>
                    <a:pt x="379" y="0"/>
                    <a:pt x="393" y="14"/>
                    <a:pt x="393" y="32"/>
                  </a:cubicBezTo>
                  <a:cubicBezTo>
                    <a:pt x="393" y="51"/>
                    <a:pt x="393" y="51"/>
                    <a:pt x="393" y="5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223" name="Freeform 13"/>
            <p:cNvSpPr>
              <a:spLocks noChangeAspect="1" noEditPoints="1"/>
            </p:cNvSpPr>
            <p:nvPr/>
          </p:nvSpPr>
          <p:spPr bwMode="auto">
            <a:xfrm>
              <a:off x="1791" y="860"/>
              <a:ext cx="966" cy="1391"/>
            </a:xfrm>
            <a:custGeom>
              <a:avLst/>
              <a:gdLst>
                <a:gd name="T0" fmla="*/ 5283 w 409"/>
                <a:gd name="T1" fmla="*/ 881 h 589"/>
                <a:gd name="T2" fmla="*/ 5390 w 409"/>
                <a:gd name="T3" fmla="*/ 775 h 589"/>
                <a:gd name="T4" fmla="*/ 5390 w 409"/>
                <a:gd name="T5" fmla="*/ 524 h 589"/>
                <a:gd name="T6" fmla="*/ 4865 w 409"/>
                <a:gd name="T7" fmla="*/ 0 h 589"/>
                <a:gd name="T8" fmla="*/ 524 w 409"/>
                <a:gd name="T9" fmla="*/ 0 h 589"/>
                <a:gd name="T10" fmla="*/ 0 w 409"/>
                <a:gd name="T11" fmla="*/ 524 h 589"/>
                <a:gd name="T12" fmla="*/ 0 w 409"/>
                <a:gd name="T13" fmla="*/ 7234 h 589"/>
                <a:gd name="T14" fmla="*/ 524 w 409"/>
                <a:gd name="T15" fmla="*/ 7758 h 589"/>
                <a:gd name="T16" fmla="*/ 4865 w 409"/>
                <a:gd name="T17" fmla="*/ 7758 h 589"/>
                <a:gd name="T18" fmla="*/ 5390 w 409"/>
                <a:gd name="T19" fmla="*/ 7234 h 589"/>
                <a:gd name="T20" fmla="*/ 5390 w 409"/>
                <a:gd name="T21" fmla="*/ 1200 h 589"/>
                <a:gd name="T22" fmla="*/ 5283 w 409"/>
                <a:gd name="T23" fmla="*/ 1093 h 589"/>
                <a:gd name="T24" fmla="*/ 5177 w 409"/>
                <a:gd name="T25" fmla="*/ 1200 h 589"/>
                <a:gd name="T26" fmla="*/ 5177 w 409"/>
                <a:gd name="T27" fmla="*/ 7234 h 589"/>
                <a:gd name="T28" fmla="*/ 4865 w 409"/>
                <a:gd name="T29" fmla="*/ 7545 h 589"/>
                <a:gd name="T30" fmla="*/ 524 w 409"/>
                <a:gd name="T31" fmla="*/ 7545 h 589"/>
                <a:gd name="T32" fmla="*/ 213 w 409"/>
                <a:gd name="T33" fmla="*/ 7234 h 589"/>
                <a:gd name="T34" fmla="*/ 213 w 409"/>
                <a:gd name="T35" fmla="*/ 524 h 589"/>
                <a:gd name="T36" fmla="*/ 524 w 409"/>
                <a:gd name="T37" fmla="*/ 213 h 589"/>
                <a:gd name="T38" fmla="*/ 4865 w 409"/>
                <a:gd name="T39" fmla="*/ 213 h 589"/>
                <a:gd name="T40" fmla="*/ 5177 w 409"/>
                <a:gd name="T41" fmla="*/ 524 h 589"/>
                <a:gd name="T42" fmla="*/ 5177 w 409"/>
                <a:gd name="T43" fmla="*/ 775 h 589"/>
                <a:gd name="T44" fmla="*/ 5283 w 409"/>
                <a:gd name="T45" fmla="*/ 881 h 589"/>
                <a:gd name="T46" fmla="*/ 1094 w 409"/>
                <a:gd name="T47" fmla="*/ 4199 h 589"/>
                <a:gd name="T48" fmla="*/ 987 w 409"/>
                <a:gd name="T49" fmla="*/ 4305 h 589"/>
                <a:gd name="T50" fmla="*/ 1094 w 409"/>
                <a:gd name="T51" fmla="*/ 4412 h 589"/>
                <a:gd name="T52" fmla="*/ 2052 w 409"/>
                <a:gd name="T53" fmla="*/ 4412 h 589"/>
                <a:gd name="T54" fmla="*/ 2147 w 409"/>
                <a:gd name="T55" fmla="*/ 4362 h 589"/>
                <a:gd name="T56" fmla="*/ 2688 w 409"/>
                <a:gd name="T57" fmla="*/ 3580 h 589"/>
                <a:gd name="T58" fmla="*/ 3240 w 409"/>
                <a:gd name="T59" fmla="*/ 4362 h 589"/>
                <a:gd name="T60" fmla="*/ 3318 w 409"/>
                <a:gd name="T61" fmla="*/ 4412 h 589"/>
                <a:gd name="T62" fmla="*/ 4296 w 409"/>
                <a:gd name="T63" fmla="*/ 4412 h 589"/>
                <a:gd name="T64" fmla="*/ 4403 w 409"/>
                <a:gd name="T65" fmla="*/ 4305 h 589"/>
                <a:gd name="T66" fmla="*/ 4296 w 409"/>
                <a:gd name="T67" fmla="*/ 4199 h 589"/>
                <a:gd name="T68" fmla="*/ 4296 w 409"/>
                <a:gd name="T69" fmla="*/ 4199 h 589"/>
                <a:gd name="T70" fmla="*/ 3387 w 409"/>
                <a:gd name="T71" fmla="*/ 4199 h 589"/>
                <a:gd name="T72" fmla="*/ 2818 w 409"/>
                <a:gd name="T73" fmla="*/ 3413 h 589"/>
                <a:gd name="T74" fmla="*/ 4384 w 409"/>
                <a:gd name="T75" fmla="*/ 1200 h 589"/>
                <a:gd name="T76" fmla="*/ 4362 w 409"/>
                <a:gd name="T77" fmla="*/ 1053 h 589"/>
                <a:gd name="T78" fmla="*/ 4218 w 409"/>
                <a:gd name="T79" fmla="*/ 1065 h 589"/>
                <a:gd name="T80" fmla="*/ 2688 w 409"/>
                <a:gd name="T81" fmla="*/ 3228 h 589"/>
                <a:gd name="T82" fmla="*/ 1171 w 409"/>
                <a:gd name="T83" fmla="*/ 1065 h 589"/>
                <a:gd name="T84" fmla="*/ 1027 w 409"/>
                <a:gd name="T85" fmla="*/ 1053 h 589"/>
                <a:gd name="T86" fmla="*/ 1004 w 409"/>
                <a:gd name="T87" fmla="*/ 1200 h 589"/>
                <a:gd name="T88" fmla="*/ 2572 w 409"/>
                <a:gd name="T89" fmla="*/ 3413 h 589"/>
                <a:gd name="T90" fmla="*/ 2003 w 409"/>
                <a:gd name="T91" fmla="*/ 4199 h 589"/>
                <a:gd name="T92" fmla="*/ 1094 w 409"/>
                <a:gd name="T93" fmla="*/ 4199 h 589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09"/>
                <a:gd name="T142" fmla="*/ 0 h 589"/>
                <a:gd name="T143" fmla="*/ 409 w 409"/>
                <a:gd name="T144" fmla="*/ 589 h 589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09" h="589">
                  <a:moveTo>
                    <a:pt x="401" y="67"/>
                  </a:moveTo>
                  <a:cubicBezTo>
                    <a:pt x="405" y="67"/>
                    <a:pt x="409" y="64"/>
                    <a:pt x="409" y="59"/>
                  </a:cubicBezTo>
                  <a:cubicBezTo>
                    <a:pt x="409" y="40"/>
                    <a:pt x="409" y="40"/>
                    <a:pt x="409" y="40"/>
                  </a:cubicBezTo>
                  <a:cubicBezTo>
                    <a:pt x="409" y="18"/>
                    <a:pt x="391" y="0"/>
                    <a:pt x="369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549"/>
                    <a:pt x="0" y="549"/>
                    <a:pt x="0" y="549"/>
                  </a:cubicBezTo>
                  <a:cubicBezTo>
                    <a:pt x="0" y="571"/>
                    <a:pt x="18" y="589"/>
                    <a:pt x="40" y="589"/>
                  </a:cubicBezTo>
                  <a:cubicBezTo>
                    <a:pt x="369" y="589"/>
                    <a:pt x="369" y="589"/>
                    <a:pt x="369" y="589"/>
                  </a:cubicBezTo>
                  <a:cubicBezTo>
                    <a:pt x="391" y="589"/>
                    <a:pt x="409" y="571"/>
                    <a:pt x="409" y="549"/>
                  </a:cubicBezTo>
                  <a:cubicBezTo>
                    <a:pt x="409" y="91"/>
                    <a:pt x="409" y="91"/>
                    <a:pt x="409" y="91"/>
                  </a:cubicBezTo>
                  <a:cubicBezTo>
                    <a:pt x="409" y="87"/>
                    <a:pt x="405" y="83"/>
                    <a:pt x="401" y="83"/>
                  </a:cubicBezTo>
                  <a:cubicBezTo>
                    <a:pt x="397" y="83"/>
                    <a:pt x="393" y="87"/>
                    <a:pt x="393" y="91"/>
                  </a:cubicBezTo>
                  <a:cubicBezTo>
                    <a:pt x="393" y="549"/>
                    <a:pt x="393" y="549"/>
                    <a:pt x="393" y="549"/>
                  </a:cubicBezTo>
                  <a:cubicBezTo>
                    <a:pt x="393" y="562"/>
                    <a:pt x="382" y="573"/>
                    <a:pt x="369" y="573"/>
                  </a:cubicBezTo>
                  <a:cubicBezTo>
                    <a:pt x="40" y="573"/>
                    <a:pt x="40" y="573"/>
                    <a:pt x="40" y="573"/>
                  </a:cubicBezTo>
                  <a:cubicBezTo>
                    <a:pt x="26" y="573"/>
                    <a:pt x="16" y="562"/>
                    <a:pt x="16" y="549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27"/>
                    <a:pt x="26" y="16"/>
                    <a:pt x="40" y="16"/>
                  </a:cubicBezTo>
                  <a:cubicBezTo>
                    <a:pt x="369" y="16"/>
                    <a:pt x="369" y="16"/>
                    <a:pt x="369" y="16"/>
                  </a:cubicBezTo>
                  <a:cubicBezTo>
                    <a:pt x="382" y="16"/>
                    <a:pt x="393" y="27"/>
                    <a:pt x="393" y="40"/>
                  </a:cubicBezTo>
                  <a:cubicBezTo>
                    <a:pt x="393" y="59"/>
                    <a:pt x="393" y="59"/>
                    <a:pt x="393" y="59"/>
                  </a:cubicBezTo>
                  <a:cubicBezTo>
                    <a:pt x="393" y="64"/>
                    <a:pt x="397" y="67"/>
                    <a:pt x="401" y="67"/>
                  </a:cubicBezTo>
                  <a:close/>
                  <a:moveTo>
                    <a:pt x="83" y="319"/>
                  </a:moveTo>
                  <a:cubicBezTo>
                    <a:pt x="78" y="319"/>
                    <a:pt x="75" y="322"/>
                    <a:pt x="75" y="327"/>
                  </a:cubicBezTo>
                  <a:cubicBezTo>
                    <a:pt x="75" y="331"/>
                    <a:pt x="78" y="335"/>
                    <a:pt x="83" y="335"/>
                  </a:cubicBezTo>
                  <a:cubicBezTo>
                    <a:pt x="156" y="335"/>
                    <a:pt x="156" y="335"/>
                    <a:pt x="156" y="335"/>
                  </a:cubicBezTo>
                  <a:cubicBezTo>
                    <a:pt x="159" y="335"/>
                    <a:pt x="161" y="333"/>
                    <a:pt x="163" y="331"/>
                  </a:cubicBezTo>
                  <a:cubicBezTo>
                    <a:pt x="204" y="272"/>
                    <a:pt x="204" y="272"/>
                    <a:pt x="204" y="272"/>
                  </a:cubicBezTo>
                  <a:cubicBezTo>
                    <a:pt x="246" y="331"/>
                    <a:pt x="246" y="331"/>
                    <a:pt x="246" y="331"/>
                  </a:cubicBezTo>
                  <a:cubicBezTo>
                    <a:pt x="247" y="333"/>
                    <a:pt x="250" y="335"/>
                    <a:pt x="252" y="335"/>
                  </a:cubicBezTo>
                  <a:cubicBezTo>
                    <a:pt x="326" y="335"/>
                    <a:pt x="326" y="335"/>
                    <a:pt x="326" y="335"/>
                  </a:cubicBezTo>
                  <a:cubicBezTo>
                    <a:pt x="331" y="335"/>
                    <a:pt x="334" y="331"/>
                    <a:pt x="334" y="327"/>
                  </a:cubicBezTo>
                  <a:cubicBezTo>
                    <a:pt x="334" y="322"/>
                    <a:pt x="331" y="319"/>
                    <a:pt x="326" y="319"/>
                  </a:cubicBezTo>
                  <a:cubicBezTo>
                    <a:pt x="326" y="319"/>
                    <a:pt x="326" y="319"/>
                    <a:pt x="326" y="319"/>
                  </a:cubicBezTo>
                  <a:cubicBezTo>
                    <a:pt x="257" y="319"/>
                    <a:pt x="257" y="319"/>
                    <a:pt x="257" y="319"/>
                  </a:cubicBezTo>
                  <a:cubicBezTo>
                    <a:pt x="214" y="259"/>
                    <a:pt x="214" y="259"/>
                    <a:pt x="214" y="259"/>
                  </a:cubicBezTo>
                  <a:cubicBezTo>
                    <a:pt x="333" y="91"/>
                    <a:pt x="333" y="91"/>
                    <a:pt x="333" y="91"/>
                  </a:cubicBezTo>
                  <a:cubicBezTo>
                    <a:pt x="335" y="87"/>
                    <a:pt x="334" y="82"/>
                    <a:pt x="331" y="80"/>
                  </a:cubicBezTo>
                  <a:cubicBezTo>
                    <a:pt x="327" y="77"/>
                    <a:pt x="322" y="78"/>
                    <a:pt x="320" y="81"/>
                  </a:cubicBezTo>
                  <a:cubicBezTo>
                    <a:pt x="204" y="245"/>
                    <a:pt x="204" y="245"/>
                    <a:pt x="204" y="245"/>
                  </a:cubicBezTo>
                  <a:cubicBezTo>
                    <a:pt x="89" y="81"/>
                    <a:pt x="89" y="81"/>
                    <a:pt x="89" y="81"/>
                  </a:cubicBezTo>
                  <a:cubicBezTo>
                    <a:pt x="87" y="78"/>
                    <a:pt x="82" y="77"/>
                    <a:pt x="78" y="80"/>
                  </a:cubicBezTo>
                  <a:cubicBezTo>
                    <a:pt x="74" y="82"/>
                    <a:pt x="74" y="87"/>
                    <a:pt x="76" y="91"/>
                  </a:cubicBezTo>
                  <a:cubicBezTo>
                    <a:pt x="195" y="259"/>
                    <a:pt x="195" y="259"/>
                    <a:pt x="195" y="259"/>
                  </a:cubicBezTo>
                  <a:cubicBezTo>
                    <a:pt x="152" y="319"/>
                    <a:pt x="152" y="319"/>
                    <a:pt x="152" y="319"/>
                  </a:cubicBezTo>
                  <a:lnTo>
                    <a:pt x="83" y="319"/>
                  </a:lnTo>
                  <a:close/>
                </a:path>
              </a:pathLst>
            </a:custGeom>
            <a:solidFill>
              <a:srgbClr val="E321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224" name="Text Box 14"/>
            <p:cNvSpPr txBox="1">
              <a:spLocks noChangeAspect="1" noChangeArrowheads="1"/>
            </p:cNvSpPr>
            <p:nvPr/>
          </p:nvSpPr>
          <p:spPr bwMode="auto">
            <a:xfrm>
              <a:off x="1860" y="1735"/>
              <a:ext cx="818" cy="4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lnSpc>
                  <a:spcPct val="80000"/>
                </a:lnSpc>
              </a:pPr>
              <a:r>
                <a:rPr lang="en-US" sz="1200">
                  <a:solidFill>
                    <a:srgbClr val="E32119"/>
                  </a:solidFill>
                </a:rPr>
                <a:t>D</a:t>
              </a:r>
              <a:endParaRPr lang="sv-SE" sz="1200">
                <a:solidFill>
                  <a:srgbClr val="E32119"/>
                </a:solidFill>
              </a:endParaRPr>
            </a:p>
          </p:txBody>
        </p:sp>
      </p:grpSp>
      <p:sp>
        <p:nvSpPr>
          <p:cNvPr id="225" name="Rectangle 99"/>
          <p:cNvSpPr>
            <a:spLocks noChangeAspect="1" noChangeArrowheads="1"/>
          </p:cNvSpPr>
          <p:nvPr/>
        </p:nvSpPr>
        <p:spPr bwMode="auto">
          <a:xfrm>
            <a:off x="5043488" y="2095290"/>
            <a:ext cx="333375" cy="412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rIns="0" anchor="ctr"/>
          <a:lstStyle/>
          <a:p>
            <a:pPr algn="ctr">
              <a:spcBef>
                <a:spcPct val="50000"/>
              </a:spcBef>
            </a:pPr>
            <a:endParaRPr lang="sv-SE" sz="1200"/>
          </a:p>
        </p:txBody>
      </p:sp>
      <p:sp>
        <p:nvSpPr>
          <p:cNvPr id="226" name="Freeform 4"/>
          <p:cNvSpPr>
            <a:spLocks noChangeAspect="1"/>
          </p:cNvSpPr>
          <p:nvPr/>
        </p:nvSpPr>
        <p:spPr bwMode="auto">
          <a:xfrm>
            <a:off x="5549900" y="2100052"/>
            <a:ext cx="301625" cy="379413"/>
          </a:xfrm>
          <a:custGeom>
            <a:avLst/>
            <a:gdLst>
              <a:gd name="T0" fmla="*/ 546635064 w 393"/>
              <a:gd name="T1" fmla="*/ 85935389 h 573"/>
              <a:gd name="T2" fmla="*/ 546635064 w 393"/>
              <a:gd name="T3" fmla="*/ 559894401 h 573"/>
              <a:gd name="T4" fmla="*/ 501867928 w 393"/>
              <a:gd name="T5" fmla="*/ 593215867 h 573"/>
              <a:gd name="T6" fmla="*/ 44767904 w 393"/>
              <a:gd name="T7" fmla="*/ 593215867 h 573"/>
              <a:gd name="T8" fmla="*/ 0 w 393"/>
              <a:gd name="T9" fmla="*/ 559894401 h 573"/>
              <a:gd name="T10" fmla="*/ 0 w 393"/>
              <a:gd name="T11" fmla="*/ 33322129 h 573"/>
              <a:gd name="T12" fmla="*/ 44767904 w 393"/>
              <a:gd name="T13" fmla="*/ 0 h 573"/>
              <a:gd name="T14" fmla="*/ 501867928 w 393"/>
              <a:gd name="T15" fmla="*/ 0 h 573"/>
              <a:gd name="T16" fmla="*/ 546635064 w 393"/>
              <a:gd name="T17" fmla="*/ 33322129 h 573"/>
              <a:gd name="T18" fmla="*/ 546635064 w 393"/>
              <a:gd name="T19" fmla="*/ 52613260 h 57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93"/>
              <a:gd name="T31" fmla="*/ 0 h 573"/>
              <a:gd name="T32" fmla="*/ 393 w 393"/>
              <a:gd name="T33" fmla="*/ 573 h 573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93" h="573">
                <a:moveTo>
                  <a:pt x="393" y="83"/>
                </a:moveTo>
                <a:cubicBezTo>
                  <a:pt x="393" y="541"/>
                  <a:pt x="393" y="541"/>
                  <a:pt x="393" y="541"/>
                </a:cubicBezTo>
                <a:cubicBezTo>
                  <a:pt x="393" y="559"/>
                  <a:pt x="379" y="573"/>
                  <a:pt x="361" y="573"/>
                </a:cubicBezTo>
                <a:cubicBezTo>
                  <a:pt x="32" y="573"/>
                  <a:pt x="32" y="573"/>
                  <a:pt x="32" y="573"/>
                </a:cubicBezTo>
                <a:cubicBezTo>
                  <a:pt x="14" y="573"/>
                  <a:pt x="0" y="559"/>
                  <a:pt x="0" y="541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14"/>
                  <a:pt x="14" y="0"/>
                  <a:pt x="32" y="0"/>
                </a:cubicBezTo>
                <a:cubicBezTo>
                  <a:pt x="361" y="0"/>
                  <a:pt x="361" y="0"/>
                  <a:pt x="361" y="0"/>
                </a:cubicBezTo>
                <a:cubicBezTo>
                  <a:pt x="379" y="0"/>
                  <a:pt x="393" y="14"/>
                  <a:pt x="393" y="32"/>
                </a:cubicBezTo>
                <a:cubicBezTo>
                  <a:pt x="393" y="51"/>
                  <a:pt x="393" y="51"/>
                  <a:pt x="393" y="51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/>
          </a:p>
        </p:txBody>
      </p:sp>
      <p:sp>
        <p:nvSpPr>
          <p:cNvPr id="227" name="Freeform 5"/>
          <p:cNvSpPr>
            <a:spLocks noChangeAspect="1" noEditPoints="1"/>
          </p:cNvSpPr>
          <p:nvPr/>
        </p:nvSpPr>
        <p:spPr bwMode="auto">
          <a:xfrm>
            <a:off x="5543550" y="2095290"/>
            <a:ext cx="314325" cy="390525"/>
          </a:xfrm>
          <a:custGeom>
            <a:avLst/>
            <a:gdLst>
              <a:gd name="T0" fmla="*/ 570542912 w 409"/>
              <a:gd name="T1" fmla="*/ 61105559 h 589"/>
              <a:gd name="T2" fmla="*/ 515024202 w 409"/>
              <a:gd name="T3" fmla="*/ 0 h 589"/>
              <a:gd name="T4" fmla="*/ 0 w 409"/>
              <a:gd name="T5" fmla="*/ 41323380 h 589"/>
              <a:gd name="T6" fmla="*/ 55518710 w 409"/>
              <a:gd name="T7" fmla="*/ 611497173 h 589"/>
              <a:gd name="T8" fmla="*/ 570542912 w 409"/>
              <a:gd name="T9" fmla="*/ 570173793 h 589"/>
              <a:gd name="T10" fmla="*/ 559320972 w 409"/>
              <a:gd name="T11" fmla="*/ 86163473 h 589"/>
              <a:gd name="T12" fmla="*/ 548099031 w 409"/>
              <a:gd name="T13" fmla="*/ 570173793 h 589"/>
              <a:gd name="T14" fmla="*/ 55518710 w 409"/>
              <a:gd name="T15" fmla="*/ 594791455 h 589"/>
              <a:gd name="T16" fmla="*/ 22443881 w 409"/>
              <a:gd name="T17" fmla="*/ 41323380 h 589"/>
              <a:gd name="T18" fmla="*/ 515024202 w 409"/>
              <a:gd name="T19" fmla="*/ 16705055 h 589"/>
              <a:gd name="T20" fmla="*/ 548099031 w 409"/>
              <a:gd name="T21" fmla="*/ 61105559 h 589"/>
              <a:gd name="T22" fmla="*/ 111627644 w 409"/>
              <a:gd name="T23" fmla="*/ 329267607 h 589"/>
              <a:gd name="T24" fmla="*/ 284680848 w 409"/>
              <a:gd name="T25" fmla="*/ 347731019 h 589"/>
              <a:gd name="T26" fmla="*/ 444739903 w 409"/>
              <a:gd name="T27" fmla="*/ 334103088 h 589"/>
              <a:gd name="T28" fmla="*/ 466002567 w 409"/>
              <a:gd name="T29" fmla="*/ 318716801 h 589"/>
              <a:gd name="T30" fmla="*/ 466002567 w 409"/>
              <a:gd name="T31" fmla="*/ 108144263 h 589"/>
              <a:gd name="T32" fmla="*/ 432336746 w 409"/>
              <a:gd name="T33" fmla="*/ 89240598 h 589"/>
              <a:gd name="T34" fmla="*/ 163012480 w 409"/>
              <a:gd name="T35" fmla="*/ 85284295 h 589"/>
              <a:gd name="T36" fmla="*/ 111627644 w 409"/>
              <a:gd name="T37" fmla="*/ 97593457 h 589"/>
              <a:gd name="T38" fmla="*/ 104540345 w 409"/>
              <a:gd name="T39" fmla="*/ 109023441 h 589"/>
              <a:gd name="T40" fmla="*/ 111627644 w 409"/>
              <a:gd name="T41" fmla="*/ 329267607 h 589"/>
              <a:gd name="T42" fmla="*/ 284680848 w 409"/>
              <a:gd name="T43" fmla="*/ 95395511 h 589"/>
              <a:gd name="T44" fmla="*/ 436471388 w 409"/>
              <a:gd name="T45" fmla="*/ 108144263 h 589"/>
              <a:gd name="T46" fmla="*/ 427021656 w 409"/>
              <a:gd name="T47" fmla="*/ 112100566 h 589"/>
              <a:gd name="T48" fmla="*/ 167146353 w 409"/>
              <a:gd name="T49" fmla="*/ 115177691 h 589"/>
              <a:gd name="T50" fmla="*/ 131118868 w 409"/>
              <a:gd name="T51" fmla="*/ 109023441 h 589"/>
              <a:gd name="T52" fmla="*/ 126984226 w 409"/>
              <a:gd name="T53" fmla="*/ 125728496 h 589"/>
              <a:gd name="T54" fmla="*/ 284680848 w 409"/>
              <a:gd name="T55" fmla="*/ 138037658 h 589"/>
              <a:gd name="T56" fmla="*/ 443558686 w 409"/>
              <a:gd name="T57" fmla="*/ 125728496 h 589"/>
              <a:gd name="T58" fmla="*/ 427021656 w 409"/>
              <a:gd name="T59" fmla="*/ 321793926 h 589"/>
              <a:gd name="T60" fmla="*/ 167146353 w 409"/>
              <a:gd name="T61" fmla="*/ 324871714 h 589"/>
              <a:gd name="T62" fmla="*/ 126984226 w 409"/>
              <a:gd name="T63" fmla="*/ 316518855 h 58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409"/>
              <a:gd name="T97" fmla="*/ 0 h 589"/>
              <a:gd name="T98" fmla="*/ 409 w 409"/>
              <a:gd name="T99" fmla="*/ 589 h 589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409" h="589">
                <a:moveTo>
                  <a:pt x="401" y="67"/>
                </a:moveTo>
                <a:cubicBezTo>
                  <a:pt x="405" y="67"/>
                  <a:pt x="409" y="64"/>
                  <a:pt x="409" y="59"/>
                </a:cubicBezTo>
                <a:cubicBezTo>
                  <a:pt x="409" y="40"/>
                  <a:pt x="409" y="40"/>
                  <a:pt x="409" y="40"/>
                </a:cubicBezTo>
                <a:cubicBezTo>
                  <a:pt x="409" y="18"/>
                  <a:pt x="391" y="0"/>
                  <a:pt x="369" y="0"/>
                </a:cubicBezTo>
                <a:cubicBezTo>
                  <a:pt x="40" y="0"/>
                  <a:pt x="40" y="0"/>
                  <a:pt x="40" y="0"/>
                </a:cubicBezTo>
                <a:cubicBezTo>
                  <a:pt x="18" y="0"/>
                  <a:pt x="0" y="18"/>
                  <a:pt x="0" y="40"/>
                </a:cubicBezTo>
                <a:cubicBezTo>
                  <a:pt x="0" y="549"/>
                  <a:pt x="0" y="549"/>
                  <a:pt x="0" y="549"/>
                </a:cubicBezTo>
                <a:cubicBezTo>
                  <a:pt x="0" y="571"/>
                  <a:pt x="18" y="589"/>
                  <a:pt x="40" y="589"/>
                </a:cubicBezTo>
                <a:cubicBezTo>
                  <a:pt x="369" y="589"/>
                  <a:pt x="369" y="589"/>
                  <a:pt x="369" y="589"/>
                </a:cubicBezTo>
                <a:cubicBezTo>
                  <a:pt x="391" y="589"/>
                  <a:pt x="409" y="571"/>
                  <a:pt x="409" y="549"/>
                </a:cubicBezTo>
                <a:cubicBezTo>
                  <a:pt x="409" y="91"/>
                  <a:pt x="409" y="91"/>
                  <a:pt x="409" y="91"/>
                </a:cubicBezTo>
                <a:cubicBezTo>
                  <a:pt x="409" y="87"/>
                  <a:pt x="405" y="83"/>
                  <a:pt x="401" y="83"/>
                </a:cubicBezTo>
                <a:cubicBezTo>
                  <a:pt x="397" y="83"/>
                  <a:pt x="393" y="87"/>
                  <a:pt x="393" y="91"/>
                </a:cubicBezTo>
                <a:cubicBezTo>
                  <a:pt x="393" y="549"/>
                  <a:pt x="393" y="549"/>
                  <a:pt x="393" y="549"/>
                </a:cubicBezTo>
                <a:cubicBezTo>
                  <a:pt x="393" y="562"/>
                  <a:pt x="382" y="573"/>
                  <a:pt x="369" y="573"/>
                </a:cubicBezTo>
                <a:cubicBezTo>
                  <a:pt x="40" y="573"/>
                  <a:pt x="40" y="573"/>
                  <a:pt x="40" y="573"/>
                </a:cubicBezTo>
                <a:cubicBezTo>
                  <a:pt x="26" y="573"/>
                  <a:pt x="16" y="562"/>
                  <a:pt x="16" y="549"/>
                </a:cubicBezTo>
                <a:cubicBezTo>
                  <a:pt x="16" y="40"/>
                  <a:pt x="16" y="40"/>
                  <a:pt x="16" y="40"/>
                </a:cubicBezTo>
                <a:cubicBezTo>
                  <a:pt x="16" y="27"/>
                  <a:pt x="26" y="16"/>
                  <a:pt x="40" y="16"/>
                </a:cubicBezTo>
                <a:cubicBezTo>
                  <a:pt x="369" y="16"/>
                  <a:pt x="369" y="16"/>
                  <a:pt x="369" y="16"/>
                </a:cubicBezTo>
                <a:cubicBezTo>
                  <a:pt x="382" y="16"/>
                  <a:pt x="393" y="27"/>
                  <a:pt x="393" y="40"/>
                </a:cubicBezTo>
                <a:cubicBezTo>
                  <a:pt x="393" y="59"/>
                  <a:pt x="393" y="59"/>
                  <a:pt x="393" y="59"/>
                </a:cubicBezTo>
                <a:cubicBezTo>
                  <a:pt x="393" y="64"/>
                  <a:pt x="397" y="67"/>
                  <a:pt x="401" y="67"/>
                </a:cubicBezTo>
                <a:close/>
                <a:moveTo>
                  <a:pt x="80" y="317"/>
                </a:moveTo>
                <a:cubicBezTo>
                  <a:pt x="85" y="321"/>
                  <a:pt x="91" y="323"/>
                  <a:pt x="98" y="325"/>
                </a:cubicBezTo>
                <a:cubicBezTo>
                  <a:pt x="121" y="331"/>
                  <a:pt x="160" y="335"/>
                  <a:pt x="204" y="335"/>
                </a:cubicBezTo>
                <a:cubicBezTo>
                  <a:pt x="238" y="335"/>
                  <a:pt x="269" y="333"/>
                  <a:pt x="292" y="329"/>
                </a:cubicBezTo>
                <a:cubicBezTo>
                  <a:pt x="303" y="327"/>
                  <a:pt x="312" y="325"/>
                  <a:pt x="319" y="322"/>
                </a:cubicBezTo>
                <a:cubicBezTo>
                  <a:pt x="323" y="321"/>
                  <a:pt x="326" y="319"/>
                  <a:pt x="328" y="317"/>
                </a:cubicBezTo>
                <a:cubicBezTo>
                  <a:pt x="331" y="315"/>
                  <a:pt x="334" y="311"/>
                  <a:pt x="334" y="307"/>
                </a:cubicBezTo>
                <a:cubicBezTo>
                  <a:pt x="334" y="105"/>
                  <a:pt x="334" y="105"/>
                  <a:pt x="334" y="105"/>
                </a:cubicBezTo>
                <a:cubicBezTo>
                  <a:pt x="334" y="105"/>
                  <a:pt x="334" y="104"/>
                  <a:pt x="334" y="104"/>
                </a:cubicBezTo>
                <a:cubicBezTo>
                  <a:pt x="334" y="100"/>
                  <a:pt x="331" y="96"/>
                  <a:pt x="328" y="94"/>
                </a:cubicBezTo>
                <a:cubicBezTo>
                  <a:pt x="324" y="91"/>
                  <a:pt x="318" y="88"/>
                  <a:pt x="310" y="86"/>
                </a:cubicBezTo>
                <a:cubicBezTo>
                  <a:pt x="288" y="80"/>
                  <a:pt x="249" y="76"/>
                  <a:pt x="204" y="76"/>
                </a:cubicBezTo>
                <a:cubicBezTo>
                  <a:pt x="171" y="76"/>
                  <a:pt x="140" y="78"/>
                  <a:pt x="117" y="82"/>
                </a:cubicBezTo>
                <a:cubicBezTo>
                  <a:pt x="106" y="84"/>
                  <a:pt x="97" y="86"/>
                  <a:pt x="90" y="89"/>
                </a:cubicBezTo>
                <a:cubicBezTo>
                  <a:pt x="86" y="91"/>
                  <a:pt x="83" y="92"/>
                  <a:pt x="80" y="94"/>
                </a:cubicBezTo>
                <a:cubicBezTo>
                  <a:pt x="78" y="96"/>
                  <a:pt x="75" y="100"/>
                  <a:pt x="75" y="105"/>
                </a:cubicBezTo>
                <a:cubicBezTo>
                  <a:pt x="75" y="105"/>
                  <a:pt x="75" y="105"/>
                  <a:pt x="75" y="105"/>
                </a:cubicBezTo>
                <a:cubicBezTo>
                  <a:pt x="75" y="307"/>
                  <a:pt x="75" y="307"/>
                  <a:pt x="75" y="307"/>
                </a:cubicBezTo>
                <a:cubicBezTo>
                  <a:pt x="75" y="311"/>
                  <a:pt x="78" y="315"/>
                  <a:pt x="80" y="317"/>
                </a:cubicBezTo>
                <a:close/>
                <a:moveTo>
                  <a:pt x="103" y="102"/>
                </a:moveTo>
                <a:cubicBezTo>
                  <a:pt x="122" y="96"/>
                  <a:pt x="161" y="92"/>
                  <a:pt x="204" y="92"/>
                </a:cubicBezTo>
                <a:cubicBezTo>
                  <a:pt x="238" y="92"/>
                  <a:pt x="268" y="94"/>
                  <a:pt x="289" y="98"/>
                </a:cubicBezTo>
                <a:cubicBezTo>
                  <a:pt x="299" y="100"/>
                  <a:pt x="308" y="102"/>
                  <a:pt x="313" y="104"/>
                </a:cubicBezTo>
                <a:cubicBezTo>
                  <a:pt x="314" y="104"/>
                  <a:pt x="314" y="104"/>
                  <a:pt x="315" y="105"/>
                </a:cubicBezTo>
                <a:cubicBezTo>
                  <a:pt x="313" y="106"/>
                  <a:pt x="310" y="107"/>
                  <a:pt x="306" y="108"/>
                </a:cubicBezTo>
                <a:cubicBezTo>
                  <a:pt x="286" y="113"/>
                  <a:pt x="248" y="117"/>
                  <a:pt x="204" y="117"/>
                </a:cubicBezTo>
                <a:cubicBezTo>
                  <a:pt x="171" y="117"/>
                  <a:pt x="141" y="115"/>
                  <a:pt x="120" y="111"/>
                </a:cubicBezTo>
                <a:cubicBezTo>
                  <a:pt x="109" y="110"/>
                  <a:pt x="101" y="107"/>
                  <a:pt x="96" y="105"/>
                </a:cubicBezTo>
                <a:cubicBezTo>
                  <a:pt x="95" y="105"/>
                  <a:pt x="95" y="105"/>
                  <a:pt x="94" y="105"/>
                </a:cubicBezTo>
                <a:cubicBezTo>
                  <a:pt x="96" y="104"/>
                  <a:pt x="99" y="103"/>
                  <a:pt x="103" y="102"/>
                </a:cubicBezTo>
                <a:close/>
                <a:moveTo>
                  <a:pt x="91" y="121"/>
                </a:moveTo>
                <a:cubicBezTo>
                  <a:pt x="93" y="121"/>
                  <a:pt x="96" y="122"/>
                  <a:pt x="98" y="123"/>
                </a:cubicBezTo>
                <a:cubicBezTo>
                  <a:pt x="121" y="129"/>
                  <a:pt x="160" y="133"/>
                  <a:pt x="204" y="133"/>
                </a:cubicBezTo>
                <a:cubicBezTo>
                  <a:pt x="238" y="133"/>
                  <a:pt x="269" y="131"/>
                  <a:pt x="292" y="127"/>
                </a:cubicBezTo>
                <a:cubicBezTo>
                  <a:pt x="302" y="125"/>
                  <a:pt x="311" y="123"/>
                  <a:pt x="318" y="121"/>
                </a:cubicBezTo>
                <a:cubicBezTo>
                  <a:pt x="318" y="305"/>
                  <a:pt x="318" y="305"/>
                  <a:pt x="318" y="305"/>
                </a:cubicBezTo>
                <a:cubicBezTo>
                  <a:pt x="316" y="306"/>
                  <a:pt x="312" y="308"/>
                  <a:pt x="306" y="310"/>
                </a:cubicBezTo>
                <a:cubicBezTo>
                  <a:pt x="286" y="315"/>
                  <a:pt x="248" y="319"/>
                  <a:pt x="204" y="319"/>
                </a:cubicBezTo>
                <a:cubicBezTo>
                  <a:pt x="171" y="319"/>
                  <a:pt x="141" y="317"/>
                  <a:pt x="120" y="313"/>
                </a:cubicBezTo>
                <a:cubicBezTo>
                  <a:pt x="109" y="312"/>
                  <a:pt x="101" y="309"/>
                  <a:pt x="96" y="307"/>
                </a:cubicBezTo>
                <a:cubicBezTo>
                  <a:pt x="93" y="306"/>
                  <a:pt x="92" y="306"/>
                  <a:pt x="91" y="305"/>
                </a:cubicBezTo>
                <a:lnTo>
                  <a:pt x="91" y="12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/>
          </a:p>
        </p:txBody>
      </p:sp>
      <p:sp>
        <p:nvSpPr>
          <p:cNvPr id="228" name="Text Box 6"/>
          <p:cNvSpPr txBox="1">
            <a:spLocks noChangeAspect="1" noChangeArrowheads="1"/>
          </p:cNvSpPr>
          <p:nvPr/>
        </p:nvSpPr>
        <p:spPr bwMode="auto">
          <a:xfrm>
            <a:off x="5565775" y="2337336"/>
            <a:ext cx="268288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en-US" sz="1200">
                <a:solidFill>
                  <a:srgbClr val="000000"/>
                </a:solidFill>
              </a:rPr>
              <a:t>E</a:t>
            </a:r>
            <a:endParaRPr lang="sv-SE" sz="1200">
              <a:solidFill>
                <a:srgbClr val="000000"/>
              </a:solidFill>
            </a:endParaRPr>
          </a:p>
        </p:txBody>
      </p:sp>
      <p:grpSp>
        <p:nvGrpSpPr>
          <p:cNvPr id="229" name="Group 48"/>
          <p:cNvGrpSpPr>
            <a:grpSpLocks noChangeAspect="1"/>
          </p:cNvGrpSpPr>
          <p:nvPr/>
        </p:nvGrpSpPr>
        <p:grpSpPr bwMode="auto">
          <a:xfrm>
            <a:off x="5149850" y="2185777"/>
            <a:ext cx="331788" cy="414338"/>
            <a:chOff x="1791" y="860"/>
            <a:chExt cx="966" cy="1391"/>
          </a:xfrm>
        </p:grpSpPr>
        <p:sp>
          <p:nvSpPr>
            <p:cNvPr id="230" name="Freeform 12"/>
            <p:cNvSpPr>
              <a:spLocks noChangeAspect="1"/>
            </p:cNvSpPr>
            <p:nvPr/>
          </p:nvSpPr>
          <p:spPr bwMode="auto">
            <a:xfrm>
              <a:off x="1810" y="879"/>
              <a:ext cx="928" cy="1353"/>
            </a:xfrm>
            <a:custGeom>
              <a:avLst/>
              <a:gdLst>
                <a:gd name="T0" fmla="*/ 5174 w 393"/>
                <a:gd name="T1" fmla="*/ 1093 h 573"/>
                <a:gd name="T2" fmla="*/ 5174 w 393"/>
                <a:gd name="T3" fmla="*/ 7119 h 573"/>
                <a:gd name="T4" fmla="*/ 4751 w 393"/>
                <a:gd name="T5" fmla="*/ 7544 h 573"/>
                <a:gd name="T6" fmla="*/ 423 w 393"/>
                <a:gd name="T7" fmla="*/ 7544 h 573"/>
                <a:gd name="T8" fmla="*/ 0 w 393"/>
                <a:gd name="T9" fmla="*/ 7119 h 573"/>
                <a:gd name="T10" fmla="*/ 0 w 393"/>
                <a:gd name="T11" fmla="*/ 423 h 573"/>
                <a:gd name="T12" fmla="*/ 423 w 393"/>
                <a:gd name="T13" fmla="*/ 0 h 573"/>
                <a:gd name="T14" fmla="*/ 4751 w 393"/>
                <a:gd name="T15" fmla="*/ 0 h 573"/>
                <a:gd name="T16" fmla="*/ 5174 w 393"/>
                <a:gd name="T17" fmla="*/ 423 h 573"/>
                <a:gd name="T18" fmla="*/ 5174 w 393"/>
                <a:gd name="T19" fmla="*/ 668 h 57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93"/>
                <a:gd name="T31" fmla="*/ 0 h 573"/>
                <a:gd name="T32" fmla="*/ 393 w 393"/>
                <a:gd name="T33" fmla="*/ 573 h 57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93" h="573">
                  <a:moveTo>
                    <a:pt x="393" y="83"/>
                  </a:moveTo>
                  <a:cubicBezTo>
                    <a:pt x="393" y="541"/>
                    <a:pt x="393" y="541"/>
                    <a:pt x="393" y="541"/>
                  </a:cubicBezTo>
                  <a:cubicBezTo>
                    <a:pt x="393" y="559"/>
                    <a:pt x="379" y="573"/>
                    <a:pt x="361" y="573"/>
                  </a:cubicBezTo>
                  <a:cubicBezTo>
                    <a:pt x="32" y="573"/>
                    <a:pt x="32" y="573"/>
                    <a:pt x="32" y="573"/>
                  </a:cubicBezTo>
                  <a:cubicBezTo>
                    <a:pt x="14" y="573"/>
                    <a:pt x="0" y="559"/>
                    <a:pt x="0" y="54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361" y="0"/>
                    <a:pt x="361" y="0"/>
                    <a:pt x="361" y="0"/>
                  </a:cubicBezTo>
                  <a:cubicBezTo>
                    <a:pt x="379" y="0"/>
                    <a:pt x="393" y="14"/>
                    <a:pt x="393" y="32"/>
                  </a:cubicBezTo>
                  <a:cubicBezTo>
                    <a:pt x="393" y="51"/>
                    <a:pt x="393" y="51"/>
                    <a:pt x="393" y="5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231" name="Freeform 13"/>
            <p:cNvSpPr>
              <a:spLocks noChangeAspect="1" noEditPoints="1"/>
            </p:cNvSpPr>
            <p:nvPr/>
          </p:nvSpPr>
          <p:spPr bwMode="auto">
            <a:xfrm>
              <a:off x="1791" y="860"/>
              <a:ext cx="966" cy="1391"/>
            </a:xfrm>
            <a:custGeom>
              <a:avLst/>
              <a:gdLst>
                <a:gd name="T0" fmla="*/ 5283 w 409"/>
                <a:gd name="T1" fmla="*/ 881 h 589"/>
                <a:gd name="T2" fmla="*/ 5390 w 409"/>
                <a:gd name="T3" fmla="*/ 775 h 589"/>
                <a:gd name="T4" fmla="*/ 5390 w 409"/>
                <a:gd name="T5" fmla="*/ 524 h 589"/>
                <a:gd name="T6" fmla="*/ 4865 w 409"/>
                <a:gd name="T7" fmla="*/ 0 h 589"/>
                <a:gd name="T8" fmla="*/ 524 w 409"/>
                <a:gd name="T9" fmla="*/ 0 h 589"/>
                <a:gd name="T10" fmla="*/ 0 w 409"/>
                <a:gd name="T11" fmla="*/ 524 h 589"/>
                <a:gd name="T12" fmla="*/ 0 w 409"/>
                <a:gd name="T13" fmla="*/ 7234 h 589"/>
                <a:gd name="T14" fmla="*/ 524 w 409"/>
                <a:gd name="T15" fmla="*/ 7758 h 589"/>
                <a:gd name="T16" fmla="*/ 4865 w 409"/>
                <a:gd name="T17" fmla="*/ 7758 h 589"/>
                <a:gd name="T18" fmla="*/ 5390 w 409"/>
                <a:gd name="T19" fmla="*/ 7234 h 589"/>
                <a:gd name="T20" fmla="*/ 5390 w 409"/>
                <a:gd name="T21" fmla="*/ 1200 h 589"/>
                <a:gd name="T22" fmla="*/ 5283 w 409"/>
                <a:gd name="T23" fmla="*/ 1093 h 589"/>
                <a:gd name="T24" fmla="*/ 5177 w 409"/>
                <a:gd name="T25" fmla="*/ 1200 h 589"/>
                <a:gd name="T26" fmla="*/ 5177 w 409"/>
                <a:gd name="T27" fmla="*/ 7234 h 589"/>
                <a:gd name="T28" fmla="*/ 4865 w 409"/>
                <a:gd name="T29" fmla="*/ 7545 h 589"/>
                <a:gd name="T30" fmla="*/ 524 w 409"/>
                <a:gd name="T31" fmla="*/ 7545 h 589"/>
                <a:gd name="T32" fmla="*/ 213 w 409"/>
                <a:gd name="T33" fmla="*/ 7234 h 589"/>
                <a:gd name="T34" fmla="*/ 213 w 409"/>
                <a:gd name="T35" fmla="*/ 524 h 589"/>
                <a:gd name="T36" fmla="*/ 524 w 409"/>
                <a:gd name="T37" fmla="*/ 213 h 589"/>
                <a:gd name="T38" fmla="*/ 4865 w 409"/>
                <a:gd name="T39" fmla="*/ 213 h 589"/>
                <a:gd name="T40" fmla="*/ 5177 w 409"/>
                <a:gd name="T41" fmla="*/ 524 h 589"/>
                <a:gd name="T42" fmla="*/ 5177 w 409"/>
                <a:gd name="T43" fmla="*/ 775 h 589"/>
                <a:gd name="T44" fmla="*/ 5283 w 409"/>
                <a:gd name="T45" fmla="*/ 881 h 589"/>
                <a:gd name="T46" fmla="*/ 1094 w 409"/>
                <a:gd name="T47" fmla="*/ 4199 h 589"/>
                <a:gd name="T48" fmla="*/ 987 w 409"/>
                <a:gd name="T49" fmla="*/ 4305 h 589"/>
                <a:gd name="T50" fmla="*/ 1094 w 409"/>
                <a:gd name="T51" fmla="*/ 4412 h 589"/>
                <a:gd name="T52" fmla="*/ 2052 w 409"/>
                <a:gd name="T53" fmla="*/ 4412 h 589"/>
                <a:gd name="T54" fmla="*/ 2147 w 409"/>
                <a:gd name="T55" fmla="*/ 4362 h 589"/>
                <a:gd name="T56" fmla="*/ 2688 w 409"/>
                <a:gd name="T57" fmla="*/ 3580 h 589"/>
                <a:gd name="T58" fmla="*/ 3240 w 409"/>
                <a:gd name="T59" fmla="*/ 4362 h 589"/>
                <a:gd name="T60" fmla="*/ 3318 w 409"/>
                <a:gd name="T61" fmla="*/ 4412 h 589"/>
                <a:gd name="T62" fmla="*/ 4296 w 409"/>
                <a:gd name="T63" fmla="*/ 4412 h 589"/>
                <a:gd name="T64" fmla="*/ 4403 w 409"/>
                <a:gd name="T65" fmla="*/ 4305 h 589"/>
                <a:gd name="T66" fmla="*/ 4296 w 409"/>
                <a:gd name="T67" fmla="*/ 4199 h 589"/>
                <a:gd name="T68" fmla="*/ 4296 w 409"/>
                <a:gd name="T69" fmla="*/ 4199 h 589"/>
                <a:gd name="T70" fmla="*/ 3387 w 409"/>
                <a:gd name="T71" fmla="*/ 4199 h 589"/>
                <a:gd name="T72" fmla="*/ 2818 w 409"/>
                <a:gd name="T73" fmla="*/ 3413 h 589"/>
                <a:gd name="T74" fmla="*/ 4384 w 409"/>
                <a:gd name="T75" fmla="*/ 1200 h 589"/>
                <a:gd name="T76" fmla="*/ 4362 w 409"/>
                <a:gd name="T77" fmla="*/ 1053 h 589"/>
                <a:gd name="T78" fmla="*/ 4218 w 409"/>
                <a:gd name="T79" fmla="*/ 1065 h 589"/>
                <a:gd name="T80" fmla="*/ 2688 w 409"/>
                <a:gd name="T81" fmla="*/ 3228 h 589"/>
                <a:gd name="T82" fmla="*/ 1171 w 409"/>
                <a:gd name="T83" fmla="*/ 1065 h 589"/>
                <a:gd name="T84" fmla="*/ 1027 w 409"/>
                <a:gd name="T85" fmla="*/ 1053 h 589"/>
                <a:gd name="T86" fmla="*/ 1004 w 409"/>
                <a:gd name="T87" fmla="*/ 1200 h 589"/>
                <a:gd name="T88" fmla="*/ 2572 w 409"/>
                <a:gd name="T89" fmla="*/ 3413 h 589"/>
                <a:gd name="T90" fmla="*/ 2003 w 409"/>
                <a:gd name="T91" fmla="*/ 4199 h 589"/>
                <a:gd name="T92" fmla="*/ 1094 w 409"/>
                <a:gd name="T93" fmla="*/ 4199 h 589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09"/>
                <a:gd name="T142" fmla="*/ 0 h 589"/>
                <a:gd name="T143" fmla="*/ 409 w 409"/>
                <a:gd name="T144" fmla="*/ 589 h 589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09" h="589">
                  <a:moveTo>
                    <a:pt x="401" y="67"/>
                  </a:moveTo>
                  <a:cubicBezTo>
                    <a:pt x="405" y="67"/>
                    <a:pt x="409" y="64"/>
                    <a:pt x="409" y="59"/>
                  </a:cubicBezTo>
                  <a:cubicBezTo>
                    <a:pt x="409" y="40"/>
                    <a:pt x="409" y="40"/>
                    <a:pt x="409" y="40"/>
                  </a:cubicBezTo>
                  <a:cubicBezTo>
                    <a:pt x="409" y="18"/>
                    <a:pt x="391" y="0"/>
                    <a:pt x="369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549"/>
                    <a:pt x="0" y="549"/>
                    <a:pt x="0" y="549"/>
                  </a:cubicBezTo>
                  <a:cubicBezTo>
                    <a:pt x="0" y="571"/>
                    <a:pt x="18" y="589"/>
                    <a:pt x="40" y="589"/>
                  </a:cubicBezTo>
                  <a:cubicBezTo>
                    <a:pt x="369" y="589"/>
                    <a:pt x="369" y="589"/>
                    <a:pt x="369" y="589"/>
                  </a:cubicBezTo>
                  <a:cubicBezTo>
                    <a:pt x="391" y="589"/>
                    <a:pt x="409" y="571"/>
                    <a:pt x="409" y="549"/>
                  </a:cubicBezTo>
                  <a:cubicBezTo>
                    <a:pt x="409" y="91"/>
                    <a:pt x="409" y="91"/>
                    <a:pt x="409" y="91"/>
                  </a:cubicBezTo>
                  <a:cubicBezTo>
                    <a:pt x="409" y="87"/>
                    <a:pt x="405" y="83"/>
                    <a:pt x="401" y="83"/>
                  </a:cubicBezTo>
                  <a:cubicBezTo>
                    <a:pt x="397" y="83"/>
                    <a:pt x="393" y="87"/>
                    <a:pt x="393" y="91"/>
                  </a:cubicBezTo>
                  <a:cubicBezTo>
                    <a:pt x="393" y="549"/>
                    <a:pt x="393" y="549"/>
                    <a:pt x="393" y="549"/>
                  </a:cubicBezTo>
                  <a:cubicBezTo>
                    <a:pt x="393" y="562"/>
                    <a:pt x="382" y="573"/>
                    <a:pt x="369" y="573"/>
                  </a:cubicBezTo>
                  <a:cubicBezTo>
                    <a:pt x="40" y="573"/>
                    <a:pt x="40" y="573"/>
                    <a:pt x="40" y="573"/>
                  </a:cubicBezTo>
                  <a:cubicBezTo>
                    <a:pt x="26" y="573"/>
                    <a:pt x="16" y="562"/>
                    <a:pt x="16" y="549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27"/>
                    <a:pt x="26" y="16"/>
                    <a:pt x="40" y="16"/>
                  </a:cubicBezTo>
                  <a:cubicBezTo>
                    <a:pt x="369" y="16"/>
                    <a:pt x="369" y="16"/>
                    <a:pt x="369" y="16"/>
                  </a:cubicBezTo>
                  <a:cubicBezTo>
                    <a:pt x="382" y="16"/>
                    <a:pt x="393" y="27"/>
                    <a:pt x="393" y="40"/>
                  </a:cubicBezTo>
                  <a:cubicBezTo>
                    <a:pt x="393" y="59"/>
                    <a:pt x="393" y="59"/>
                    <a:pt x="393" y="59"/>
                  </a:cubicBezTo>
                  <a:cubicBezTo>
                    <a:pt x="393" y="64"/>
                    <a:pt x="397" y="67"/>
                    <a:pt x="401" y="67"/>
                  </a:cubicBezTo>
                  <a:close/>
                  <a:moveTo>
                    <a:pt x="83" y="319"/>
                  </a:moveTo>
                  <a:cubicBezTo>
                    <a:pt x="78" y="319"/>
                    <a:pt x="75" y="322"/>
                    <a:pt x="75" y="327"/>
                  </a:cubicBezTo>
                  <a:cubicBezTo>
                    <a:pt x="75" y="331"/>
                    <a:pt x="78" y="335"/>
                    <a:pt x="83" y="335"/>
                  </a:cubicBezTo>
                  <a:cubicBezTo>
                    <a:pt x="156" y="335"/>
                    <a:pt x="156" y="335"/>
                    <a:pt x="156" y="335"/>
                  </a:cubicBezTo>
                  <a:cubicBezTo>
                    <a:pt x="159" y="335"/>
                    <a:pt x="161" y="333"/>
                    <a:pt x="163" y="331"/>
                  </a:cubicBezTo>
                  <a:cubicBezTo>
                    <a:pt x="204" y="272"/>
                    <a:pt x="204" y="272"/>
                    <a:pt x="204" y="272"/>
                  </a:cubicBezTo>
                  <a:cubicBezTo>
                    <a:pt x="246" y="331"/>
                    <a:pt x="246" y="331"/>
                    <a:pt x="246" y="331"/>
                  </a:cubicBezTo>
                  <a:cubicBezTo>
                    <a:pt x="247" y="333"/>
                    <a:pt x="250" y="335"/>
                    <a:pt x="252" y="335"/>
                  </a:cubicBezTo>
                  <a:cubicBezTo>
                    <a:pt x="326" y="335"/>
                    <a:pt x="326" y="335"/>
                    <a:pt x="326" y="335"/>
                  </a:cubicBezTo>
                  <a:cubicBezTo>
                    <a:pt x="331" y="335"/>
                    <a:pt x="334" y="331"/>
                    <a:pt x="334" y="327"/>
                  </a:cubicBezTo>
                  <a:cubicBezTo>
                    <a:pt x="334" y="322"/>
                    <a:pt x="331" y="319"/>
                    <a:pt x="326" y="319"/>
                  </a:cubicBezTo>
                  <a:cubicBezTo>
                    <a:pt x="326" y="319"/>
                    <a:pt x="326" y="319"/>
                    <a:pt x="326" y="319"/>
                  </a:cubicBezTo>
                  <a:cubicBezTo>
                    <a:pt x="257" y="319"/>
                    <a:pt x="257" y="319"/>
                    <a:pt x="257" y="319"/>
                  </a:cubicBezTo>
                  <a:cubicBezTo>
                    <a:pt x="214" y="259"/>
                    <a:pt x="214" y="259"/>
                    <a:pt x="214" y="259"/>
                  </a:cubicBezTo>
                  <a:cubicBezTo>
                    <a:pt x="333" y="91"/>
                    <a:pt x="333" y="91"/>
                    <a:pt x="333" y="91"/>
                  </a:cubicBezTo>
                  <a:cubicBezTo>
                    <a:pt x="335" y="87"/>
                    <a:pt x="334" y="82"/>
                    <a:pt x="331" y="80"/>
                  </a:cubicBezTo>
                  <a:cubicBezTo>
                    <a:pt x="327" y="77"/>
                    <a:pt x="322" y="78"/>
                    <a:pt x="320" y="81"/>
                  </a:cubicBezTo>
                  <a:cubicBezTo>
                    <a:pt x="204" y="245"/>
                    <a:pt x="204" y="245"/>
                    <a:pt x="204" y="245"/>
                  </a:cubicBezTo>
                  <a:cubicBezTo>
                    <a:pt x="89" y="81"/>
                    <a:pt x="89" y="81"/>
                    <a:pt x="89" y="81"/>
                  </a:cubicBezTo>
                  <a:cubicBezTo>
                    <a:pt x="87" y="78"/>
                    <a:pt x="82" y="77"/>
                    <a:pt x="78" y="80"/>
                  </a:cubicBezTo>
                  <a:cubicBezTo>
                    <a:pt x="74" y="82"/>
                    <a:pt x="74" y="87"/>
                    <a:pt x="76" y="91"/>
                  </a:cubicBezTo>
                  <a:cubicBezTo>
                    <a:pt x="195" y="259"/>
                    <a:pt x="195" y="259"/>
                    <a:pt x="195" y="259"/>
                  </a:cubicBezTo>
                  <a:cubicBezTo>
                    <a:pt x="152" y="319"/>
                    <a:pt x="152" y="319"/>
                    <a:pt x="152" y="319"/>
                  </a:cubicBezTo>
                  <a:lnTo>
                    <a:pt x="83" y="319"/>
                  </a:lnTo>
                  <a:close/>
                </a:path>
              </a:pathLst>
            </a:custGeom>
            <a:solidFill>
              <a:srgbClr val="E321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232" name="Text Box 14"/>
            <p:cNvSpPr txBox="1">
              <a:spLocks noChangeAspect="1" noChangeArrowheads="1"/>
            </p:cNvSpPr>
            <p:nvPr/>
          </p:nvSpPr>
          <p:spPr bwMode="auto">
            <a:xfrm>
              <a:off x="1860" y="1731"/>
              <a:ext cx="818" cy="4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lnSpc>
                  <a:spcPct val="80000"/>
                </a:lnSpc>
              </a:pPr>
              <a:r>
                <a:rPr lang="en-US" sz="1200">
                  <a:solidFill>
                    <a:srgbClr val="E32119"/>
                  </a:solidFill>
                </a:rPr>
                <a:t>D</a:t>
              </a:r>
              <a:endParaRPr lang="sv-SE" sz="1200">
                <a:solidFill>
                  <a:srgbClr val="E32119"/>
                </a:solidFill>
              </a:endParaRPr>
            </a:p>
          </p:txBody>
        </p:sp>
      </p:grpSp>
      <p:sp>
        <p:nvSpPr>
          <p:cNvPr id="233" name="Rectangle 99"/>
          <p:cNvSpPr>
            <a:spLocks noChangeAspect="1" noChangeArrowheads="1"/>
          </p:cNvSpPr>
          <p:nvPr/>
        </p:nvSpPr>
        <p:spPr bwMode="auto">
          <a:xfrm>
            <a:off x="5149850" y="2185777"/>
            <a:ext cx="333375" cy="414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rIns="0" anchor="ctr"/>
          <a:lstStyle/>
          <a:p>
            <a:pPr algn="ctr">
              <a:spcBef>
                <a:spcPct val="50000"/>
              </a:spcBef>
            </a:pPr>
            <a:endParaRPr lang="sv-SE" sz="1200"/>
          </a:p>
        </p:txBody>
      </p:sp>
      <p:sp>
        <p:nvSpPr>
          <p:cNvPr id="234" name="Freeform 4"/>
          <p:cNvSpPr>
            <a:spLocks noChangeAspect="1"/>
          </p:cNvSpPr>
          <p:nvPr/>
        </p:nvSpPr>
        <p:spPr bwMode="auto">
          <a:xfrm>
            <a:off x="5654675" y="2192127"/>
            <a:ext cx="303213" cy="379413"/>
          </a:xfrm>
          <a:custGeom>
            <a:avLst/>
            <a:gdLst>
              <a:gd name="T0" fmla="*/ 552404708 w 393"/>
              <a:gd name="T1" fmla="*/ 85935389 h 573"/>
              <a:gd name="T2" fmla="*/ 552404708 w 393"/>
              <a:gd name="T3" fmla="*/ 559894401 h 573"/>
              <a:gd name="T4" fmla="*/ 507164248 w 393"/>
              <a:gd name="T5" fmla="*/ 593215867 h 573"/>
              <a:gd name="T6" fmla="*/ 45239688 w 393"/>
              <a:gd name="T7" fmla="*/ 593215867 h 573"/>
              <a:gd name="T8" fmla="*/ 0 w 393"/>
              <a:gd name="T9" fmla="*/ 559894401 h 573"/>
              <a:gd name="T10" fmla="*/ 0 w 393"/>
              <a:gd name="T11" fmla="*/ 33322129 h 573"/>
              <a:gd name="T12" fmla="*/ 45239688 w 393"/>
              <a:gd name="T13" fmla="*/ 0 h 573"/>
              <a:gd name="T14" fmla="*/ 507164248 w 393"/>
              <a:gd name="T15" fmla="*/ 0 h 573"/>
              <a:gd name="T16" fmla="*/ 552404708 w 393"/>
              <a:gd name="T17" fmla="*/ 33322129 h 573"/>
              <a:gd name="T18" fmla="*/ 552404708 w 393"/>
              <a:gd name="T19" fmla="*/ 52613260 h 57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93"/>
              <a:gd name="T31" fmla="*/ 0 h 573"/>
              <a:gd name="T32" fmla="*/ 393 w 393"/>
              <a:gd name="T33" fmla="*/ 573 h 573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93" h="573">
                <a:moveTo>
                  <a:pt x="393" y="83"/>
                </a:moveTo>
                <a:cubicBezTo>
                  <a:pt x="393" y="541"/>
                  <a:pt x="393" y="541"/>
                  <a:pt x="393" y="541"/>
                </a:cubicBezTo>
                <a:cubicBezTo>
                  <a:pt x="393" y="559"/>
                  <a:pt x="379" y="573"/>
                  <a:pt x="361" y="573"/>
                </a:cubicBezTo>
                <a:cubicBezTo>
                  <a:pt x="32" y="573"/>
                  <a:pt x="32" y="573"/>
                  <a:pt x="32" y="573"/>
                </a:cubicBezTo>
                <a:cubicBezTo>
                  <a:pt x="14" y="573"/>
                  <a:pt x="0" y="559"/>
                  <a:pt x="0" y="541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14"/>
                  <a:pt x="14" y="0"/>
                  <a:pt x="32" y="0"/>
                </a:cubicBezTo>
                <a:cubicBezTo>
                  <a:pt x="361" y="0"/>
                  <a:pt x="361" y="0"/>
                  <a:pt x="361" y="0"/>
                </a:cubicBezTo>
                <a:cubicBezTo>
                  <a:pt x="379" y="0"/>
                  <a:pt x="393" y="14"/>
                  <a:pt x="393" y="32"/>
                </a:cubicBezTo>
                <a:cubicBezTo>
                  <a:pt x="393" y="51"/>
                  <a:pt x="393" y="51"/>
                  <a:pt x="393" y="51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/>
          </a:p>
        </p:txBody>
      </p:sp>
      <p:sp>
        <p:nvSpPr>
          <p:cNvPr id="235" name="Freeform 5"/>
          <p:cNvSpPr>
            <a:spLocks noChangeAspect="1" noEditPoints="1"/>
          </p:cNvSpPr>
          <p:nvPr/>
        </p:nvSpPr>
        <p:spPr bwMode="auto">
          <a:xfrm>
            <a:off x="5648325" y="2185777"/>
            <a:ext cx="315913" cy="392113"/>
          </a:xfrm>
          <a:custGeom>
            <a:avLst/>
            <a:gdLst>
              <a:gd name="T0" fmla="*/ 576320318 w 409"/>
              <a:gd name="T1" fmla="*/ 61603682 h 589"/>
              <a:gd name="T2" fmla="*/ 520239967 w 409"/>
              <a:gd name="T3" fmla="*/ 0 h 589"/>
              <a:gd name="T4" fmla="*/ 0 w 409"/>
              <a:gd name="T5" fmla="*/ 41659843 h 589"/>
              <a:gd name="T6" fmla="*/ 56081123 w 409"/>
              <a:gd name="T7" fmla="*/ 616480192 h 589"/>
              <a:gd name="T8" fmla="*/ 576320318 w 409"/>
              <a:gd name="T9" fmla="*/ 574819683 h 589"/>
              <a:gd name="T10" fmla="*/ 564985297 w 409"/>
              <a:gd name="T11" fmla="*/ 86865345 h 589"/>
              <a:gd name="T12" fmla="*/ 553649505 w 409"/>
              <a:gd name="T13" fmla="*/ 574819683 h 589"/>
              <a:gd name="T14" fmla="*/ 56081123 w 409"/>
              <a:gd name="T15" fmla="*/ 599638639 h 589"/>
              <a:gd name="T16" fmla="*/ 22670813 w 409"/>
              <a:gd name="T17" fmla="*/ 41659843 h 589"/>
              <a:gd name="T18" fmla="*/ 520239967 w 409"/>
              <a:gd name="T19" fmla="*/ 16841553 h 589"/>
              <a:gd name="T20" fmla="*/ 553649505 w 409"/>
              <a:gd name="T21" fmla="*/ 61603682 h 589"/>
              <a:gd name="T22" fmla="*/ 112758541 w 409"/>
              <a:gd name="T23" fmla="*/ 331950616 h 589"/>
              <a:gd name="T24" fmla="*/ 287563477 w 409"/>
              <a:gd name="T25" fmla="*/ 350564999 h 589"/>
              <a:gd name="T26" fmla="*/ 449243734 w 409"/>
              <a:gd name="T27" fmla="*/ 336825733 h 589"/>
              <a:gd name="T28" fmla="*/ 470721184 w 409"/>
              <a:gd name="T29" fmla="*/ 321314302 h 589"/>
              <a:gd name="T30" fmla="*/ 470721184 w 409"/>
              <a:gd name="T31" fmla="*/ 109025389 h 589"/>
              <a:gd name="T32" fmla="*/ 436715351 w 409"/>
              <a:gd name="T33" fmla="*/ 89968297 h 589"/>
              <a:gd name="T34" fmla="*/ 164663279 w 409"/>
              <a:gd name="T35" fmla="*/ 85979263 h 589"/>
              <a:gd name="T36" fmla="*/ 112758541 w 409"/>
              <a:gd name="T37" fmla="*/ 98388408 h 589"/>
              <a:gd name="T38" fmla="*/ 105599134 w 409"/>
              <a:gd name="T39" fmla="*/ 109911471 h 589"/>
              <a:gd name="T40" fmla="*/ 112758541 w 409"/>
              <a:gd name="T41" fmla="*/ 331950616 h 589"/>
              <a:gd name="T42" fmla="*/ 287563477 w 409"/>
              <a:gd name="T43" fmla="*/ 96172870 h 589"/>
              <a:gd name="T44" fmla="*/ 440890963 w 409"/>
              <a:gd name="T45" fmla="*/ 109025389 h 589"/>
              <a:gd name="T46" fmla="*/ 431345602 w 409"/>
              <a:gd name="T47" fmla="*/ 113013757 h 589"/>
              <a:gd name="T48" fmla="*/ 168838892 w 409"/>
              <a:gd name="T49" fmla="*/ 116116043 h 589"/>
              <a:gd name="T50" fmla="*/ 132446332 w 409"/>
              <a:gd name="T51" fmla="*/ 109911471 h 589"/>
              <a:gd name="T52" fmla="*/ 128269947 w 409"/>
              <a:gd name="T53" fmla="*/ 126753024 h 589"/>
              <a:gd name="T54" fmla="*/ 287563477 w 409"/>
              <a:gd name="T55" fmla="*/ 139162169 h 589"/>
              <a:gd name="T56" fmla="*/ 448050371 w 409"/>
              <a:gd name="T57" fmla="*/ 126753024 h 589"/>
              <a:gd name="T58" fmla="*/ 431345602 w 409"/>
              <a:gd name="T59" fmla="*/ 324416588 h 589"/>
              <a:gd name="T60" fmla="*/ 168838892 w 409"/>
              <a:gd name="T61" fmla="*/ 327518874 h 589"/>
              <a:gd name="T62" fmla="*/ 128269947 w 409"/>
              <a:gd name="T63" fmla="*/ 319098098 h 58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409"/>
              <a:gd name="T97" fmla="*/ 0 h 589"/>
              <a:gd name="T98" fmla="*/ 409 w 409"/>
              <a:gd name="T99" fmla="*/ 589 h 589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409" h="589">
                <a:moveTo>
                  <a:pt x="401" y="67"/>
                </a:moveTo>
                <a:cubicBezTo>
                  <a:pt x="405" y="67"/>
                  <a:pt x="409" y="64"/>
                  <a:pt x="409" y="59"/>
                </a:cubicBezTo>
                <a:cubicBezTo>
                  <a:pt x="409" y="40"/>
                  <a:pt x="409" y="40"/>
                  <a:pt x="409" y="40"/>
                </a:cubicBezTo>
                <a:cubicBezTo>
                  <a:pt x="409" y="18"/>
                  <a:pt x="391" y="0"/>
                  <a:pt x="369" y="0"/>
                </a:cubicBezTo>
                <a:cubicBezTo>
                  <a:pt x="40" y="0"/>
                  <a:pt x="40" y="0"/>
                  <a:pt x="40" y="0"/>
                </a:cubicBezTo>
                <a:cubicBezTo>
                  <a:pt x="18" y="0"/>
                  <a:pt x="0" y="18"/>
                  <a:pt x="0" y="40"/>
                </a:cubicBezTo>
                <a:cubicBezTo>
                  <a:pt x="0" y="549"/>
                  <a:pt x="0" y="549"/>
                  <a:pt x="0" y="549"/>
                </a:cubicBezTo>
                <a:cubicBezTo>
                  <a:pt x="0" y="571"/>
                  <a:pt x="18" y="589"/>
                  <a:pt x="40" y="589"/>
                </a:cubicBezTo>
                <a:cubicBezTo>
                  <a:pt x="369" y="589"/>
                  <a:pt x="369" y="589"/>
                  <a:pt x="369" y="589"/>
                </a:cubicBezTo>
                <a:cubicBezTo>
                  <a:pt x="391" y="589"/>
                  <a:pt x="409" y="571"/>
                  <a:pt x="409" y="549"/>
                </a:cubicBezTo>
                <a:cubicBezTo>
                  <a:pt x="409" y="91"/>
                  <a:pt x="409" y="91"/>
                  <a:pt x="409" y="91"/>
                </a:cubicBezTo>
                <a:cubicBezTo>
                  <a:pt x="409" y="87"/>
                  <a:pt x="405" y="83"/>
                  <a:pt x="401" y="83"/>
                </a:cubicBezTo>
                <a:cubicBezTo>
                  <a:pt x="397" y="83"/>
                  <a:pt x="393" y="87"/>
                  <a:pt x="393" y="91"/>
                </a:cubicBezTo>
                <a:cubicBezTo>
                  <a:pt x="393" y="549"/>
                  <a:pt x="393" y="549"/>
                  <a:pt x="393" y="549"/>
                </a:cubicBezTo>
                <a:cubicBezTo>
                  <a:pt x="393" y="562"/>
                  <a:pt x="382" y="573"/>
                  <a:pt x="369" y="573"/>
                </a:cubicBezTo>
                <a:cubicBezTo>
                  <a:pt x="40" y="573"/>
                  <a:pt x="40" y="573"/>
                  <a:pt x="40" y="573"/>
                </a:cubicBezTo>
                <a:cubicBezTo>
                  <a:pt x="26" y="573"/>
                  <a:pt x="16" y="562"/>
                  <a:pt x="16" y="549"/>
                </a:cubicBezTo>
                <a:cubicBezTo>
                  <a:pt x="16" y="40"/>
                  <a:pt x="16" y="40"/>
                  <a:pt x="16" y="40"/>
                </a:cubicBezTo>
                <a:cubicBezTo>
                  <a:pt x="16" y="27"/>
                  <a:pt x="26" y="16"/>
                  <a:pt x="40" y="16"/>
                </a:cubicBezTo>
                <a:cubicBezTo>
                  <a:pt x="369" y="16"/>
                  <a:pt x="369" y="16"/>
                  <a:pt x="369" y="16"/>
                </a:cubicBezTo>
                <a:cubicBezTo>
                  <a:pt x="382" y="16"/>
                  <a:pt x="393" y="27"/>
                  <a:pt x="393" y="40"/>
                </a:cubicBezTo>
                <a:cubicBezTo>
                  <a:pt x="393" y="59"/>
                  <a:pt x="393" y="59"/>
                  <a:pt x="393" y="59"/>
                </a:cubicBezTo>
                <a:cubicBezTo>
                  <a:pt x="393" y="64"/>
                  <a:pt x="397" y="67"/>
                  <a:pt x="401" y="67"/>
                </a:cubicBezTo>
                <a:close/>
                <a:moveTo>
                  <a:pt x="80" y="317"/>
                </a:moveTo>
                <a:cubicBezTo>
                  <a:pt x="85" y="321"/>
                  <a:pt x="91" y="323"/>
                  <a:pt x="98" y="325"/>
                </a:cubicBezTo>
                <a:cubicBezTo>
                  <a:pt x="121" y="331"/>
                  <a:pt x="160" y="335"/>
                  <a:pt x="204" y="335"/>
                </a:cubicBezTo>
                <a:cubicBezTo>
                  <a:pt x="238" y="335"/>
                  <a:pt x="269" y="333"/>
                  <a:pt x="292" y="329"/>
                </a:cubicBezTo>
                <a:cubicBezTo>
                  <a:pt x="303" y="327"/>
                  <a:pt x="312" y="325"/>
                  <a:pt x="319" y="322"/>
                </a:cubicBezTo>
                <a:cubicBezTo>
                  <a:pt x="323" y="321"/>
                  <a:pt x="326" y="319"/>
                  <a:pt x="328" y="317"/>
                </a:cubicBezTo>
                <a:cubicBezTo>
                  <a:pt x="331" y="315"/>
                  <a:pt x="334" y="311"/>
                  <a:pt x="334" y="307"/>
                </a:cubicBezTo>
                <a:cubicBezTo>
                  <a:pt x="334" y="105"/>
                  <a:pt x="334" y="105"/>
                  <a:pt x="334" y="105"/>
                </a:cubicBezTo>
                <a:cubicBezTo>
                  <a:pt x="334" y="105"/>
                  <a:pt x="334" y="104"/>
                  <a:pt x="334" y="104"/>
                </a:cubicBezTo>
                <a:cubicBezTo>
                  <a:pt x="334" y="100"/>
                  <a:pt x="331" y="96"/>
                  <a:pt x="328" y="94"/>
                </a:cubicBezTo>
                <a:cubicBezTo>
                  <a:pt x="324" y="91"/>
                  <a:pt x="318" y="88"/>
                  <a:pt x="310" y="86"/>
                </a:cubicBezTo>
                <a:cubicBezTo>
                  <a:pt x="288" y="80"/>
                  <a:pt x="249" y="76"/>
                  <a:pt x="204" y="76"/>
                </a:cubicBezTo>
                <a:cubicBezTo>
                  <a:pt x="171" y="76"/>
                  <a:pt x="140" y="78"/>
                  <a:pt x="117" y="82"/>
                </a:cubicBezTo>
                <a:cubicBezTo>
                  <a:pt x="106" y="84"/>
                  <a:pt x="97" y="86"/>
                  <a:pt x="90" y="89"/>
                </a:cubicBezTo>
                <a:cubicBezTo>
                  <a:pt x="86" y="91"/>
                  <a:pt x="83" y="92"/>
                  <a:pt x="80" y="94"/>
                </a:cubicBezTo>
                <a:cubicBezTo>
                  <a:pt x="78" y="96"/>
                  <a:pt x="75" y="100"/>
                  <a:pt x="75" y="105"/>
                </a:cubicBezTo>
                <a:cubicBezTo>
                  <a:pt x="75" y="105"/>
                  <a:pt x="75" y="105"/>
                  <a:pt x="75" y="105"/>
                </a:cubicBezTo>
                <a:cubicBezTo>
                  <a:pt x="75" y="307"/>
                  <a:pt x="75" y="307"/>
                  <a:pt x="75" y="307"/>
                </a:cubicBezTo>
                <a:cubicBezTo>
                  <a:pt x="75" y="311"/>
                  <a:pt x="78" y="315"/>
                  <a:pt x="80" y="317"/>
                </a:cubicBezTo>
                <a:close/>
                <a:moveTo>
                  <a:pt x="103" y="102"/>
                </a:moveTo>
                <a:cubicBezTo>
                  <a:pt x="122" y="96"/>
                  <a:pt x="161" y="92"/>
                  <a:pt x="204" y="92"/>
                </a:cubicBezTo>
                <a:cubicBezTo>
                  <a:pt x="238" y="92"/>
                  <a:pt x="268" y="94"/>
                  <a:pt x="289" y="98"/>
                </a:cubicBezTo>
                <a:cubicBezTo>
                  <a:pt x="299" y="100"/>
                  <a:pt x="308" y="102"/>
                  <a:pt x="313" y="104"/>
                </a:cubicBezTo>
                <a:cubicBezTo>
                  <a:pt x="314" y="104"/>
                  <a:pt x="314" y="104"/>
                  <a:pt x="315" y="105"/>
                </a:cubicBezTo>
                <a:cubicBezTo>
                  <a:pt x="313" y="106"/>
                  <a:pt x="310" y="107"/>
                  <a:pt x="306" y="108"/>
                </a:cubicBezTo>
                <a:cubicBezTo>
                  <a:pt x="286" y="113"/>
                  <a:pt x="248" y="117"/>
                  <a:pt x="204" y="117"/>
                </a:cubicBezTo>
                <a:cubicBezTo>
                  <a:pt x="171" y="117"/>
                  <a:pt x="141" y="115"/>
                  <a:pt x="120" y="111"/>
                </a:cubicBezTo>
                <a:cubicBezTo>
                  <a:pt x="109" y="110"/>
                  <a:pt x="101" y="107"/>
                  <a:pt x="96" y="105"/>
                </a:cubicBezTo>
                <a:cubicBezTo>
                  <a:pt x="95" y="105"/>
                  <a:pt x="95" y="105"/>
                  <a:pt x="94" y="105"/>
                </a:cubicBezTo>
                <a:cubicBezTo>
                  <a:pt x="96" y="104"/>
                  <a:pt x="99" y="103"/>
                  <a:pt x="103" y="102"/>
                </a:cubicBezTo>
                <a:close/>
                <a:moveTo>
                  <a:pt x="91" y="121"/>
                </a:moveTo>
                <a:cubicBezTo>
                  <a:pt x="93" y="121"/>
                  <a:pt x="96" y="122"/>
                  <a:pt x="98" y="123"/>
                </a:cubicBezTo>
                <a:cubicBezTo>
                  <a:pt x="121" y="129"/>
                  <a:pt x="160" y="133"/>
                  <a:pt x="204" y="133"/>
                </a:cubicBezTo>
                <a:cubicBezTo>
                  <a:pt x="238" y="133"/>
                  <a:pt x="269" y="131"/>
                  <a:pt x="292" y="127"/>
                </a:cubicBezTo>
                <a:cubicBezTo>
                  <a:pt x="302" y="125"/>
                  <a:pt x="311" y="123"/>
                  <a:pt x="318" y="121"/>
                </a:cubicBezTo>
                <a:cubicBezTo>
                  <a:pt x="318" y="305"/>
                  <a:pt x="318" y="305"/>
                  <a:pt x="318" y="305"/>
                </a:cubicBezTo>
                <a:cubicBezTo>
                  <a:pt x="316" y="306"/>
                  <a:pt x="312" y="308"/>
                  <a:pt x="306" y="310"/>
                </a:cubicBezTo>
                <a:cubicBezTo>
                  <a:pt x="286" y="315"/>
                  <a:pt x="248" y="319"/>
                  <a:pt x="204" y="319"/>
                </a:cubicBezTo>
                <a:cubicBezTo>
                  <a:pt x="171" y="319"/>
                  <a:pt x="141" y="317"/>
                  <a:pt x="120" y="313"/>
                </a:cubicBezTo>
                <a:cubicBezTo>
                  <a:pt x="109" y="312"/>
                  <a:pt x="101" y="309"/>
                  <a:pt x="96" y="307"/>
                </a:cubicBezTo>
                <a:cubicBezTo>
                  <a:pt x="93" y="306"/>
                  <a:pt x="92" y="306"/>
                  <a:pt x="91" y="305"/>
                </a:cubicBezTo>
                <a:lnTo>
                  <a:pt x="91" y="12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/>
          </a:p>
        </p:txBody>
      </p:sp>
      <p:sp>
        <p:nvSpPr>
          <p:cNvPr id="236" name="Text Box 6"/>
          <p:cNvSpPr txBox="1">
            <a:spLocks noChangeAspect="1" noChangeArrowheads="1"/>
          </p:cNvSpPr>
          <p:nvPr/>
        </p:nvSpPr>
        <p:spPr bwMode="auto">
          <a:xfrm>
            <a:off x="5672138" y="2429411"/>
            <a:ext cx="268287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en-US" sz="1200">
                <a:solidFill>
                  <a:srgbClr val="000000"/>
                </a:solidFill>
              </a:rPr>
              <a:t>E</a:t>
            </a:r>
            <a:endParaRPr lang="sv-SE" sz="1200">
              <a:solidFill>
                <a:srgbClr val="000000"/>
              </a:solidFill>
            </a:endParaRPr>
          </a:p>
        </p:txBody>
      </p:sp>
      <p:sp>
        <p:nvSpPr>
          <p:cNvPr id="237" name="Freeform 4"/>
          <p:cNvSpPr>
            <a:spLocks noChangeAspect="1"/>
          </p:cNvSpPr>
          <p:nvPr/>
        </p:nvSpPr>
        <p:spPr bwMode="auto">
          <a:xfrm>
            <a:off x="4664075" y="2147677"/>
            <a:ext cx="322263" cy="379413"/>
          </a:xfrm>
          <a:custGeom>
            <a:avLst/>
            <a:gdLst>
              <a:gd name="T0" fmla="*/ 623997109 w 393"/>
              <a:gd name="T1" fmla="*/ 85935389 h 573"/>
              <a:gd name="T2" fmla="*/ 623997109 w 393"/>
              <a:gd name="T3" fmla="*/ 559894401 h 573"/>
              <a:gd name="T4" fmla="*/ 572893413 w 393"/>
              <a:gd name="T5" fmla="*/ 593215867 h 573"/>
              <a:gd name="T6" fmla="*/ 51102876 w 393"/>
              <a:gd name="T7" fmla="*/ 593215867 h 573"/>
              <a:gd name="T8" fmla="*/ 0 w 393"/>
              <a:gd name="T9" fmla="*/ 559894401 h 573"/>
              <a:gd name="T10" fmla="*/ 0 w 393"/>
              <a:gd name="T11" fmla="*/ 33322129 h 573"/>
              <a:gd name="T12" fmla="*/ 51102876 w 393"/>
              <a:gd name="T13" fmla="*/ 0 h 573"/>
              <a:gd name="T14" fmla="*/ 572893413 w 393"/>
              <a:gd name="T15" fmla="*/ 0 h 573"/>
              <a:gd name="T16" fmla="*/ 623997109 w 393"/>
              <a:gd name="T17" fmla="*/ 33322129 h 573"/>
              <a:gd name="T18" fmla="*/ 623997109 w 393"/>
              <a:gd name="T19" fmla="*/ 52613260 h 57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93"/>
              <a:gd name="T31" fmla="*/ 0 h 573"/>
              <a:gd name="T32" fmla="*/ 393 w 393"/>
              <a:gd name="T33" fmla="*/ 573 h 573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93" h="573">
                <a:moveTo>
                  <a:pt x="393" y="83"/>
                </a:moveTo>
                <a:cubicBezTo>
                  <a:pt x="393" y="541"/>
                  <a:pt x="393" y="541"/>
                  <a:pt x="393" y="541"/>
                </a:cubicBezTo>
                <a:cubicBezTo>
                  <a:pt x="393" y="559"/>
                  <a:pt x="379" y="573"/>
                  <a:pt x="361" y="573"/>
                </a:cubicBezTo>
                <a:cubicBezTo>
                  <a:pt x="32" y="573"/>
                  <a:pt x="32" y="573"/>
                  <a:pt x="32" y="573"/>
                </a:cubicBezTo>
                <a:cubicBezTo>
                  <a:pt x="14" y="573"/>
                  <a:pt x="0" y="559"/>
                  <a:pt x="0" y="541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14"/>
                  <a:pt x="14" y="0"/>
                  <a:pt x="32" y="0"/>
                </a:cubicBezTo>
                <a:cubicBezTo>
                  <a:pt x="361" y="0"/>
                  <a:pt x="361" y="0"/>
                  <a:pt x="361" y="0"/>
                </a:cubicBezTo>
                <a:cubicBezTo>
                  <a:pt x="379" y="0"/>
                  <a:pt x="393" y="14"/>
                  <a:pt x="393" y="32"/>
                </a:cubicBezTo>
                <a:cubicBezTo>
                  <a:pt x="393" y="51"/>
                  <a:pt x="393" y="51"/>
                  <a:pt x="393" y="51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/>
          </a:p>
        </p:txBody>
      </p:sp>
      <p:sp>
        <p:nvSpPr>
          <p:cNvPr id="238" name="Freeform 5"/>
          <p:cNvSpPr>
            <a:spLocks noChangeAspect="1" noEditPoints="1"/>
          </p:cNvSpPr>
          <p:nvPr/>
        </p:nvSpPr>
        <p:spPr bwMode="auto">
          <a:xfrm>
            <a:off x="4657725" y="2141327"/>
            <a:ext cx="333375" cy="390525"/>
          </a:xfrm>
          <a:custGeom>
            <a:avLst/>
            <a:gdLst>
              <a:gd name="T0" fmla="*/ 629172361 w 409"/>
              <a:gd name="T1" fmla="*/ 69458418 h 589"/>
              <a:gd name="T2" fmla="*/ 641794966 w 409"/>
              <a:gd name="T3" fmla="*/ 61105559 h 589"/>
              <a:gd name="T4" fmla="*/ 641794966 w 409"/>
              <a:gd name="T5" fmla="*/ 41323380 h 589"/>
              <a:gd name="T6" fmla="*/ 579342987 w 409"/>
              <a:gd name="T7" fmla="*/ 0 h 589"/>
              <a:gd name="T8" fmla="*/ 62451978 w 409"/>
              <a:gd name="T9" fmla="*/ 0 h 589"/>
              <a:gd name="T10" fmla="*/ 0 w 409"/>
              <a:gd name="T11" fmla="*/ 41323380 h 589"/>
              <a:gd name="T12" fmla="*/ 0 w 409"/>
              <a:gd name="T13" fmla="*/ 570173793 h 589"/>
              <a:gd name="T14" fmla="*/ 62451978 w 409"/>
              <a:gd name="T15" fmla="*/ 611497173 h 589"/>
              <a:gd name="T16" fmla="*/ 579342987 w 409"/>
              <a:gd name="T17" fmla="*/ 611497173 h 589"/>
              <a:gd name="T18" fmla="*/ 641794966 w 409"/>
              <a:gd name="T19" fmla="*/ 570173793 h 589"/>
              <a:gd name="T20" fmla="*/ 641794966 w 409"/>
              <a:gd name="T21" fmla="*/ 94516332 h 589"/>
              <a:gd name="T22" fmla="*/ 629172361 w 409"/>
              <a:gd name="T23" fmla="*/ 86163473 h 589"/>
              <a:gd name="T24" fmla="*/ 616548942 w 409"/>
              <a:gd name="T25" fmla="*/ 94516332 h 589"/>
              <a:gd name="T26" fmla="*/ 616548942 w 409"/>
              <a:gd name="T27" fmla="*/ 570173793 h 589"/>
              <a:gd name="T28" fmla="*/ 579342987 w 409"/>
              <a:gd name="T29" fmla="*/ 594791455 h 589"/>
              <a:gd name="T30" fmla="*/ 62451978 w 409"/>
              <a:gd name="T31" fmla="*/ 594791455 h 589"/>
              <a:gd name="T32" fmla="*/ 25246839 w 409"/>
              <a:gd name="T33" fmla="*/ 570173793 h 589"/>
              <a:gd name="T34" fmla="*/ 25246839 w 409"/>
              <a:gd name="T35" fmla="*/ 41323380 h 589"/>
              <a:gd name="T36" fmla="*/ 62451978 w 409"/>
              <a:gd name="T37" fmla="*/ 16705055 h 589"/>
              <a:gd name="T38" fmla="*/ 579342987 w 409"/>
              <a:gd name="T39" fmla="*/ 16705055 h 589"/>
              <a:gd name="T40" fmla="*/ 616548942 w 409"/>
              <a:gd name="T41" fmla="*/ 41323380 h 589"/>
              <a:gd name="T42" fmla="*/ 616548942 w 409"/>
              <a:gd name="T43" fmla="*/ 61105559 h 589"/>
              <a:gd name="T44" fmla="*/ 629172361 w 409"/>
              <a:gd name="T45" fmla="*/ 69458418 h 589"/>
              <a:gd name="T46" fmla="*/ 320233178 w 409"/>
              <a:gd name="T47" fmla="*/ 78689793 h 589"/>
              <a:gd name="T48" fmla="*/ 308938368 w 409"/>
              <a:gd name="T49" fmla="*/ 83086349 h 589"/>
              <a:gd name="T50" fmla="*/ 117595790 w 409"/>
              <a:gd name="T51" fmla="*/ 336301035 h 589"/>
              <a:gd name="T52" fmla="*/ 119589519 w 409"/>
              <a:gd name="T53" fmla="*/ 344653894 h 589"/>
              <a:gd name="T54" fmla="*/ 130219209 w 409"/>
              <a:gd name="T55" fmla="*/ 347731019 h 589"/>
              <a:gd name="T56" fmla="*/ 511575756 w 409"/>
              <a:gd name="T57" fmla="*/ 347731019 h 589"/>
              <a:gd name="T58" fmla="*/ 522206262 w 409"/>
              <a:gd name="T59" fmla="*/ 344653894 h 589"/>
              <a:gd name="T60" fmla="*/ 522206262 w 409"/>
              <a:gd name="T61" fmla="*/ 336301035 h 589"/>
              <a:gd name="T62" fmla="*/ 332856598 w 409"/>
              <a:gd name="T63" fmla="*/ 83086349 h 589"/>
              <a:gd name="T64" fmla="*/ 320233178 w 409"/>
              <a:gd name="T65" fmla="*/ 78689793 h 589"/>
              <a:gd name="T66" fmla="*/ 150815101 w 409"/>
              <a:gd name="T67" fmla="*/ 331025964 h 589"/>
              <a:gd name="T68" fmla="*/ 320233178 w 409"/>
              <a:gd name="T69" fmla="*/ 105945653 h 589"/>
              <a:gd name="T70" fmla="*/ 490979865 w 409"/>
              <a:gd name="T71" fmla="*/ 331025964 h 589"/>
              <a:gd name="T72" fmla="*/ 150815101 w 409"/>
              <a:gd name="T73" fmla="*/ 331025964 h 58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409"/>
              <a:gd name="T112" fmla="*/ 0 h 589"/>
              <a:gd name="T113" fmla="*/ 409 w 409"/>
              <a:gd name="T114" fmla="*/ 589 h 589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409" h="589">
                <a:moveTo>
                  <a:pt x="401" y="67"/>
                </a:moveTo>
                <a:cubicBezTo>
                  <a:pt x="405" y="67"/>
                  <a:pt x="409" y="64"/>
                  <a:pt x="409" y="59"/>
                </a:cubicBezTo>
                <a:cubicBezTo>
                  <a:pt x="409" y="40"/>
                  <a:pt x="409" y="40"/>
                  <a:pt x="409" y="40"/>
                </a:cubicBezTo>
                <a:cubicBezTo>
                  <a:pt x="409" y="18"/>
                  <a:pt x="391" y="0"/>
                  <a:pt x="369" y="0"/>
                </a:cubicBezTo>
                <a:cubicBezTo>
                  <a:pt x="40" y="0"/>
                  <a:pt x="40" y="0"/>
                  <a:pt x="40" y="0"/>
                </a:cubicBezTo>
                <a:cubicBezTo>
                  <a:pt x="18" y="0"/>
                  <a:pt x="0" y="18"/>
                  <a:pt x="0" y="40"/>
                </a:cubicBezTo>
                <a:cubicBezTo>
                  <a:pt x="0" y="549"/>
                  <a:pt x="0" y="549"/>
                  <a:pt x="0" y="549"/>
                </a:cubicBezTo>
                <a:cubicBezTo>
                  <a:pt x="0" y="571"/>
                  <a:pt x="18" y="589"/>
                  <a:pt x="40" y="589"/>
                </a:cubicBezTo>
                <a:cubicBezTo>
                  <a:pt x="369" y="589"/>
                  <a:pt x="369" y="589"/>
                  <a:pt x="369" y="589"/>
                </a:cubicBezTo>
                <a:cubicBezTo>
                  <a:pt x="391" y="589"/>
                  <a:pt x="409" y="571"/>
                  <a:pt x="409" y="549"/>
                </a:cubicBezTo>
                <a:cubicBezTo>
                  <a:pt x="409" y="91"/>
                  <a:pt x="409" y="91"/>
                  <a:pt x="409" y="91"/>
                </a:cubicBezTo>
                <a:cubicBezTo>
                  <a:pt x="409" y="87"/>
                  <a:pt x="405" y="83"/>
                  <a:pt x="401" y="83"/>
                </a:cubicBezTo>
                <a:cubicBezTo>
                  <a:pt x="397" y="83"/>
                  <a:pt x="393" y="87"/>
                  <a:pt x="393" y="91"/>
                </a:cubicBezTo>
                <a:cubicBezTo>
                  <a:pt x="393" y="549"/>
                  <a:pt x="393" y="549"/>
                  <a:pt x="393" y="549"/>
                </a:cubicBezTo>
                <a:cubicBezTo>
                  <a:pt x="393" y="562"/>
                  <a:pt x="382" y="573"/>
                  <a:pt x="369" y="573"/>
                </a:cubicBezTo>
                <a:cubicBezTo>
                  <a:pt x="40" y="573"/>
                  <a:pt x="40" y="573"/>
                  <a:pt x="40" y="573"/>
                </a:cubicBezTo>
                <a:cubicBezTo>
                  <a:pt x="26" y="573"/>
                  <a:pt x="16" y="562"/>
                  <a:pt x="16" y="549"/>
                </a:cubicBezTo>
                <a:cubicBezTo>
                  <a:pt x="16" y="40"/>
                  <a:pt x="16" y="40"/>
                  <a:pt x="16" y="40"/>
                </a:cubicBezTo>
                <a:cubicBezTo>
                  <a:pt x="16" y="27"/>
                  <a:pt x="26" y="16"/>
                  <a:pt x="40" y="16"/>
                </a:cubicBezTo>
                <a:cubicBezTo>
                  <a:pt x="369" y="16"/>
                  <a:pt x="369" y="16"/>
                  <a:pt x="369" y="16"/>
                </a:cubicBezTo>
                <a:cubicBezTo>
                  <a:pt x="382" y="16"/>
                  <a:pt x="393" y="27"/>
                  <a:pt x="393" y="40"/>
                </a:cubicBezTo>
                <a:cubicBezTo>
                  <a:pt x="393" y="59"/>
                  <a:pt x="393" y="59"/>
                  <a:pt x="393" y="59"/>
                </a:cubicBezTo>
                <a:cubicBezTo>
                  <a:pt x="393" y="64"/>
                  <a:pt x="397" y="67"/>
                  <a:pt x="401" y="67"/>
                </a:cubicBezTo>
                <a:close/>
                <a:moveTo>
                  <a:pt x="204" y="76"/>
                </a:moveTo>
                <a:cubicBezTo>
                  <a:pt x="201" y="76"/>
                  <a:pt x="199" y="78"/>
                  <a:pt x="197" y="80"/>
                </a:cubicBezTo>
                <a:cubicBezTo>
                  <a:pt x="75" y="324"/>
                  <a:pt x="75" y="324"/>
                  <a:pt x="75" y="324"/>
                </a:cubicBezTo>
                <a:cubicBezTo>
                  <a:pt x="74" y="326"/>
                  <a:pt x="74" y="329"/>
                  <a:pt x="76" y="332"/>
                </a:cubicBezTo>
                <a:cubicBezTo>
                  <a:pt x="77" y="334"/>
                  <a:pt x="80" y="335"/>
                  <a:pt x="83" y="335"/>
                </a:cubicBezTo>
                <a:cubicBezTo>
                  <a:pt x="326" y="335"/>
                  <a:pt x="326" y="335"/>
                  <a:pt x="326" y="335"/>
                </a:cubicBezTo>
                <a:cubicBezTo>
                  <a:pt x="329" y="335"/>
                  <a:pt x="332" y="334"/>
                  <a:pt x="333" y="332"/>
                </a:cubicBezTo>
                <a:cubicBezTo>
                  <a:pt x="334" y="329"/>
                  <a:pt x="335" y="326"/>
                  <a:pt x="333" y="324"/>
                </a:cubicBezTo>
                <a:cubicBezTo>
                  <a:pt x="212" y="80"/>
                  <a:pt x="212" y="80"/>
                  <a:pt x="212" y="80"/>
                </a:cubicBezTo>
                <a:cubicBezTo>
                  <a:pt x="210" y="78"/>
                  <a:pt x="207" y="76"/>
                  <a:pt x="204" y="76"/>
                </a:cubicBezTo>
                <a:close/>
                <a:moveTo>
                  <a:pt x="96" y="319"/>
                </a:moveTo>
                <a:cubicBezTo>
                  <a:pt x="204" y="102"/>
                  <a:pt x="204" y="102"/>
                  <a:pt x="204" y="102"/>
                </a:cubicBezTo>
                <a:cubicBezTo>
                  <a:pt x="313" y="319"/>
                  <a:pt x="313" y="319"/>
                  <a:pt x="313" y="319"/>
                </a:cubicBezTo>
                <a:lnTo>
                  <a:pt x="96" y="319"/>
                </a:lnTo>
                <a:close/>
              </a:path>
            </a:pathLst>
          </a:cu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/>
          </a:p>
        </p:txBody>
      </p:sp>
      <p:sp>
        <p:nvSpPr>
          <p:cNvPr id="239" name="Text Box 6"/>
          <p:cNvSpPr txBox="1">
            <a:spLocks noChangeAspect="1" noChangeArrowheads="1"/>
          </p:cNvSpPr>
          <p:nvPr/>
        </p:nvSpPr>
        <p:spPr bwMode="auto">
          <a:xfrm>
            <a:off x="4683125" y="2383374"/>
            <a:ext cx="279400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en-US" sz="1200">
                <a:solidFill>
                  <a:srgbClr val="00A9D4"/>
                </a:solidFill>
              </a:rPr>
              <a:t>B</a:t>
            </a:r>
            <a:endParaRPr lang="sv-SE" sz="1200">
              <a:solidFill>
                <a:srgbClr val="00A9D4"/>
              </a:solidFill>
            </a:endParaRPr>
          </a:p>
        </p:txBody>
      </p:sp>
      <p:sp>
        <p:nvSpPr>
          <p:cNvPr id="240" name="AutoShape 6"/>
          <p:cNvSpPr>
            <a:spLocks noChangeArrowheads="1"/>
          </p:cNvSpPr>
          <p:nvPr/>
        </p:nvSpPr>
        <p:spPr bwMode="auto">
          <a:xfrm>
            <a:off x="4000500" y="3277977"/>
            <a:ext cx="2125663" cy="257175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 w="38100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US" sz="900" b="1">
                <a:solidFill>
                  <a:schemeClr val="bg1"/>
                </a:solidFill>
              </a:rPr>
              <a:t>HW</a:t>
            </a:r>
          </a:p>
        </p:txBody>
      </p:sp>
      <p:sp>
        <p:nvSpPr>
          <p:cNvPr id="241" name="AutoShape 22"/>
          <p:cNvSpPr>
            <a:spLocks noChangeArrowheads="1"/>
          </p:cNvSpPr>
          <p:nvPr/>
        </p:nvSpPr>
        <p:spPr bwMode="auto">
          <a:xfrm>
            <a:off x="4005263" y="2736640"/>
            <a:ext cx="2125662" cy="219075"/>
          </a:xfrm>
          <a:prstGeom prst="roundRect">
            <a:avLst>
              <a:gd name="adj" fmla="val 16667"/>
            </a:avLst>
          </a:prstGeom>
          <a:solidFill>
            <a:srgbClr val="7B0663"/>
          </a:solidFill>
          <a:ln w="38100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US" sz="900" b="1">
                <a:solidFill>
                  <a:schemeClr val="bg1"/>
                </a:solidFill>
              </a:rPr>
              <a:t>HA Middleware</a:t>
            </a:r>
          </a:p>
        </p:txBody>
      </p:sp>
      <p:sp>
        <p:nvSpPr>
          <p:cNvPr id="242" name="AutoShape 36"/>
          <p:cNvSpPr>
            <a:spLocks noChangeArrowheads="1"/>
          </p:cNvSpPr>
          <p:nvPr/>
        </p:nvSpPr>
        <p:spPr bwMode="auto">
          <a:xfrm>
            <a:off x="4000500" y="2209590"/>
            <a:ext cx="358775" cy="419100"/>
          </a:xfrm>
          <a:prstGeom prst="roundRect">
            <a:avLst>
              <a:gd name="adj" fmla="val 16667"/>
            </a:avLst>
          </a:prstGeom>
          <a:solidFill>
            <a:srgbClr val="89BA17"/>
          </a:solidFill>
          <a:ln w="38100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US" sz="900" b="1">
                <a:solidFill>
                  <a:schemeClr val="bg1"/>
                </a:solidFill>
              </a:rPr>
              <a:t>OAM</a:t>
            </a:r>
          </a:p>
        </p:txBody>
      </p:sp>
      <p:sp>
        <p:nvSpPr>
          <p:cNvPr id="243" name="AutoShape 22"/>
          <p:cNvSpPr>
            <a:spLocks noChangeArrowheads="1"/>
          </p:cNvSpPr>
          <p:nvPr/>
        </p:nvSpPr>
        <p:spPr bwMode="auto">
          <a:xfrm>
            <a:off x="4000500" y="3011277"/>
            <a:ext cx="2125663" cy="220663"/>
          </a:xfrm>
          <a:prstGeom prst="roundRect">
            <a:avLst>
              <a:gd name="adj" fmla="val 16667"/>
            </a:avLst>
          </a:prstGeom>
          <a:solidFill>
            <a:srgbClr val="F08A00"/>
          </a:solidFill>
          <a:ln w="38100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US" sz="900" b="1">
                <a:solidFill>
                  <a:srgbClr val="00285F"/>
                </a:solidFill>
              </a:rPr>
              <a:t>Linux</a:t>
            </a:r>
          </a:p>
        </p:txBody>
      </p:sp>
      <p:sp>
        <p:nvSpPr>
          <p:cNvPr id="244" name="Rectangle 8"/>
          <p:cNvSpPr>
            <a:spLocks noChangeArrowheads="1"/>
          </p:cNvSpPr>
          <p:nvPr/>
        </p:nvSpPr>
        <p:spPr bwMode="auto">
          <a:xfrm>
            <a:off x="7114539" y="5082215"/>
            <a:ext cx="5028885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spcBef>
                <a:spcPct val="20000"/>
              </a:spcBef>
              <a:buClr>
                <a:srgbClr val="00A9D4"/>
              </a:buClr>
            </a:pPr>
            <a:r>
              <a:rPr lang="en-US" sz="2400" dirty="0" smtClean="0"/>
              <a:t>Carrier Grade Cloud Services</a:t>
            </a:r>
            <a:endParaRPr lang="en-US" sz="2400" dirty="0"/>
          </a:p>
          <a:p>
            <a:pPr marL="533400" lvl="1" indent="-177800" algn="ctr">
              <a:spcBef>
                <a:spcPct val="20000"/>
              </a:spcBef>
              <a:buClr>
                <a:srgbClr val="00A9D4"/>
              </a:buClr>
              <a:buFont typeface="Arial" pitchFamily="34" charset="0"/>
              <a:buChar char="›"/>
            </a:pPr>
            <a:r>
              <a:rPr lang="en-US" dirty="0" smtClean="0"/>
              <a:t>Benefits </a:t>
            </a:r>
            <a:r>
              <a:rPr lang="en-US" dirty="0"/>
              <a:t>from </a:t>
            </a:r>
            <a:r>
              <a:rPr lang="en-US" dirty="0" smtClean="0"/>
              <a:t>Cloud systems</a:t>
            </a:r>
          </a:p>
          <a:p>
            <a:pPr marL="533400" lvl="1" indent="-177800" algn="ctr">
              <a:spcBef>
                <a:spcPct val="20000"/>
              </a:spcBef>
              <a:buClr>
                <a:srgbClr val="00A9D4"/>
              </a:buClr>
              <a:buFont typeface="Arial" pitchFamily="34" charset="0"/>
              <a:buChar char="›"/>
            </a:pPr>
            <a:r>
              <a:rPr lang="en-US" dirty="0" smtClean="0"/>
              <a:t>Benefits </a:t>
            </a:r>
            <a:r>
              <a:rPr lang="en-US" dirty="0"/>
              <a:t>from </a:t>
            </a:r>
            <a:r>
              <a:rPr lang="en-US" dirty="0" smtClean="0"/>
              <a:t>Telco systems</a:t>
            </a:r>
          </a:p>
        </p:txBody>
      </p:sp>
    </p:spTree>
    <p:extLst>
      <p:ext uri="{BB962C8B-B14F-4D97-AF65-F5344CB8AC3E}">
        <p14:creationId xmlns:p14="http://schemas.microsoft.com/office/powerpoint/2010/main" val="6830434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7" name="Rectangle 2" descr="bpct-blend5"/>
          <p:cNvSpPr>
            <a:spLocks noChangeArrowheads="1"/>
          </p:cNvSpPr>
          <p:nvPr/>
        </p:nvSpPr>
        <p:spPr bwMode="auto">
          <a:xfrm>
            <a:off x="0" y="0"/>
            <a:ext cx="9329738" cy="6858000"/>
          </a:xfrm>
          <a:prstGeom prst="rect">
            <a:avLst/>
          </a:prstGeom>
          <a:blipFill dpi="0" rotWithShape="0">
            <a:blip r:embed="rId3"/>
            <a:srcRect/>
            <a:stretch>
              <a:fillRect/>
            </a:stretch>
          </a:blip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sv-SE">
              <a:solidFill>
                <a:srgbClr val="58585A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22531" name="Rectangle 14"/>
          <p:cNvSpPr>
            <a:spLocks noGrp="1" noChangeArrowheads="1"/>
          </p:cNvSpPr>
          <p:nvPr>
            <p:ph type="title" idx="4294967295"/>
          </p:nvPr>
        </p:nvSpPr>
        <p:spPr>
          <a:xfrm>
            <a:off x="106363" y="230188"/>
            <a:ext cx="9210675" cy="1085850"/>
          </a:xfrm>
        </p:spPr>
        <p:txBody>
          <a:bodyPr/>
          <a:lstStyle/>
          <a:p>
            <a:pPr eaLnBrk="1" hangingPunct="1"/>
            <a:r>
              <a:rPr lang="sv-SE" sz="4000" dirty="0" smtClean="0">
                <a:solidFill>
                  <a:schemeClr val="bg1"/>
                </a:solidFill>
                <a:latin typeface="Ericsson Capital TT" pitchFamily="2" charset="0"/>
              </a:rPr>
              <a:t>Industry activities </a:t>
            </a:r>
            <a:br>
              <a:rPr lang="sv-SE" sz="4000" dirty="0" smtClean="0">
                <a:solidFill>
                  <a:schemeClr val="bg1"/>
                </a:solidFill>
                <a:latin typeface="Ericsson Capital TT" pitchFamily="2" charset="0"/>
              </a:rPr>
            </a:br>
            <a:r>
              <a:rPr lang="sv-SE" sz="4000" dirty="0" smtClean="0">
                <a:solidFill>
                  <a:schemeClr val="bg1"/>
                </a:solidFill>
                <a:latin typeface="Ericsson Capital TT" pitchFamily="2" charset="0"/>
              </a:rPr>
              <a:t>SDN and virtualization </a:t>
            </a:r>
          </a:p>
        </p:txBody>
      </p:sp>
      <p:sp>
        <p:nvSpPr>
          <p:cNvPr id="22532" name="TextBox 7"/>
          <p:cNvSpPr txBox="1">
            <a:spLocks noChangeArrowheads="1"/>
          </p:cNvSpPr>
          <p:nvPr/>
        </p:nvSpPr>
        <p:spPr bwMode="auto">
          <a:xfrm>
            <a:off x="119063" y="1220706"/>
            <a:ext cx="9210675" cy="5878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000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Clr>
                <a:srgbClr val="FFFFFF"/>
              </a:buClr>
              <a:buFont typeface="Arial" charset="0"/>
              <a:buChar char="›"/>
            </a:pPr>
            <a:r>
              <a:rPr lang="en-US" sz="2400" dirty="0" err="1">
                <a:solidFill>
                  <a:srgbClr val="FFFFFF"/>
                </a:solidFill>
              </a:rPr>
              <a:t>OpenStack</a:t>
            </a:r>
            <a:r>
              <a:rPr lang="en-US" dirty="0">
                <a:solidFill>
                  <a:srgbClr val="FFFFFF"/>
                </a:solidFill>
              </a:rPr>
              <a:t/>
            </a:r>
            <a:br>
              <a:rPr lang="en-US" dirty="0">
                <a:solidFill>
                  <a:srgbClr val="FFFFFF"/>
                </a:solidFill>
              </a:rPr>
            </a:br>
            <a:r>
              <a:rPr lang="en-US" sz="1600" dirty="0">
                <a:solidFill>
                  <a:srgbClr val="FFFFFF"/>
                </a:solidFill>
              </a:rPr>
              <a:t>Open source cloud orchestration environment for telecom and enterprise. Ericsson active Gold member and contribute on Neutron Project.</a:t>
            </a:r>
            <a:endParaRPr lang="en-US" dirty="0">
              <a:solidFill>
                <a:srgbClr val="FFFFFF"/>
              </a:solidFill>
            </a:endParaRPr>
          </a:p>
          <a:p>
            <a:pPr eaLnBrk="1" hangingPunct="1">
              <a:buClr>
                <a:srgbClr val="FFFFFF"/>
              </a:buClr>
              <a:buFont typeface="Arial" charset="0"/>
              <a:buChar char="›"/>
            </a:pPr>
            <a:endParaRPr lang="en-US" sz="2400" dirty="0" smtClean="0">
              <a:solidFill>
                <a:srgbClr val="FFFFFF"/>
              </a:solidFill>
            </a:endParaRPr>
          </a:p>
          <a:p>
            <a:pPr eaLnBrk="1" hangingPunct="1">
              <a:buClr>
                <a:srgbClr val="FFFFFF"/>
              </a:buClr>
              <a:buFont typeface="Arial" charset="0"/>
              <a:buChar char="›"/>
            </a:pPr>
            <a:r>
              <a:rPr lang="en-US" sz="2400" dirty="0" err="1" smtClean="0">
                <a:solidFill>
                  <a:srgbClr val="FFFFFF"/>
                </a:solidFill>
              </a:rPr>
              <a:t>OpenDayLight</a:t>
            </a:r>
            <a:r>
              <a:rPr lang="en-US" dirty="0">
                <a:solidFill>
                  <a:srgbClr val="FFFFFF"/>
                </a:solidFill>
              </a:rPr>
              <a:t/>
            </a:r>
            <a:br>
              <a:rPr lang="en-US" dirty="0">
                <a:solidFill>
                  <a:srgbClr val="FFFFFF"/>
                </a:solidFill>
              </a:rPr>
            </a:br>
            <a:r>
              <a:rPr lang="en-US" sz="1600" dirty="0">
                <a:solidFill>
                  <a:srgbClr val="FFFFFF"/>
                </a:solidFill>
              </a:rPr>
              <a:t>Open source SDN controller environment as a complement to existing control mechanisms in a service provider environment. Ericsson Platinum member and driving the </a:t>
            </a:r>
            <a:r>
              <a:rPr lang="en-US" sz="1600" dirty="0" err="1">
                <a:solidFill>
                  <a:srgbClr val="FFFFFF"/>
                </a:solidFill>
              </a:rPr>
              <a:t>OpenFlow</a:t>
            </a:r>
            <a:r>
              <a:rPr lang="en-US" sz="1600" dirty="0">
                <a:solidFill>
                  <a:srgbClr val="FFFFFF"/>
                </a:solidFill>
              </a:rPr>
              <a:t> work. </a:t>
            </a:r>
          </a:p>
          <a:p>
            <a:pPr eaLnBrk="1" hangingPunct="1">
              <a:buClr>
                <a:srgbClr val="FFFFFF"/>
              </a:buClr>
              <a:buFont typeface="Arial" charset="0"/>
              <a:buChar char="›"/>
            </a:pPr>
            <a:endParaRPr lang="en-US" sz="2400" dirty="0" smtClean="0">
              <a:solidFill>
                <a:srgbClr val="FFFFFF"/>
              </a:solidFill>
            </a:endParaRPr>
          </a:p>
          <a:p>
            <a:pPr eaLnBrk="1" hangingPunct="1">
              <a:buClr>
                <a:srgbClr val="FFFFFF"/>
              </a:buClr>
              <a:buFont typeface="Arial" charset="0"/>
              <a:buChar char="›"/>
            </a:pPr>
            <a:r>
              <a:rPr lang="en-US" sz="2400" dirty="0" smtClean="0">
                <a:solidFill>
                  <a:srgbClr val="FFFFFF"/>
                </a:solidFill>
              </a:rPr>
              <a:t>DMTF </a:t>
            </a:r>
            <a:r>
              <a:rPr lang="en-US" sz="2400" dirty="0">
                <a:solidFill>
                  <a:srgbClr val="FFFFFF"/>
                </a:solidFill>
              </a:rPr>
              <a:t>(Distributed Management Task Force)</a:t>
            </a:r>
            <a:r>
              <a:rPr lang="en-US" dirty="0">
                <a:solidFill>
                  <a:srgbClr val="FFFFFF"/>
                </a:solidFill>
              </a:rPr>
              <a:t/>
            </a:r>
            <a:br>
              <a:rPr lang="en-US" dirty="0">
                <a:solidFill>
                  <a:srgbClr val="FFFFFF"/>
                </a:solidFill>
              </a:rPr>
            </a:br>
            <a:r>
              <a:rPr lang="en-US" sz="1600" dirty="0">
                <a:solidFill>
                  <a:srgbClr val="FFFFFF"/>
                </a:solidFill>
              </a:rPr>
              <a:t>OVF extensions required for telecom cloud. Ericsson is driving OVF requirement for Telco environment</a:t>
            </a:r>
          </a:p>
          <a:p>
            <a:pPr eaLnBrk="1" hangingPunct="1">
              <a:buClr>
                <a:srgbClr val="FFFFFF"/>
              </a:buClr>
              <a:buFont typeface="Arial" charset="0"/>
              <a:buChar char="›"/>
            </a:pPr>
            <a:endParaRPr lang="en-US" sz="2400" dirty="0" smtClean="0">
              <a:solidFill>
                <a:srgbClr val="FFFFFF"/>
              </a:solidFill>
            </a:endParaRPr>
          </a:p>
          <a:p>
            <a:pPr eaLnBrk="1" hangingPunct="1">
              <a:buClr>
                <a:srgbClr val="FFFFFF"/>
              </a:buClr>
              <a:buFont typeface="Arial" charset="0"/>
              <a:buChar char="›"/>
            </a:pPr>
            <a:r>
              <a:rPr lang="en-US" sz="2400" dirty="0" smtClean="0">
                <a:solidFill>
                  <a:srgbClr val="FFFFFF"/>
                </a:solidFill>
              </a:rPr>
              <a:t>IETF</a:t>
            </a:r>
            <a:endParaRPr lang="en-US" sz="2400" dirty="0">
              <a:solidFill>
                <a:srgbClr val="FFFFFF"/>
              </a:solidFill>
            </a:endParaRPr>
          </a:p>
          <a:p>
            <a:pPr lvl="1" eaLnBrk="1" hangingPunct="1">
              <a:buClr>
                <a:srgbClr val="FFFFFF"/>
              </a:buClr>
            </a:pPr>
            <a:r>
              <a:rPr lang="en-US" sz="1600" dirty="0">
                <a:solidFill>
                  <a:srgbClr val="FFFFFF"/>
                </a:solidFill>
              </a:rPr>
              <a:t>Specifying various proposals on enhancing traditional equipment to support the migration to NFV, such as I2RS, Service Chaining, ABNO</a:t>
            </a:r>
            <a:endParaRPr lang="en-US" dirty="0">
              <a:solidFill>
                <a:srgbClr val="FFFFFF"/>
              </a:solidFill>
            </a:endParaRPr>
          </a:p>
          <a:p>
            <a:pPr eaLnBrk="1" hangingPunct="1">
              <a:buClr>
                <a:srgbClr val="FFFFFF"/>
              </a:buClr>
              <a:buFont typeface="Arial" charset="0"/>
              <a:buChar char="›"/>
            </a:pPr>
            <a:endParaRPr lang="en-US" sz="2400" dirty="0" smtClean="0">
              <a:solidFill>
                <a:srgbClr val="FFFFFF"/>
              </a:solidFill>
            </a:endParaRPr>
          </a:p>
          <a:p>
            <a:pPr eaLnBrk="1" hangingPunct="1">
              <a:buClr>
                <a:srgbClr val="FFFFFF"/>
              </a:buClr>
              <a:buFont typeface="Arial" charset="0"/>
              <a:buChar char="›"/>
            </a:pPr>
            <a:r>
              <a:rPr lang="en-US" sz="2400" dirty="0" smtClean="0">
                <a:solidFill>
                  <a:srgbClr val="FFFFFF"/>
                </a:solidFill>
              </a:rPr>
              <a:t>ONF </a:t>
            </a:r>
            <a:r>
              <a:rPr lang="en-US" sz="2400" dirty="0">
                <a:solidFill>
                  <a:srgbClr val="FFFFFF"/>
                </a:solidFill>
              </a:rPr>
              <a:t>(Open Networking Function)</a:t>
            </a:r>
          </a:p>
          <a:p>
            <a:pPr lvl="1" eaLnBrk="1" hangingPunct="1">
              <a:buClr>
                <a:srgbClr val="FFFFFF"/>
              </a:buClr>
            </a:pPr>
            <a:r>
              <a:rPr lang="en-US" sz="1600" dirty="0">
                <a:solidFill>
                  <a:srgbClr val="FFFFFF"/>
                </a:solidFill>
              </a:rPr>
              <a:t>SDN framework and </a:t>
            </a:r>
            <a:r>
              <a:rPr lang="en-US" sz="1600" dirty="0" err="1">
                <a:solidFill>
                  <a:srgbClr val="FFFFFF"/>
                </a:solidFill>
              </a:rPr>
              <a:t>OpenFlow</a:t>
            </a:r>
            <a:r>
              <a:rPr lang="en-US" sz="1600" dirty="0">
                <a:solidFill>
                  <a:srgbClr val="FFFFFF"/>
                </a:solidFill>
              </a:rPr>
              <a:t>. Ericsson is actively involved in </a:t>
            </a:r>
            <a:r>
              <a:rPr lang="en-US" sz="1600" dirty="0" err="1">
                <a:solidFill>
                  <a:srgbClr val="FFFFFF"/>
                </a:solidFill>
              </a:rPr>
              <a:t>OpenFlow</a:t>
            </a:r>
            <a:r>
              <a:rPr lang="en-US" sz="1600" dirty="0">
                <a:solidFill>
                  <a:srgbClr val="FFFFFF"/>
                </a:solidFill>
              </a:rPr>
              <a:t> activities</a:t>
            </a:r>
          </a:p>
          <a:p>
            <a:pPr eaLnBrk="1" hangingPunct="1">
              <a:buClr>
                <a:srgbClr val="FFFFFF"/>
              </a:buClr>
              <a:buFont typeface="Wingdings" pitchFamily="2" charset="2"/>
              <a:buNone/>
            </a:pPr>
            <a:endParaRPr lang="en-US" sz="1600" dirty="0">
              <a:solidFill>
                <a:srgbClr val="FFFFFF"/>
              </a:solidFill>
            </a:endParaRPr>
          </a:p>
        </p:txBody>
      </p:sp>
      <p:pic>
        <p:nvPicPr>
          <p:cNvPr id="22533" name="Picture 6" descr="ANd9GcQmqiHOAJw904_HS1Wz9H7qTw8gybIiXKaef2rigjInug9VI1rdprcPjA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8263" y="1341691"/>
            <a:ext cx="1174750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4" name="Picture 6"/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7838" y="2744121"/>
            <a:ext cx="2811462" cy="468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5" name="Picture 24" descr="ANd9GcQUxvrpCenpwKhchiHKnHyp75Ng-hbZnVuXPXUNMkMazIDpM1WU9CzIWFI">
            <a:hlinkClick r:id="rId7"/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5650" y="3768810"/>
            <a:ext cx="2297113" cy="58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6" name="Picture 7" descr="logo">
            <a:hlinkClick r:id="rId9"/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5538" y="6100008"/>
            <a:ext cx="1598612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7" name="Picture 19" descr="Logo">
            <a:hlinkClick r:id="rId11"/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88538" y="4876966"/>
            <a:ext cx="1725612" cy="690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75087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 descr="bpct-blend4"/>
          <p:cNvSpPr>
            <a:spLocks noChangeArrowheads="1"/>
          </p:cNvSpPr>
          <p:nvPr/>
        </p:nvSpPr>
        <p:spPr bwMode="auto">
          <a:xfrm>
            <a:off x="6" y="0"/>
            <a:ext cx="12206817" cy="6858000"/>
          </a:xfrm>
          <a:prstGeom prst="rect">
            <a:avLst/>
          </a:prstGeom>
          <a:solidFill>
            <a:srgbClr val="00285F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sv-SE" sz="6600" dirty="0">
              <a:solidFill>
                <a:srgbClr val="58585A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9219" name="Title 2"/>
          <p:cNvSpPr>
            <a:spLocks noGrp="1"/>
          </p:cNvSpPr>
          <p:nvPr>
            <p:ph type="title"/>
          </p:nvPr>
        </p:nvSpPr>
        <p:spPr>
          <a:xfrm>
            <a:off x="313267" y="239713"/>
            <a:ext cx="10676465" cy="1085850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  <a:latin typeface="Ericsson Capital TT" pitchFamily="2" charset="0"/>
              </a:rPr>
              <a:t>NETWORK ENABLED CLOUD technologies</a:t>
            </a:r>
          </a:p>
        </p:txBody>
      </p:sp>
      <p:grpSp>
        <p:nvGrpSpPr>
          <p:cNvPr id="9223" name="Group 5"/>
          <p:cNvGrpSpPr>
            <a:grpSpLocks/>
          </p:cNvGrpSpPr>
          <p:nvPr/>
        </p:nvGrpSpPr>
        <p:grpSpPr bwMode="auto">
          <a:xfrm>
            <a:off x="1219200" y="1216026"/>
            <a:ext cx="9770533" cy="1020763"/>
            <a:chOff x="1814286" y="1203487"/>
            <a:chExt cx="8432800" cy="1019013"/>
          </a:xfrm>
        </p:grpSpPr>
        <p:sp>
          <p:nvSpPr>
            <p:cNvPr id="23" name="Left-Right Arrow 22"/>
            <p:cNvSpPr/>
            <p:nvPr/>
          </p:nvSpPr>
          <p:spPr bwMode="auto">
            <a:xfrm>
              <a:off x="1814286" y="1325515"/>
              <a:ext cx="8432800" cy="896985"/>
            </a:xfrm>
            <a:prstGeom prst="leftRightArrow">
              <a:avLst/>
            </a:prstGeom>
            <a:blipFill dpi="0" rotWithShape="1">
              <a:blip r:embed="rId3"/>
              <a:srcRect/>
              <a:stretch>
                <a:fillRect/>
              </a:stretch>
            </a:blipFill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38100" cap="flat" cmpd="sng" algn="ctr">
                  <a:solidFill>
                    <a:srgbClr val="7030A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lIns="54000" rIns="54000" anchor="ctr"/>
            <a:lstStyle/>
            <a:p>
              <a:pPr algn="ctr">
                <a:defRPr/>
              </a:pPr>
              <a:r>
                <a:rPr lang="en-US" sz="1800" dirty="0">
                  <a:solidFill>
                    <a:srgbClr val="FFFFFF"/>
                  </a:solidFill>
                </a:rPr>
                <a:t>Cross Domain Control, Orchestration &amp;  Management </a:t>
              </a:r>
            </a:p>
          </p:txBody>
        </p:sp>
        <p:sp>
          <p:nvSpPr>
            <p:cNvPr id="9226" name="Rectangle 19"/>
            <p:cNvSpPr>
              <a:spLocks noChangeArrowheads="1"/>
            </p:cNvSpPr>
            <p:nvPr/>
          </p:nvSpPr>
          <p:spPr bwMode="auto">
            <a:xfrm>
              <a:off x="2143200" y="1203487"/>
              <a:ext cx="7774972" cy="3074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blipFill dpi="0" rotWithShape="1">
                    <a:blip r:embed="rId4"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/>
            <a:p>
              <a:pPr algn="ctr">
                <a:spcBef>
                  <a:spcPct val="50000"/>
                </a:spcBef>
              </a:pPr>
              <a:endParaRPr lang="en-US" sz="1400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</p:grpSp>
      <p:pic>
        <p:nvPicPr>
          <p:cNvPr id="9224" name="Econ20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23085" y="360372"/>
            <a:ext cx="531283" cy="58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6" name="Group 2"/>
          <p:cNvGrpSpPr>
            <a:grpSpLocks/>
          </p:cNvGrpSpPr>
          <p:nvPr/>
        </p:nvGrpSpPr>
        <p:grpSpPr bwMode="auto">
          <a:xfrm>
            <a:off x="889027" y="2216997"/>
            <a:ext cx="2482851" cy="3270250"/>
            <a:chOff x="1314450" y="2123603"/>
            <a:chExt cx="2926513" cy="3271488"/>
          </a:xfrm>
        </p:grpSpPr>
        <p:sp>
          <p:nvSpPr>
            <p:cNvPr id="27" name="Freeform 4"/>
            <p:cNvSpPr>
              <a:spLocks noChangeAspect="1"/>
            </p:cNvSpPr>
            <p:nvPr/>
          </p:nvSpPr>
          <p:spPr bwMode="auto">
            <a:xfrm>
              <a:off x="1529448" y="4450001"/>
              <a:ext cx="2498124" cy="945090"/>
            </a:xfrm>
            <a:custGeom>
              <a:avLst/>
              <a:gdLst>
                <a:gd name="T0" fmla="*/ 2147483647 w 871"/>
                <a:gd name="T1" fmla="*/ 2147483647 h 376"/>
                <a:gd name="T2" fmla="*/ 2147483647 w 871"/>
                <a:gd name="T3" fmla="*/ 2147483647 h 376"/>
                <a:gd name="T4" fmla="*/ 2147483647 w 871"/>
                <a:gd name="T5" fmla="*/ 2147483647 h 376"/>
                <a:gd name="T6" fmla="*/ 2147483647 w 871"/>
                <a:gd name="T7" fmla="*/ 2147483647 h 376"/>
                <a:gd name="T8" fmla="*/ 2147483647 w 871"/>
                <a:gd name="T9" fmla="*/ 2147483647 h 376"/>
                <a:gd name="T10" fmla="*/ 2147483647 w 871"/>
                <a:gd name="T11" fmla="*/ 2147483647 h 376"/>
                <a:gd name="T12" fmla="*/ 2147483647 w 871"/>
                <a:gd name="T13" fmla="*/ 2147483647 h 376"/>
                <a:gd name="T14" fmla="*/ 2147483647 w 871"/>
                <a:gd name="T15" fmla="*/ 2147483647 h 376"/>
                <a:gd name="T16" fmla="*/ 0 w 871"/>
                <a:gd name="T17" fmla="*/ 2147483647 h 376"/>
                <a:gd name="T18" fmla="*/ 2147483647 w 871"/>
                <a:gd name="T19" fmla="*/ 2147483647 h 376"/>
                <a:gd name="T20" fmla="*/ 2147483647 w 871"/>
                <a:gd name="T21" fmla="*/ 2147483647 h 376"/>
                <a:gd name="T22" fmla="*/ 2147483647 w 871"/>
                <a:gd name="T23" fmla="*/ 2147483647 h 376"/>
                <a:gd name="T24" fmla="*/ 2147483647 w 871"/>
                <a:gd name="T25" fmla="*/ 2147483647 h 376"/>
                <a:gd name="T26" fmla="*/ 2147483647 w 871"/>
                <a:gd name="T27" fmla="*/ 2147483647 h 37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871"/>
                <a:gd name="T43" fmla="*/ 0 h 376"/>
                <a:gd name="T44" fmla="*/ 871 w 871"/>
                <a:gd name="T45" fmla="*/ 376 h 37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871" h="376">
                  <a:moveTo>
                    <a:pt x="748" y="164"/>
                  </a:moveTo>
                  <a:cubicBezTo>
                    <a:pt x="737" y="158"/>
                    <a:pt x="730" y="147"/>
                    <a:pt x="728" y="134"/>
                  </a:cubicBezTo>
                  <a:cubicBezTo>
                    <a:pt x="727" y="126"/>
                    <a:pt x="723" y="98"/>
                    <a:pt x="718" y="67"/>
                  </a:cubicBezTo>
                  <a:cubicBezTo>
                    <a:pt x="655" y="156"/>
                    <a:pt x="552" y="213"/>
                    <a:pt x="435" y="213"/>
                  </a:cubicBezTo>
                  <a:cubicBezTo>
                    <a:pt x="305" y="213"/>
                    <a:pt x="191" y="141"/>
                    <a:pt x="132" y="35"/>
                  </a:cubicBezTo>
                  <a:cubicBezTo>
                    <a:pt x="97" y="21"/>
                    <a:pt x="59" y="7"/>
                    <a:pt x="50" y="3"/>
                  </a:cubicBezTo>
                  <a:cubicBezTo>
                    <a:pt x="42" y="0"/>
                    <a:pt x="35" y="0"/>
                    <a:pt x="28" y="4"/>
                  </a:cubicBezTo>
                  <a:cubicBezTo>
                    <a:pt x="21" y="8"/>
                    <a:pt x="18" y="14"/>
                    <a:pt x="16" y="23"/>
                  </a:cubicBezTo>
                  <a:cubicBezTo>
                    <a:pt x="15" y="34"/>
                    <a:pt x="6" y="91"/>
                    <a:pt x="0" y="133"/>
                  </a:cubicBezTo>
                  <a:cubicBezTo>
                    <a:pt x="89" y="278"/>
                    <a:pt x="251" y="376"/>
                    <a:pt x="435" y="376"/>
                  </a:cubicBezTo>
                  <a:cubicBezTo>
                    <a:pt x="614" y="376"/>
                    <a:pt x="771" y="284"/>
                    <a:pt x="862" y="145"/>
                  </a:cubicBezTo>
                  <a:cubicBezTo>
                    <a:pt x="865" y="141"/>
                    <a:pt x="868" y="136"/>
                    <a:pt x="871" y="132"/>
                  </a:cubicBezTo>
                  <a:cubicBezTo>
                    <a:pt x="834" y="146"/>
                    <a:pt x="792" y="163"/>
                    <a:pt x="783" y="166"/>
                  </a:cubicBezTo>
                  <a:cubicBezTo>
                    <a:pt x="770" y="171"/>
                    <a:pt x="758" y="170"/>
                    <a:pt x="748" y="1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Freeform 5"/>
            <p:cNvSpPr>
              <a:spLocks noChangeAspect="1"/>
            </p:cNvSpPr>
            <p:nvPr/>
          </p:nvSpPr>
          <p:spPr bwMode="auto">
            <a:xfrm>
              <a:off x="2813005" y="2835477"/>
              <a:ext cx="1427958" cy="2001285"/>
            </a:xfrm>
            <a:custGeom>
              <a:avLst/>
              <a:gdLst>
                <a:gd name="T0" fmla="*/ 2147483647 w 498"/>
                <a:gd name="T1" fmla="*/ 2147483647 h 796"/>
                <a:gd name="T2" fmla="*/ 2147483647 w 498"/>
                <a:gd name="T3" fmla="*/ 2147483647 h 796"/>
                <a:gd name="T4" fmla="*/ 0 w 498"/>
                <a:gd name="T5" fmla="*/ 0 h 796"/>
                <a:gd name="T6" fmla="*/ 2147483647 w 498"/>
                <a:gd name="T7" fmla="*/ 2147483647 h 796"/>
                <a:gd name="T8" fmla="*/ 2147483647 w 498"/>
                <a:gd name="T9" fmla="*/ 2147483647 h 796"/>
                <a:gd name="T10" fmla="*/ 2147483647 w 498"/>
                <a:gd name="T11" fmla="*/ 2147483647 h 796"/>
                <a:gd name="T12" fmla="*/ 2147483647 w 498"/>
                <a:gd name="T13" fmla="*/ 2147483647 h 796"/>
                <a:gd name="T14" fmla="*/ 2147483647 w 498"/>
                <a:gd name="T15" fmla="*/ 2147483647 h 796"/>
                <a:gd name="T16" fmla="*/ 2147483647 w 498"/>
                <a:gd name="T17" fmla="*/ 2147483647 h 796"/>
                <a:gd name="T18" fmla="*/ 2147483647 w 498"/>
                <a:gd name="T19" fmla="*/ 2147483647 h 796"/>
                <a:gd name="T20" fmla="*/ 2147483647 w 498"/>
                <a:gd name="T21" fmla="*/ 2147483647 h 796"/>
                <a:gd name="T22" fmla="*/ 2147483647 w 498"/>
                <a:gd name="T23" fmla="*/ 2147483647 h 796"/>
                <a:gd name="T24" fmla="*/ 2147483647 w 498"/>
                <a:gd name="T25" fmla="*/ 2147483647 h 796"/>
                <a:gd name="T26" fmla="*/ 2147483647 w 498"/>
                <a:gd name="T27" fmla="*/ 2147483647 h 796"/>
                <a:gd name="T28" fmla="*/ 2147483647 w 498"/>
                <a:gd name="T29" fmla="*/ 2147483647 h 796"/>
                <a:gd name="T30" fmla="*/ 2147483647 w 498"/>
                <a:gd name="T31" fmla="*/ 2147483647 h 796"/>
                <a:gd name="T32" fmla="*/ 2147483647 w 498"/>
                <a:gd name="T33" fmla="*/ 2147483647 h 796"/>
                <a:gd name="T34" fmla="*/ 2147483647 w 498"/>
                <a:gd name="T35" fmla="*/ 2147483647 h 796"/>
                <a:gd name="T36" fmla="*/ 2147483647 w 498"/>
                <a:gd name="T37" fmla="*/ 2147483647 h 796"/>
                <a:gd name="T38" fmla="*/ 2147483647 w 498"/>
                <a:gd name="T39" fmla="*/ 2147483647 h 796"/>
                <a:gd name="T40" fmla="*/ 2147483647 w 498"/>
                <a:gd name="T41" fmla="*/ 2147483647 h 79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98"/>
                <a:gd name="T64" fmla="*/ 0 h 796"/>
                <a:gd name="T65" fmla="*/ 498 w 498"/>
                <a:gd name="T66" fmla="*/ 796 h 79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98" h="796">
                  <a:moveTo>
                    <a:pt x="498" y="509"/>
                  </a:moveTo>
                  <a:cubicBezTo>
                    <a:pt x="498" y="411"/>
                    <a:pt x="470" y="319"/>
                    <a:pt x="422" y="241"/>
                  </a:cubicBezTo>
                  <a:cubicBezTo>
                    <a:pt x="333" y="100"/>
                    <a:pt x="178" y="5"/>
                    <a:pt x="0" y="0"/>
                  </a:cubicBezTo>
                  <a:cubicBezTo>
                    <a:pt x="31" y="25"/>
                    <a:pt x="64" y="52"/>
                    <a:pt x="71" y="57"/>
                  </a:cubicBezTo>
                  <a:cubicBezTo>
                    <a:pt x="82" y="66"/>
                    <a:pt x="87" y="77"/>
                    <a:pt x="87" y="89"/>
                  </a:cubicBezTo>
                  <a:cubicBezTo>
                    <a:pt x="87" y="102"/>
                    <a:pt x="82" y="112"/>
                    <a:pt x="71" y="121"/>
                  </a:cubicBezTo>
                  <a:cubicBezTo>
                    <a:pt x="65" y="126"/>
                    <a:pt x="42" y="144"/>
                    <a:pt x="17" y="164"/>
                  </a:cubicBezTo>
                  <a:cubicBezTo>
                    <a:pt x="195" y="179"/>
                    <a:pt x="335" y="327"/>
                    <a:pt x="335" y="509"/>
                  </a:cubicBezTo>
                  <a:cubicBezTo>
                    <a:pt x="335" y="575"/>
                    <a:pt x="317" y="637"/>
                    <a:pt x="284" y="689"/>
                  </a:cubicBezTo>
                  <a:cubicBezTo>
                    <a:pt x="290" y="726"/>
                    <a:pt x="295" y="764"/>
                    <a:pt x="297" y="773"/>
                  </a:cubicBezTo>
                  <a:cubicBezTo>
                    <a:pt x="298" y="782"/>
                    <a:pt x="302" y="788"/>
                    <a:pt x="309" y="792"/>
                  </a:cubicBezTo>
                  <a:cubicBezTo>
                    <a:pt x="315" y="796"/>
                    <a:pt x="323" y="796"/>
                    <a:pt x="331" y="793"/>
                  </a:cubicBezTo>
                  <a:cubicBezTo>
                    <a:pt x="341" y="789"/>
                    <a:pt x="397" y="767"/>
                    <a:pt x="437" y="751"/>
                  </a:cubicBezTo>
                  <a:cubicBezTo>
                    <a:pt x="447" y="733"/>
                    <a:pt x="456" y="713"/>
                    <a:pt x="464" y="693"/>
                  </a:cubicBezTo>
                  <a:cubicBezTo>
                    <a:pt x="464" y="693"/>
                    <a:pt x="464" y="693"/>
                    <a:pt x="464" y="693"/>
                  </a:cubicBezTo>
                  <a:cubicBezTo>
                    <a:pt x="471" y="673"/>
                    <a:pt x="477" y="654"/>
                    <a:pt x="482" y="634"/>
                  </a:cubicBezTo>
                  <a:cubicBezTo>
                    <a:pt x="482" y="634"/>
                    <a:pt x="482" y="634"/>
                    <a:pt x="482" y="634"/>
                  </a:cubicBezTo>
                  <a:cubicBezTo>
                    <a:pt x="482" y="633"/>
                    <a:pt x="483" y="632"/>
                    <a:pt x="483" y="631"/>
                  </a:cubicBezTo>
                  <a:cubicBezTo>
                    <a:pt x="483" y="630"/>
                    <a:pt x="484" y="629"/>
                    <a:pt x="484" y="627"/>
                  </a:cubicBezTo>
                  <a:cubicBezTo>
                    <a:pt x="484" y="627"/>
                    <a:pt x="484" y="627"/>
                    <a:pt x="484" y="627"/>
                  </a:cubicBezTo>
                  <a:cubicBezTo>
                    <a:pt x="493" y="589"/>
                    <a:pt x="498" y="550"/>
                    <a:pt x="498" y="50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Freeform 6"/>
            <p:cNvSpPr>
              <a:spLocks noChangeAspect="1"/>
            </p:cNvSpPr>
            <p:nvPr/>
          </p:nvSpPr>
          <p:spPr bwMode="auto">
            <a:xfrm>
              <a:off x="1314450" y="2835472"/>
              <a:ext cx="1702318" cy="1890180"/>
            </a:xfrm>
            <a:custGeom>
              <a:avLst/>
              <a:gdLst>
                <a:gd name="T0" fmla="*/ 2147483647 w 593"/>
                <a:gd name="T1" fmla="*/ 2147483647 h 752"/>
                <a:gd name="T2" fmla="*/ 2147483647 w 593"/>
                <a:gd name="T3" fmla="*/ 2147483647 h 752"/>
                <a:gd name="T4" fmla="*/ 2147483647 w 593"/>
                <a:gd name="T5" fmla="*/ 2147483647 h 752"/>
                <a:gd name="T6" fmla="*/ 2147483647 w 593"/>
                <a:gd name="T7" fmla="*/ 2147483647 h 752"/>
                <a:gd name="T8" fmla="*/ 2147483647 w 593"/>
                <a:gd name="T9" fmla="*/ 2147483647 h 752"/>
                <a:gd name="T10" fmla="*/ 2147483647 w 593"/>
                <a:gd name="T11" fmla="*/ 2147483647 h 752"/>
                <a:gd name="T12" fmla="*/ 2147483647 w 593"/>
                <a:gd name="T13" fmla="*/ 2147483647 h 752"/>
                <a:gd name="T14" fmla="*/ 2147483647 w 593"/>
                <a:gd name="T15" fmla="*/ 2147483647 h 752"/>
                <a:gd name="T16" fmla="*/ 2147483647 w 593"/>
                <a:gd name="T17" fmla="*/ 2147483647 h 752"/>
                <a:gd name="T18" fmla="*/ 2147483647 w 593"/>
                <a:gd name="T19" fmla="*/ 0 h 752"/>
                <a:gd name="T20" fmla="*/ 0 w 593"/>
                <a:gd name="T21" fmla="*/ 2147483647 h 752"/>
                <a:gd name="T22" fmla="*/ 2147483647 w 593"/>
                <a:gd name="T23" fmla="*/ 2147483647 h 752"/>
                <a:gd name="T24" fmla="*/ 2147483647 w 593"/>
                <a:gd name="T25" fmla="*/ 2147483647 h 752"/>
                <a:gd name="T26" fmla="*/ 2147483647 w 593"/>
                <a:gd name="T27" fmla="*/ 2147483647 h 75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93"/>
                <a:gd name="T43" fmla="*/ 0 h 752"/>
                <a:gd name="T44" fmla="*/ 593 w 593"/>
                <a:gd name="T45" fmla="*/ 752 h 75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93" h="752">
                  <a:moveTo>
                    <a:pt x="95" y="632"/>
                  </a:moveTo>
                  <a:cubicBezTo>
                    <a:pt x="106" y="626"/>
                    <a:pt x="118" y="625"/>
                    <a:pt x="131" y="630"/>
                  </a:cubicBezTo>
                  <a:cubicBezTo>
                    <a:pt x="139" y="633"/>
                    <a:pt x="166" y="644"/>
                    <a:pt x="195" y="656"/>
                  </a:cubicBezTo>
                  <a:cubicBezTo>
                    <a:pt x="174" y="611"/>
                    <a:pt x="163" y="561"/>
                    <a:pt x="163" y="509"/>
                  </a:cubicBezTo>
                  <a:cubicBezTo>
                    <a:pt x="163" y="318"/>
                    <a:pt x="318" y="163"/>
                    <a:pt x="510" y="163"/>
                  </a:cubicBezTo>
                  <a:cubicBezTo>
                    <a:pt x="511" y="163"/>
                    <a:pt x="513" y="163"/>
                    <a:pt x="514" y="163"/>
                  </a:cubicBezTo>
                  <a:cubicBezTo>
                    <a:pt x="544" y="140"/>
                    <a:pt x="576" y="115"/>
                    <a:pt x="583" y="109"/>
                  </a:cubicBezTo>
                  <a:cubicBezTo>
                    <a:pt x="590" y="103"/>
                    <a:pt x="593" y="97"/>
                    <a:pt x="593" y="89"/>
                  </a:cubicBezTo>
                  <a:cubicBezTo>
                    <a:pt x="593" y="81"/>
                    <a:pt x="590" y="75"/>
                    <a:pt x="583" y="70"/>
                  </a:cubicBezTo>
                  <a:cubicBezTo>
                    <a:pt x="574" y="62"/>
                    <a:pt x="530" y="27"/>
                    <a:pt x="497" y="0"/>
                  </a:cubicBezTo>
                  <a:cubicBezTo>
                    <a:pt x="221" y="8"/>
                    <a:pt x="0" y="233"/>
                    <a:pt x="0" y="509"/>
                  </a:cubicBezTo>
                  <a:cubicBezTo>
                    <a:pt x="0" y="597"/>
                    <a:pt x="22" y="680"/>
                    <a:pt x="62" y="752"/>
                  </a:cubicBezTo>
                  <a:cubicBezTo>
                    <a:pt x="68" y="714"/>
                    <a:pt x="74" y="671"/>
                    <a:pt x="76" y="662"/>
                  </a:cubicBezTo>
                  <a:cubicBezTo>
                    <a:pt x="78" y="649"/>
                    <a:pt x="84" y="638"/>
                    <a:pt x="95" y="632"/>
                  </a:cubicBezTo>
                  <a:close/>
                </a:path>
              </a:pathLst>
            </a:custGeom>
            <a:solidFill>
              <a:srgbClr val="7B06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Rectangle 19"/>
            <p:cNvSpPr>
              <a:spLocks noChangeArrowheads="1"/>
            </p:cNvSpPr>
            <p:nvPr/>
          </p:nvSpPr>
          <p:spPr bwMode="auto">
            <a:xfrm>
              <a:off x="1654595" y="2123603"/>
              <a:ext cx="2247830" cy="4617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blipFill dpi="0" rotWithShape="1">
                    <a:blip r:embed="rId4"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2400">
                  <a:solidFill>
                    <a:schemeClr val="bg1"/>
                  </a:solidFill>
                </a:rPr>
                <a:t>NFV</a:t>
              </a:r>
            </a:p>
          </p:txBody>
        </p:sp>
        <p:sp>
          <p:nvSpPr>
            <p:cNvPr id="31" name="Rectangle 19"/>
            <p:cNvSpPr>
              <a:spLocks noChangeArrowheads="1"/>
            </p:cNvSpPr>
            <p:nvPr/>
          </p:nvSpPr>
          <p:spPr bwMode="auto">
            <a:xfrm>
              <a:off x="1688283" y="3822482"/>
              <a:ext cx="2247831" cy="461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blipFill dpi="0" rotWithShape="1">
                    <a:blip r:embed="rId4"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2400">
                  <a:solidFill>
                    <a:schemeClr val="bg1"/>
                  </a:solidFill>
                </a:rPr>
                <a:t>Virtualize</a:t>
              </a:r>
            </a:p>
          </p:txBody>
        </p:sp>
      </p:grpSp>
      <p:grpSp>
        <p:nvGrpSpPr>
          <p:cNvPr id="32" name="Group 1"/>
          <p:cNvGrpSpPr>
            <a:grpSpLocks/>
          </p:cNvGrpSpPr>
          <p:nvPr/>
        </p:nvGrpSpPr>
        <p:grpSpPr bwMode="auto">
          <a:xfrm>
            <a:off x="4907893" y="2249182"/>
            <a:ext cx="2479675" cy="3308383"/>
            <a:chOff x="4515323" y="2137644"/>
            <a:chExt cx="2924905" cy="3309483"/>
          </a:xfrm>
        </p:grpSpPr>
        <p:sp>
          <p:nvSpPr>
            <p:cNvPr id="33" name="Freeform 4"/>
            <p:cNvSpPr>
              <a:spLocks noChangeAspect="1"/>
            </p:cNvSpPr>
            <p:nvPr/>
          </p:nvSpPr>
          <p:spPr bwMode="auto">
            <a:xfrm>
              <a:off x="4730317" y="4502037"/>
              <a:ext cx="2498126" cy="945090"/>
            </a:xfrm>
            <a:custGeom>
              <a:avLst/>
              <a:gdLst>
                <a:gd name="T0" fmla="*/ 2147483647 w 871"/>
                <a:gd name="T1" fmla="*/ 2147483647 h 376"/>
                <a:gd name="T2" fmla="*/ 2147483647 w 871"/>
                <a:gd name="T3" fmla="*/ 2147483647 h 376"/>
                <a:gd name="T4" fmla="*/ 2147483647 w 871"/>
                <a:gd name="T5" fmla="*/ 2147483647 h 376"/>
                <a:gd name="T6" fmla="*/ 2147483647 w 871"/>
                <a:gd name="T7" fmla="*/ 2147483647 h 376"/>
                <a:gd name="T8" fmla="*/ 2147483647 w 871"/>
                <a:gd name="T9" fmla="*/ 2147483647 h 376"/>
                <a:gd name="T10" fmla="*/ 2147483647 w 871"/>
                <a:gd name="T11" fmla="*/ 2147483647 h 376"/>
                <a:gd name="T12" fmla="*/ 2147483647 w 871"/>
                <a:gd name="T13" fmla="*/ 2147483647 h 376"/>
                <a:gd name="T14" fmla="*/ 2147483647 w 871"/>
                <a:gd name="T15" fmla="*/ 2147483647 h 376"/>
                <a:gd name="T16" fmla="*/ 0 w 871"/>
                <a:gd name="T17" fmla="*/ 2147483647 h 376"/>
                <a:gd name="T18" fmla="*/ 2147483647 w 871"/>
                <a:gd name="T19" fmla="*/ 2147483647 h 376"/>
                <a:gd name="T20" fmla="*/ 2147483647 w 871"/>
                <a:gd name="T21" fmla="*/ 2147483647 h 376"/>
                <a:gd name="T22" fmla="*/ 2147483647 w 871"/>
                <a:gd name="T23" fmla="*/ 2147483647 h 376"/>
                <a:gd name="T24" fmla="*/ 2147483647 w 871"/>
                <a:gd name="T25" fmla="*/ 2147483647 h 376"/>
                <a:gd name="T26" fmla="*/ 2147483647 w 871"/>
                <a:gd name="T27" fmla="*/ 2147483647 h 37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871"/>
                <a:gd name="T43" fmla="*/ 0 h 376"/>
                <a:gd name="T44" fmla="*/ 871 w 871"/>
                <a:gd name="T45" fmla="*/ 376 h 37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871" h="376">
                  <a:moveTo>
                    <a:pt x="748" y="164"/>
                  </a:moveTo>
                  <a:cubicBezTo>
                    <a:pt x="737" y="158"/>
                    <a:pt x="730" y="147"/>
                    <a:pt x="728" y="134"/>
                  </a:cubicBezTo>
                  <a:cubicBezTo>
                    <a:pt x="727" y="126"/>
                    <a:pt x="723" y="98"/>
                    <a:pt x="718" y="67"/>
                  </a:cubicBezTo>
                  <a:cubicBezTo>
                    <a:pt x="655" y="156"/>
                    <a:pt x="552" y="213"/>
                    <a:pt x="435" y="213"/>
                  </a:cubicBezTo>
                  <a:cubicBezTo>
                    <a:pt x="305" y="213"/>
                    <a:pt x="191" y="141"/>
                    <a:pt x="132" y="35"/>
                  </a:cubicBezTo>
                  <a:cubicBezTo>
                    <a:pt x="97" y="21"/>
                    <a:pt x="59" y="7"/>
                    <a:pt x="50" y="3"/>
                  </a:cubicBezTo>
                  <a:cubicBezTo>
                    <a:pt x="42" y="0"/>
                    <a:pt x="35" y="0"/>
                    <a:pt x="28" y="4"/>
                  </a:cubicBezTo>
                  <a:cubicBezTo>
                    <a:pt x="21" y="8"/>
                    <a:pt x="18" y="14"/>
                    <a:pt x="16" y="23"/>
                  </a:cubicBezTo>
                  <a:cubicBezTo>
                    <a:pt x="15" y="34"/>
                    <a:pt x="6" y="91"/>
                    <a:pt x="0" y="133"/>
                  </a:cubicBezTo>
                  <a:cubicBezTo>
                    <a:pt x="89" y="278"/>
                    <a:pt x="251" y="376"/>
                    <a:pt x="435" y="376"/>
                  </a:cubicBezTo>
                  <a:cubicBezTo>
                    <a:pt x="614" y="376"/>
                    <a:pt x="771" y="284"/>
                    <a:pt x="862" y="145"/>
                  </a:cubicBezTo>
                  <a:cubicBezTo>
                    <a:pt x="865" y="141"/>
                    <a:pt x="868" y="136"/>
                    <a:pt x="871" y="132"/>
                  </a:cubicBezTo>
                  <a:cubicBezTo>
                    <a:pt x="834" y="146"/>
                    <a:pt x="792" y="163"/>
                    <a:pt x="783" y="166"/>
                  </a:cubicBezTo>
                  <a:cubicBezTo>
                    <a:pt x="770" y="171"/>
                    <a:pt x="758" y="170"/>
                    <a:pt x="748" y="1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Freeform 5"/>
            <p:cNvSpPr>
              <a:spLocks noChangeAspect="1"/>
            </p:cNvSpPr>
            <p:nvPr/>
          </p:nvSpPr>
          <p:spPr bwMode="auto">
            <a:xfrm>
              <a:off x="6012270" y="2887509"/>
              <a:ext cx="1427958" cy="2001284"/>
            </a:xfrm>
            <a:custGeom>
              <a:avLst/>
              <a:gdLst>
                <a:gd name="T0" fmla="*/ 2147483647 w 498"/>
                <a:gd name="T1" fmla="*/ 2147483647 h 796"/>
                <a:gd name="T2" fmla="*/ 2147483647 w 498"/>
                <a:gd name="T3" fmla="*/ 2147483647 h 796"/>
                <a:gd name="T4" fmla="*/ 0 w 498"/>
                <a:gd name="T5" fmla="*/ 0 h 796"/>
                <a:gd name="T6" fmla="*/ 2147483647 w 498"/>
                <a:gd name="T7" fmla="*/ 2147483647 h 796"/>
                <a:gd name="T8" fmla="*/ 2147483647 w 498"/>
                <a:gd name="T9" fmla="*/ 2147483647 h 796"/>
                <a:gd name="T10" fmla="*/ 2147483647 w 498"/>
                <a:gd name="T11" fmla="*/ 2147483647 h 796"/>
                <a:gd name="T12" fmla="*/ 2147483647 w 498"/>
                <a:gd name="T13" fmla="*/ 2147483647 h 796"/>
                <a:gd name="T14" fmla="*/ 2147483647 w 498"/>
                <a:gd name="T15" fmla="*/ 2147483647 h 796"/>
                <a:gd name="T16" fmla="*/ 2147483647 w 498"/>
                <a:gd name="T17" fmla="*/ 2147483647 h 796"/>
                <a:gd name="T18" fmla="*/ 2147483647 w 498"/>
                <a:gd name="T19" fmla="*/ 2147483647 h 796"/>
                <a:gd name="T20" fmla="*/ 2147483647 w 498"/>
                <a:gd name="T21" fmla="*/ 2147483647 h 796"/>
                <a:gd name="T22" fmla="*/ 2147483647 w 498"/>
                <a:gd name="T23" fmla="*/ 2147483647 h 796"/>
                <a:gd name="T24" fmla="*/ 2147483647 w 498"/>
                <a:gd name="T25" fmla="*/ 2147483647 h 796"/>
                <a:gd name="T26" fmla="*/ 2147483647 w 498"/>
                <a:gd name="T27" fmla="*/ 2147483647 h 796"/>
                <a:gd name="T28" fmla="*/ 2147483647 w 498"/>
                <a:gd name="T29" fmla="*/ 2147483647 h 796"/>
                <a:gd name="T30" fmla="*/ 2147483647 w 498"/>
                <a:gd name="T31" fmla="*/ 2147483647 h 796"/>
                <a:gd name="T32" fmla="*/ 2147483647 w 498"/>
                <a:gd name="T33" fmla="*/ 2147483647 h 796"/>
                <a:gd name="T34" fmla="*/ 2147483647 w 498"/>
                <a:gd name="T35" fmla="*/ 2147483647 h 796"/>
                <a:gd name="T36" fmla="*/ 2147483647 w 498"/>
                <a:gd name="T37" fmla="*/ 2147483647 h 796"/>
                <a:gd name="T38" fmla="*/ 2147483647 w 498"/>
                <a:gd name="T39" fmla="*/ 2147483647 h 796"/>
                <a:gd name="T40" fmla="*/ 2147483647 w 498"/>
                <a:gd name="T41" fmla="*/ 2147483647 h 79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98"/>
                <a:gd name="T64" fmla="*/ 0 h 796"/>
                <a:gd name="T65" fmla="*/ 498 w 498"/>
                <a:gd name="T66" fmla="*/ 796 h 79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98" h="796">
                  <a:moveTo>
                    <a:pt x="498" y="509"/>
                  </a:moveTo>
                  <a:cubicBezTo>
                    <a:pt x="498" y="411"/>
                    <a:pt x="470" y="319"/>
                    <a:pt x="422" y="241"/>
                  </a:cubicBezTo>
                  <a:cubicBezTo>
                    <a:pt x="333" y="100"/>
                    <a:pt x="178" y="5"/>
                    <a:pt x="0" y="0"/>
                  </a:cubicBezTo>
                  <a:cubicBezTo>
                    <a:pt x="31" y="25"/>
                    <a:pt x="64" y="52"/>
                    <a:pt x="71" y="57"/>
                  </a:cubicBezTo>
                  <a:cubicBezTo>
                    <a:pt x="82" y="66"/>
                    <a:pt x="87" y="77"/>
                    <a:pt x="87" y="89"/>
                  </a:cubicBezTo>
                  <a:cubicBezTo>
                    <a:pt x="87" y="102"/>
                    <a:pt x="82" y="112"/>
                    <a:pt x="71" y="121"/>
                  </a:cubicBezTo>
                  <a:cubicBezTo>
                    <a:pt x="65" y="126"/>
                    <a:pt x="42" y="144"/>
                    <a:pt x="17" y="164"/>
                  </a:cubicBezTo>
                  <a:cubicBezTo>
                    <a:pt x="195" y="179"/>
                    <a:pt x="335" y="327"/>
                    <a:pt x="335" y="509"/>
                  </a:cubicBezTo>
                  <a:cubicBezTo>
                    <a:pt x="335" y="575"/>
                    <a:pt x="317" y="637"/>
                    <a:pt x="284" y="689"/>
                  </a:cubicBezTo>
                  <a:cubicBezTo>
                    <a:pt x="290" y="726"/>
                    <a:pt x="295" y="764"/>
                    <a:pt x="297" y="773"/>
                  </a:cubicBezTo>
                  <a:cubicBezTo>
                    <a:pt x="298" y="782"/>
                    <a:pt x="302" y="788"/>
                    <a:pt x="309" y="792"/>
                  </a:cubicBezTo>
                  <a:cubicBezTo>
                    <a:pt x="315" y="796"/>
                    <a:pt x="323" y="796"/>
                    <a:pt x="331" y="793"/>
                  </a:cubicBezTo>
                  <a:cubicBezTo>
                    <a:pt x="341" y="789"/>
                    <a:pt x="397" y="767"/>
                    <a:pt x="437" y="751"/>
                  </a:cubicBezTo>
                  <a:cubicBezTo>
                    <a:pt x="447" y="733"/>
                    <a:pt x="456" y="713"/>
                    <a:pt x="464" y="693"/>
                  </a:cubicBezTo>
                  <a:cubicBezTo>
                    <a:pt x="464" y="693"/>
                    <a:pt x="464" y="693"/>
                    <a:pt x="464" y="693"/>
                  </a:cubicBezTo>
                  <a:cubicBezTo>
                    <a:pt x="471" y="673"/>
                    <a:pt x="477" y="654"/>
                    <a:pt x="482" y="634"/>
                  </a:cubicBezTo>
                  <a:cubicBezTo>
                    <a:pt x="482" y="634"/>
                    <a:pt x="482" y="634"/>
                    <a:pt x="482" y="634"/>
                  </a:cubicBezTo>
                  <a:cubicBezTo>
                    <a:pt x="482" y="633"/>
                    <a:pt x="483" y="632"/>
                    <a:pt x="483" y="631"/>
                  </a:cubicBezTo>
                  <a:cubicBezTo>
                    <a:pt x="483" y="630"/>
                    <a:pt x="484" y="629"/>
                    <a:pt x="484" y="627"/>
                  </a:cubicBezTo>
                  <a:cubicBezTo>
                    <a:pt x="484" y="627"/>
                    <a:pt x="484" y="627"/>
                    <a:pt x="484" y="627"/>
                  </a:cubicBezTo>
                  <a:cubicBezTo>
                    <a:pt x="493" y="589"/>
                    <a:pt x="498" y="550"/>
                    <a:pt x="498" y="509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Freeform 6"/>
            <p:cNvSpPr>
              <a:spLocks noChangeAspect="1"/>
            </p:cNvSpPr>
            <p:nvPr/>
          </p:nvSpPr>
          <p:spPr bwMode="auto">
            <a:xfrm>
              <a:off x="4515323" y="2887512"/>
              <a:ext cx="1700715" cy="1891586"/>
            </a:xfrm>
            <a:custGeom>
              <a:avLst/>
              <a:gdLst>
                <a:gd name="T0" fmla="*/ 2147483647 w 593"/>
                <a:gd name="T1" fmla="*/ 2147483647 h 752"/>
                <a:gd name="T2" fmla="*/ 2147483647 w 593"/>
                <a:gd name="T3" fmla="*/ 2147483647 h 752"/>
                <a:gd name="T4" fmla="*/ 2147483647 w 593"/>
                <a:gd name="T5" fmla="*/ 2147483647 h 752"/>
                <a:gd name="T6" fmla="*/ 2147483647 w 593"/>
                <a:gd name="T7" fmla="*/ 2147483647 h 752"/>
                <a:gd name="T8" fmla="*/ 2147483647 w 593"/>
                <a:gd name="T9" fmla="*/ 2147483647 h 752"/>
                <a:gd name="T10" fmla="*/ 2147483647 w 593"/>
                <a:gd name="T11" fmla="*/ 2147483647 h 752"/>
                <a:gd name="T12" fmla="*/ 2147483647 w 593"/>
                <a:gd name="T13" fmla="*/ 2147483647 h 752"/>
                <a:gd name="T14" fmla="*/ 2147483647 w 593"/>
                <a:gd name="T15" fmla="*/ 2147483647 h 752"/>
                <a:gd name="T16" fmla="*/ 2147483647 w 593"/>
                <a:gd name="T17" fmla="*/ 2147483647 h 752"/>
                <a:gd name="T18" fmla="*/ 2147483647 w 593"/>
                <a:gd name="T19" fmla="*/ 0 h 752"/>
                <a:gd name="T20" fmla="*/ 0 w 593"/>
                <a:gd name="T21" fmla="*/ 2147483647 h 752"/>
                <a:gd name="T22" fmla="*/ 2147483647 w 593"/>
                <a:gd name="T23" fmla="*/ 2147483647 h 752"/>
                <a:gd name="T24" fmla="*/ 2147483647 w 593"/>
                <a:gd name="T25" fmla="*/ 2147483647 h 752"/>
                <a:gd name="T26" fmla="*/ 2147483647 w 593"/>
                <a:gd name="T27" fmla="*/ 2147483647 h 75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93"/>
                <a:gd name="T43" fmla="*/ 0 h 752"/>
                <a:gd name="T44" fmla="*/ 593 w 593"/>
                <a:gd name="T45" fmla="*/ 752 h 75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93" h="752">
                  <a:moveTo>
                    <a:pt x="95" y="632"/>
                  </a:moveTo>
                  <a:cubicBezTo>
                    <a:pt x="106" y="626"/>
                    <a:pt x="118" y="625"/>
                    <a:pt x="131" y="630"/>
                  </a:cubicBezTo>
                  <a:cubicBezTo>
                    <a:pt x="139" y="633"/>
                    <a:pt x="166" y="644"/>
                    <a:pt x="195" y="656"/>
                  </a:cubicBezTo>
                  <a:cubicBezTo>
                    <a:pt x="174" y="611"/>
                    <a:pt x="163" y="561"/>
                    <a:pt x="163" y="509"/>
                  </a:cubicBezTo>
                  <a:cubicBezTo>
                    <a:pt x="163" y="318"/>
                    <a:pt x="318" y="163"/>
                    <a:pt x="510" y="163"/>
                  </a:cubicBezTo>
                  <a:cubicBezTo>
                    <a:pt x="511" y="163"/>
                    <a:pt x="513" y="163"/>
                    <a:pt x="514" y="163"/>
                  </a:cubicBezTo>
                  <a:cubicBezTo>
                    <a:pt x="544" y="140"/>
                    <a:pt x="576" y="115"/>
                    <a:pt x="583" y="109"/>
                  </a:cubicBezTo>
                  <a:cubicBezTo>
                    <a:pt x="590" y="103"/>
                    <a:pt x="593" y="97"/>
                    <a:pt x="593" y="89"/>
                  </a:cubicBezTo>
                  <a:cubicBezTo>
                    <a:pt x="593" y="81"/>
                    <a:pt x="590" y="75"/>
                    <a:pt x="583" y="70"/>
                  </a:cubicBezTo>
                  <a:cubicBezTo>
                    <a:pt x="574" y="62"/>
                    <a:pt x="530" y="27"/>
                    <a:pt x="497" y="0"/>
                  </a:cubicBezTo>
                  <a:cubicBezTo>
                    <a:pt x="221" y="8"/>
                    <a:pt x="0" y="233"/>
                    <a:pt x="0" y="509"/>
                  </a:cubicBezTo>
                  <a:cubicBezTo>
                    <a:pt x="0" y="597"/>
                    <a:pt x="22" y="680"/>
                    <a:pt x="62" y="752"/>
                  </a:cubicBezTo>
                  <a:cubicBezTo>
                    <a:pt x="68" y="714"/>
                    <a:pt x="74" y="671"/>
                    <a:pt x="76" y="662"/>
                  </a:cubicBezTo>
                  <a:cubicBezTo>
                    <a:pt x="78" y="649"/>
                    <a:pt x="84" y="638"/>
                    <a:pt x="95" y="63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Rectangle 19"/>
            <p:cNvSpPr>
              <a:spLocks noChangeArrowheads="1"/>
            </p:cNvSpPr>
            <p:nvPr/>
          </p:nvSpPr>
          <p:spPr bwMode="auto">
            <a:xfrm>
              <a:off x="4855463" y="2137644"/>
              <a:ext cx="2247830" cy="4618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blipFill dpi="0" rotWithShape="1">
                    <a:blip r:embed="rId4"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2400" dirty="0" smtClean="0">
                  <a:solidFill>
                    <a:schemeClr val="bg1"/>
                  </a:solidFill>
                </a:rPr>
                <a:t>CLOUD</a:t>
              </a:r>
              <a:endParaRPr lang="en-US" sz="2400" dirty="0">
                <a:solidFill>
                  <a:schemeClr val="bg1"/>
                </a:solidFill>
              </a:endParaRPr>
            </a:p>
          </p:txBody>
        </p:sp>
        <p:sp>
          <p:nvSpPr>
            <p:cNvPr id="37" name="Rectangle 19"/>
            <p:cNvSpPr>
              <a:spLocks noChangeArrowheads="1"/>
            </p:cNvSpPr>
            <p:nvPr/>
          </p:nvSpPr>
          <p:spPr bwMode="auto">
            <a:xfrm>
              <a:off x="4889160" y="3890031"/>
              <a:ext cx="2247831" cy="4617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blipFill dpi="0" rotWithShape="1">
                    <a:blip r:embed="rId4"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2400">
                  <a:solidFill>
                    <a:schemeClr val="bg1"/>
                  </a:solidFill>
                </a:rPr>
                <a:t>Scale</a:t>
              </a:r>
            </a:p>
          </p:txBody>
        </p:sp>
      </p:grpSp>
      <p:grpSp>
        <p:nvGrpSpPr>
          <p:cNvPr id="38" name="Group 4"/>
          <p:cNvGrpSpPr>
            <a:grpSpLocks/>
          </p:cNvGrpSpPr>
          <p:nvPr/>
        </p:nvGrpSpPr>
        <p:grpSpPr bwMode="auto">
          <a:xfrm>
            <a:off x="8779036" y="2149876"/>
            <a:ext cx="2481263" cy="3389760"/>
            <a:chOff x="7867013" y="2056489"/>
            <a:chExt cx="2924906" cy="3390638"/>
          </a:xfrm>
        </p:grpSpPr>
        <p:sp>
          <p:nvSpPr>
            <p:cNvPr id="39" name="Freeform 4"/>
            <p:cNvSpPr>
              <a:spLocks noChangeAspect="1"/>
            </p:cNvSpPr>
            <p:nvPr/>
          </p:nvSpPr>
          <p:spPr bwMode="auto">
            <a:xfrm>
              <a:off x="8082010" y="4502037"/>
              <a:ext cx="2498124" cy="945090"/>
            </a:xfrm>
            <a:custGeom>
              <a:avLst/>
              <a:gdLst>
                <a:gd name="T0" fmla="*/ 2147483647 w 871"/>
                <a:gd name="T1" fmla="*/ 2147483647 h 376"/>
                <a:gd name="T2" fmla="*/ 2147483647 w 871"/>
                <a:gd name="T3" fmla="*/ 2147483647 h 376"/>
                <a:gd name="T4" fmla="*/ 2147483647 w 871"/>
                <a:gd name="T5" fmla="*/ 2147483647 h 376"/>
                <a:gd name="T6" fmla="*/ 2147483647 w 871"/>
                <a:gd name="T7" fmla="*/ 2147483647 h 376"/>
                <a:gd name="T8" fmla="*/ 2147483647 w 871"/>
                <a:gd name="T9" fmla="*/ 2147483647 h 376"/>
                <a:gd name="T10" fmla="*/ 2147483647 w 871"/>
                <a:gd name="T11" fmla="*/ 2147483647 h 376"/>
                <a:gd name="T12" fmla="*/ 2147483647 w 871"/>
                <a:gd name="T13" fmla="*/ 2147483647 h 376"/>
                <a:gd name="T14" fmla="*/ 2147483647 w 871"/>
                <a:gd name="T15" fmla="*/ 2147483647 h 376"/>
                <a:gd name="T16" fmla="*/ 0 w 871"/>
                <a:gd name="T17" fmla="*/ 2147483647 h 376"/>
                <a:gd name="T18" fmla="*/ 2147483647 w 871"/>
                <a:gd name="T19" fmla="*/ 2147483647 h 376"/>
                <a:gd name="T20" fmla="*/ 2147483647 w 871"/>
                <a:gd name="T21" fmla="*/ 2147483647 h 376"/>
                <a:gd name="T22" fmla="*/ 2147483647 w 871"/>
                <a:gd name="T23" fmla="*/ 2147483647 h 376"/>
                <a:gd name="T24" fmla="*/ 2147483647 w 871"/>
                <a:gd name="T25" fmla="*/ 2147483647 h 376"/>
                <a:gd name="T26" fmla="*/ 2147483647 w 871"/>
                <a:gd name="T27" fmla="*/ 2147483647 h 37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871"/>
                <a:gd name="T43" fmla="*/ 0 h 376"/>
                <a:gd name="T44" fmla="*/ 871 w 871"/>
                <a:gd name="T45" fmla="*/ 376 h 37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871" h="376">
                  <a:moveTo>
                    <a:pt x="748" y="164"/>
                  </a:moveTo>
                  <a:cubicBezTo>
                    <a:pt x="737" y="158"/>
                    <a:pt x="730" y="147"/>
                    <a:pt x="728" y="134"/>
                  </a:cubicBezTo>
                  <a:cubicBezTo>
                    <a:pt x="727" y="126"/>
                    <a:pt x="723" y="98"/>
                    <a:pt x="718" y="67"/>
                  </a:cubicBezTo>
                  <a:cubicBezTo>
                    <a:pt x="655" y="156"/>
                    <a:pt x="552" y="213"/>
                    <a:pt x="435" y="213"/>
                  </a:cubicBezTo>
                  <a:cubicBezTo>
                    <a:pt x="305" y="213"/>
                    <a:pt x="191" y="141"/>
                    <a:pt x="132" y="35"/>
                  </a:cubicBezTo>
                  <a:cubicBezTo>
                    <a:pt x="97" y="21"/>
                    <a:pt x="59" y="7"/>
                    <a:pt x="50" y="3"/>
                  </a:cubicBezTo>
                  <a:cubicBezTo>
                    <a:pt x="42" y="0"/>
                    <a:pt x="35" y="0"/>
                    <a:pt x="28" y="4"/>
                  </a:cubicBezTo>
                  <a:cubicBezTo>
                    <a:pt x="21" y="8"/>
                    <a:pt x="18" y="14"/>
                    <a:pt x="16" y="23"/>
                  </a:cubicBezTo>
                  <a:cubicBezTo>
                    <a:pt x="15" y="34"/>
                    <a:pt x="6" y="91"/>
                    <a:pt x="0" y="133"/>
                  </a:cubicBezTo>
                  <a:cubicBezTo>
                    <a:pt x="89" y="278"/>
                    <a:pt x="251" y="376"/>
                    <a:pt x="435" y="376"/>
                  </a:cubicBezTo>
                  <a:cubicBezTo>
                    <a:pt x="614" y="376"/>
                    <a:pt x="771" y="284"/>
                    <a:pt x="862" y="145"/>
                  </a:cubicBezTo>
                  <a:cubicBezTo>
                    <a:pt x="865" y="141"/>
                    <a:pt x="868" y="136"/>
                    <a:pt x="871" y="132"/>
                  </a:cubicBezTo>
                  <a:cubicBezTo>
                    <a:pt x="834" y="146"/>
                    <a:pt x="792" y="163"/>
                    <a:pt x="783" y="166"/>
                  </a:cubicBezTo>
                  <a:cubicBezTo>
                    <a:pt x="770" y="171"/>
                    <a:pt x="758" y="170"/>
                    <a:pt x="748" y="164"/>
                  </a:cubicBezTo>
                  <a:close/>
                </a:path>
              </a:pathLst>
            </a:custGeom>
            <a:solidFill>
              <a:srgbClr val="E321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Freeform 5"/>
            <p:cNvSpPr>
              <a:spLocks noChangeAspect="1"/>
            </p:cNvSpPr>
            <p:nvPr/>
          </p:nvSpPr>
          <p:spPr bwMode="auto">
            <a:xfrm>
              <a:off x="9363961" y="2887509"/>
              <a:ext cx="1427958" cy="2001284"/>
            </a:xfrm>
            <a:custGeom>
              <a:avLst/>
              <a:gdLst>
                <a:gd name="T0" fmla="*/ 2147483647 w 498"/>
                <a:gd name="T1" fmla="*/ 2147483647 h 796"/>
                <a:gd name="T2" fmla="*/ 2147483647 w 498"/>
                <a:gd name="T3" fmla="*/ 2147483647 h 796"/>
                <a:gd name="T4" fmla="*/ 0 w 498"/>
                <a:gd name="T5" fmla="*/ 0 h 796"/>
                <a:gd name="T6" fmla="*/ 2147483647 w 498"/>
                <a:gd name="T7" fmla="*/ 2147483647 h 796"/>
                <a:gd name="T8" fmla="*/ 2147483647 w 498"/>
                <a:gd name="T9" fmla="*/ 2147483647 h 796"/>
                <a:gd name="T10" fmla="*/ 2147483647 w 498"/>
                <a:gd name="T11" fmla="*/ 2147483647 h 796"/>
                <a:gd name="T12" fmla="*/ 2147483647 w 498"/>
                <a:gd name="T13" fmla="*/ 2147483647 h 796"/>
                <a:gd name="T14" fmla="*/ 2147483647 w 498"/>
                <a:gd name="T15" fmla="*/ 2147483647 h 796"/>
                <a:gd name="T16" fmla="*/ 2147483647 w 498"/>
                <a:gd name="T17" fmla="*/ 2147483647 h 796"/>
                <a:gd name="T18" fmla="*/ 2147483647 w 498"/>
                <a:gd name="T19" fmla="*/ 2147483647 h 796"/>
                <a:gd name="T20" fmla="*/ 2147483647 w 498"/>
                <a:gd name="T21" fmla="*/ 2147483647 h 796"/>
                <a:gd name="T22" fmla="*/ 2147483647 w 498"/>
                <a:gd name="T23" fmla="*/ 2147483647 h 796"/>
                <a:gd name="T24" fmla="*/ 2147483647 w 498"/>
                <a:gd name="T25" fmla="*/ 2147483647 h 796"/>
                <a:gd name="T26" fmla="*/ 2147483647 w 498"/>
                <a:gd name="T27" fmla="*/ 2147483647 h 796"/>
                <a:gd name="T28" fmla="*/ 2147483647 w 498"/>
                <a:gd name="T29" fmla="*/ 2147483647 h 796"/>
                <a:gd name="T30" fmla="*/ 2147483647 w 498"/>
                <a:gd name="T31" fmla="*/ 2147483647 h 796"/>
                <a:gd name="T32" fmla="*/ 2147483647 w 498"/>
                <a:gd name="T33" fmla="*/ 2147483647 h 796"/>
                <a:gd name="T34" fmla="*/ 2147483647 w 498"/>
                <a:gd name="T35" fmla="*/ 2147483647 h 796"/>
                <a:gd name="T36" fmla="*/ 2147483647 w 498"/>
                <a:gd name="T37" fmla="*/ 2147483647 h 796"/>
                <a:gd name="T38" fmla="*/ 2147483647 w 498"/>
                <a:gd name="T39" fmla="*/ 2147483647 h 796"/>
                <a:gd name="T40" fmla="*/ 2147483647 w 498"/>
                <a:gd name="T41" fmla="*/ 2147483647 h 79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98"/>
                <a:gd name="T64" fmla="*/ 0 h 796"/>
                <a:gd name="T65" fmla="*/ 498 w 498"/>
                <a:gd name="T66" fmla="*/ 796 h 79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98" h="796">
                  <a:moveTo>
                    <a:pt x="498" y="509"/>
                  </a:moveTo>
                  <a:cubicBezTo>
                    <a:pt x="498" y="411"/>
                    <a:pt x="470" y="319"/>
                    <a:pt x="422" y="241"/>
                  </a:cubicBezTo>
                  <a:cubicBezTo>
                    <a:pt x="333" y="100"/>
                    <a:pt x="178" y="5"/>
                    <a:pt x="0" y="0"/>
                  </a:cubicBezTo>
                  <a:cubicBezTo>
                    <a:pt x="31" y="25"/>
                    <a:pt x="64" y="52"/>
                    <a:pt x="71" y="57"/>
                  </a:cubicBezTo>
                  <a:cubicBezTo>
                    <a:pt x="82" y="66"/>
                    <a:pt x="87" y="77"/>
                    <a:pt x="87" y="89"/>
                  </a:cubicBezTo>
                  <a:cubicBezTo>
                    <a:pt x="87" y="102"/>
                    <a:pt x="82" y="112"/>
                    <a:pt x="71" y="121"/>
                  </a:cubicBezTo>
                  <a:cubicBezTo>
                    <a:pt x="65" y="126"/>
                    <a:pt x="42" y="144"/>
                    <a:pt x="17" y="164"/>
                  </a:cubicBezTo>
                  <a:cubicBezTo>
                    <a:pt x="195" y="179"/>
                    <a:pt x="335" y="327"/>
                    <a:pt x="335" y="509"/>
                  </a:cubicBezTo>
                  <a:cubicBezTo>
                    <a:pt x="335" y="575"/>
                    <a:pt x="317" y="637"/>
                    <a:pt x="284" y="689"/>
                  </a:cubicBezTo>
                  <a:cubicBezTo>
                    <a:pt x="290" y="726"/>
                    <a:pt x="295" y="764"/>
                    <a:pt x="297" y="773"/>
                  </a:cubicBezTo>
                  <a:cubicBezTo>
                    <a:pt x="298" y="782"/>
                    <a:pt x="302" y="788"/>
                    <a:pt x="309" y="792"/>
                  </a:cubicBezTo>
                  <a:cubicBezTo>
                    <a:pt x="315" y="796"/>
                    <a:pt x="323" y="796"/>
                    <a:pt x="331" y="793"/>
                  </a:cubicBezTo>
                  <a:cubicBezTo>
                    <a:pt x="341" y="789"/>
                    <a:pt x="397" y="767"/>
                    <a:pt x="437" y="751"/>
                  </a:cubicBezTo>
                  <a:cubicBezTo>
                    <a:pt x="447" y="733"/>
                    <a:pt x="456" y="713"/>
                    <a:pt x="464" y="693"/>
                  </a:cubicBezTo>
                  <a:cubicBezTo>
                    <a:pt x="464" y="693"/>
                    <a:pt x="464" y="693"/>
                    <a:pt x="464" y="693"/>
                  </a:cubicBezTo>
                  <a:cubicBezTo>
                    <a:pt x="471" y="673"/>
                    <a:pt x="477" y="654"/>
                    <a:pt x="482" y="634"/>
                  </a:cubicBezTo>
                  <a:cubicBezTo>
                    <a:pt x="482" y="634"/>
                    <a:pt x="482" y="634"/>
                    <a:pt x="482" y="634"/>
                  </a:cubicBezTo>
                  <a:cubicBezTo>
                    <a:pt x="482" y="633"/>
                    <a:pt x="483" y="632"/>
                    <a:pt x="483" y="631"/>
                  </a:cubicBezTo>
                  <a:cubicBezTo>
                    <a:pt x="483" y="630"/>
                    <a:pt x="484" y="629"/>
                    <a:pt x="484" y="627"/>
                  </a:cubicBezTo>
                  <a:cubicBezTo>
                    <a:pt x="484" y="627"/>
                    <a:pt x="484" y="627"/>
                    <a:pt x="484" y="627"/>
                  </a:cubicBezTo>
                  <a:cubicBezTo>
                    <a:pt x="493" y="589"/>
                    <a:pt x="498" y="550"/>
                    <a:pt x="498" y="50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Freeform 6"/>
            <p:cNvSpPr>
              <a:spLocks noChangeAspect="1"/>
            </p:cNvSpPr>
            <p:nvPr/>
          </p:nvSpPr>
          <p:spPr bwMode="auto">
            <a:xfrm>
              <a:off x="7867013" y="2887512"/>
              <a:ext cx="1700715" cy="1891586"/>
            </a:xfrm>
            <a:custGeom>
              <a:avLst/>
              <a:gdLst>
                <a:gd name="T0" fmla="*/ 2147483647 w 593"/>
                <a:gd name="T1" fmla="*/ 2147483647 h 752"/>
                <a:gd name="T2" fmla="*/ 2147483647 w 593"/>
                <a:gd name="T3" fmla="*/ 2147483647 h 752"/>
                <a:gd name="T4" fmla="*/ 2147483647 w 593"/>
                <a:gd name="T5" fmla="*/ 2147483647 h 752"/>
                <a:gd name="T6" fmla="*/ 2147483647 w 593"/>
                <a:gd name="T7" fmla="*/ 2147483647 h 752"/>
                <a:gd name="T8" fmla="*/ 2147483647 w 593"/>
                <a:gd name="T9" fmla="*/ 2147483647 h 752"/>
                <a:gd name="T10" fmla="*/ 2147483647 w 593"/>
                <a:gd name="T11" fmla="*/ 2147483647 h 752"/>
                <a:gd name="T12" fmla="*/ 2147483647 w 593"/>
                <a:gd name="T13" fmla="*/ 2147483647 h 752"/>
                <a:gd name="T14" fmla="*/ 2147483647 w 593"/>
                <a:gd name="T15" fmla="*/ 2147483647 h 752"/>
                <a:gd name="T16" fmla="*/ 2147483647 w 593"/>
                <a:gd name="T17" fmla="*/ 2147483647 h 752"/>
                <a:gd name="T18" fmla="*/ 2147483647 w 593"/>
                <a:gd name="T19" fmla="*/ 0 h 752"/>
                <a:gd name="T20" fmla="*/ 0 w 593"/>
                <a:gd name="T21" fmla="*/ 2147483647 h 752"/>
                <a:gd name="T22" fmla="*/ 2147483647 w 593"/>
                <a:gd name="T23" fmla="*/ 2147483647 h 752"/>
                <a:gd name="T24" fmla="*/ 2147483647 w 593"/>
                <a:gd name="T25" fmla="*/ 2147483647 h 752"/>
                <a:gd name="T26" fmla="*/ 2147483647 w 593"/>
                <a:gd name="T27" fmla="*/ 2147483647 h 75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93"/>
                <a:gd name="T43" fmla="*/ 0 h 752"/>
                <a:gd name="T44" fmla="*/ 593 w 593"/>
                <a:gd name="T45" fmla="*/ 752 h 75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93" h="752">
                  <a:moveTo>
                    <a:pt x="95" y="632"/>
                  </a:moveTo>
                  <a:cubicBezTo>
                    <a:pt x="106" y="626"/>
                    <a:pt x="118" y="625"/>
                    <a:pt x="131" y="630"/>
                  </a:cubicBezTo>
                  <a:cubicBezTo>
                    <a:pt x="139" y="633"/>
                    <a:pt x="166" y="644"/>
                    <a:pt x="195" y="656"/>
                  </a:cubicBezTo>
                  <a:cubicBezTo>
                    <a:pt x="174" y="611"/>
                    <a:pt x="163" y="561"/>
                    <a:pt x="163" y="509"/>
                  </a:cubicBezTo>
                  <a:cubicBezTo>
                    <a:pt x="163" y="318"/>
                    <a:pt x="318" y="163"/>
                    <a:pt x="510" y="163"/>
                  </a:cubicBezTo>
                  <a:cubicBezTo>
                    <a:pt x="511" y="163"/>
                    <a:pt x="513" y="163"/>
                    <a:pt x="514" y="163"/>
                  </a:cubicBezTo>
                  <a:cubicBezTo>
                    <a:pt x="544" y="140"/>
                    <a:pt x="576" y="115"/>
                    <a:pt x="583" y="109"/>
                  </a:cubicBezTo>
                  <a:cubicBezTo>
                    <a:pt x="590" y="103"/>
                    <a:pt x="593" y="97"/>
                    <a:pt x="593" y="89"/>
                  </a:cubicBezTo>
                  <a:cubicBezTo>
                    <a:pt x="593" y="81"/>
                    <a:pt x="590" y="75"/>
                    <a:pt x="583" y="70"/>
                  </a:cubicBezTo>
                  <a:cubicBezTo>
                    <a:pt x="574" y="62"/>
                    <a:pt x="530" y="27"/>
                    <a:pt x="497" y="0"/>
                  </a:cubicBezTo>
                  <a:cubicBezTo>
                    <a:pt x="221" y="8"/>
                    <a:pt x="0" y="233"/>
                    <a:pt x="0" y="509"/>
                  </a:cubicBezTo>
                  <a:cubicBezTo>
                    <a:pt x="0" y="597"/>
                    <a:pt x="22" y="680"/>
                    <a:pt x="62" y="752"/>
                  </a:cubicBezTo>
                  <a:cubicBezTo>
                    <a:pt x="68" y="714"/>
                    <a:pt x="74" y="671"/>
                    <a:pt x="76" y="662"/>
                  </a:cubicBezTo>
                  <a:cubicBezTo>
                    <a:pt x="78" y="649"/>
                    <a:pt x="84" y="638"/>
                    <a:pt x="95" y="63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2" name="Rectangle 19"/>
            <p:cNvSpPr>
              <a:spLocks noChangeArrowheads="1"/>
            </p:cNvSpPr>
            <p:nvPr/>
          </p:nvSpPr>
          <p:spPr bwMode="auto">
            <a:xfrm>
              <a:off x="8308872" y="2056489"/>
              <a:ext cx="2247830" cy="4617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blipFill dpi="0" rotWithShape="1">
                    <a:blip r:embed="rId4"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2400" dirty="0" smtClean="0">
                  <a:solidFill>
                    <a:schemeClr val="bg1"/>
                  </a:solidFill>
                </a:rPr>
                <a:t>SP-SDN</a:t>
              </a:r>
              <a:endParaRPr lang="en-US" sz="2400" dirty="0">
                <a:solidFill>
                  <a:schemeClr val="bg1"/>
                </a:solidFill>
              </a:endParaRPr>
            </a:p>
          </p:txBody>
        </p:sp>
        <p:sp>
          <p:nvSpPr>
            <p:cNvPr id="43" name="Rectangle 19"/>
            <p:cNvSpPr>
              <a:spLocks noChangeArrowheads="1"/>
            </p:cNvSpPr>
            <p:nvPr/>
          </p:nvSpPr>
          <p:spPr bwMode="auto">
            <a:xfrm>
              <a:off x="8240848" y="3890046"/>
              <a:ext cx="2247831" cy="4617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blipFill dpi="0" rotWithShape="1">
                    <a:blip r:embed="rId4"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2400">
                  <a:solidFill>
                    <a:schemeClr val="bg1"/>
                  </a:solidFill>
                </a:rPr>
                <a:t>Control</a:t>
              </a:r>
            </a:p>
          </p:txBody>
        </p:sp>
      </p:grpSp>
      <p:sp>
        <p:nvSpPr>
          <p:cNvPr id="3" name="Rectangle 2"/>
          <p:cNvSpPr/>
          <p:nvPr/>
        </p:nvSpPr>
        <p:spPr>
          <a:xfrm>
            <a:off x="325267" y="5701847"/>
            <a:ext cx="3598549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Arial" pitchFamily="34" charset="0"/>
              </a:rPr>
              <a:t>Virtualized Network Functions (VNFs</a:t>
            </a:r>
            <a:r>
              <a:rPr lang="en-US" sz="1600" dirty="0" smtClean="0">
                <a:solidFill>
                  <a:schemeClr val="bg1"/>
                </a:solidFill>
                <a:latin typeface="Arial" pitchFamily="34" charset="0"/>
              </a:rPr>
              <a:t>)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  <a:latin typeface="Arial" pitchFamily="34" charset="0"/>
              </a:rPr>
              <a:t>Rapid e2e full service </a:t>
            </a:r>
            <a:r>
              <a:rPr lang="en-US" sz="1600" dirty="0" smtClean="0">
                <a:solidFill>
                  <a:schemeClr val="bg1"/>
                </a:solidFill>
                <a:latin typeface="Arial" pitchFamily="34" charset="0"/>
              </a:rPr>
              <a:t>deployment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  <a:latin typeface="Arial" pitchFamily="34" charset="0"/>
              </a:rPr>
              <a:t>Relocate VNFs for network efficiency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4419803" y="5729330"/>
            <a:ext cx="3515706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Arial" pitchFamily="34" charset="0"/>
              </a:rPr>
              <a:t>Flexible </a:t>
            </a:r>
            <a:r>
              <a:rPr lang="en-US" sz="1600" dirty="0" smtClean="0">
                <a:solidFill>
                  <a:schemeClr val="bg1"/>
                </a:solidFill>
                <a:latin typeface="Arial" pitchFamily="34" charset="0"/>
              </a:rPr>
              <a:t>deployments</a:t>
            </a:r>
          </a:p>
          <a:p>
            <a:pPr algn="ctr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</a:rPr>
              <a:t>Easy </a:t>
            </a:r>
            <a:r>
              <a:rPr lang="en-US" sz="1600" dirty="0">
                <a:solidFill>
                  <a:schemeClr val="bg1"/>
                </a:solidFill>
                <a:latin typeface="Arial" pitchFamily="34" charset="0"/>
              </a:rPr>
              <a:t>expand you network </a:t>
            </a:r>
            <a:r>
              <a:rPr lang="en-US" sz="1600" dirty="0" smtClean="0">
                <a:solidFill>
                  <a:schemeClr val="bg1"/>
                </a:solidFill>
                <a:latin typeface="Arial" pitchFamily="34" charset="0"/>
              </a:rPr>
              <a:t>elements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  <a:latin typeface="Arial" pitchFamily="34" charset="0"/>
              </a:rPr>
              <a:t>Real-time performance </a:t>
            </a:r>
            <a:r>
              <a:rPr lang="en-US" sz="1600" dirty="0" smtClean="0">
                <a:solidFill>
                  <a:schemeClr val="bg1"/>
                </a:solidFill>
                <a:latin typeface="Arial" pitchFamily="34" charset="0"/>
              </a:rPr>
              <a:t>orchestration</a:t>
            </a:r>
          </a:p>
        </p:txBody>
      </p:sp>
      <p:sp>
        <p:nvSpPr>
          <p:cNvPr id="45" name="Rectangle 44"/>
          <p:cNvSpPr/>
          <p:nvPr/>
        </p:nvSpPr>
        <p:spPr>
          <a:xfrm>
            <a:off x="8974585" y="5657906"/>
            <a:ext cx="2340705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Arial" pitchFamily="34" charset="0"/>
              </a:rPr>
              <a:t>Virtual </a:t>
            </a:r>
            <a:r>
              <a:rPr lang="en-US" sz="1600" dirty="0" smtClean="0">
                <a:solidFill>
                  <a:schemeClr val="bg1"/>
                </a:solidFill>
                <a:latin typeface="Arial" pitchFamily="34" charset="0"/>
              </a:rPr>
              <a:t>Network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  <a:latin typeface="Arial" pitchFamily="34" charset="0"/>
              </a:rPr>
              <a:t>Service </a:t>
            </a:r>
            <a:r>
              <a:rPr lang="en-US" sz="1600" dirty="0" smtClean="0">
                <a:solidFill>
                  <a:schemeClr val="bg1"/>
                </a:solidFill>
                <a:latin typeface="Arial" pitchFamily="34" charset="0"/>
              </a:rPr>
              <a:t>chaining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  <a:latin typeface="Arial" pitchFamily="34" charset="0"/>
              </a:rPr>
              <a:t>Automatic connectivity  </a:t>
            </a:r>
            <a:endParaRPr lang="en-US" sz="1600" dirty="0" smtClean="0">
              <a:solidFill>
                <a:schemeClr val="bg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485209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47" name="Rectangle 67"/>
          <p:cNvSpPr>
            <a:spLocks noChangeArrowheads="1"/>
          </p:cNvSpPr>
          <p:nvPr/>
        </p:nvSpPr>
        <p:spPr bwMode="auto">
          <a:xfrm>
            <a:off x="0" y="0"/>
            <a:ext cx="12460288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122984" name="Group 104"/>
          <p:cNvGrpSpPr>
            <a:grpSpLocks/>
          </p:cNvGrpSpPr>
          <p:nvPr/>
        </p:nvGrpSpPr>
        <p:grpSpPr bwMode="auto">
          <a:xfrm>
            <a:off x="387356" y="1401763"/>
            <a:ext cx="3109913" cy="5141912"/>
            <a:chOff x="208" y="883"/>
            <a:chExt cx="1959" cy="3239"/>
          </a:xfrm>
        </p:grpSpPr>
        <p:sp>
          <p:nvSpPr>
            <p:cNvPr id="7182" name="Rounded Rectangle 7181"/>
            <p:cNvSpPr>
              <a:spLocks noChangeArrowheads="1"/>
            </p:cNvSpPr>
            <p:nvPr/>
          </p:nvSpPr>
          <p:spPr bwMode="auto">
            <a:xfrm>
              <a:off x="208" y="883"/>
              <a:ext cx="1956" cy="1847"/>
            </a:xfrm>
            <a:prstGeom prst="roundRect">
              <a:avLst>
                <a:gd name="adj" fmla="val 1431"/>
              </a:avLst>
            </a:prstGeom>
            <a:blipFill dpi="0" rotWithShape="1">
              <a:blip r:embed="rId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72000" tIns="72000" rIns="72000" bIns="0"/>
            <a:lstStyle/>
            <a:p>
              <a:pPr marL="3175" algn="ctr" eaLnBrk="0" hangingPunct="0">
                <a:spcBef>
                  <a:spcPct val="50000"/>
                </a:spcBef>
              </a:pPr>
              <a:endParaRPr lang="en-AU" sz="1600" b="1" i="1">
                <a:solidFill>
                  <a:srgbClr val="FFFFFF"/>
                </a:solidFill>
              </a:endParaRPr>
            </a:p>
          </p:txBody>
        </p:sp>
        <p:grpSp>
          <p:nvGrpSpPr>
            <p:cNvPr id="122981" name="Group 101"/>
            <p:cNvGrpSpPr>
              <a:grpSpLocks/>
            </p:cNvGrpSpPr>
            <p:nvPr/>
          </p:nvGrpSpPr>
          <p:grpSpPr bwMode="auto">
            <a:xfrm>
              <a:off x="247" y="1338"/>
              <a:ext cx="1920" cy="2784"/>
              <a:chOff x="247" y="1338"/>
              <a:chExt cx="1920" cy="2784"/>
            </a:xfrm>
          </p:grpSpPr>
          <p:sp>
            <p:nvSpPr>
              <p:cNvPr id="82" name="Rounded Rectangle 81"/>
              <p:cNvSpPr/>
              <p:nvPr/>
            </p:nvSpPr>
            <p:spPr bwMode="auto">
              <a:xfrm>
                <a:off x="247" y="3210"/>
                <a:ext cx="1920" cy="912"/>
              </a:xfrm>
              <a:prstGeom prst="roundRect">
                <a:avLst>
                  <a:gd name="adj" fmla="val 6012"/>
                </a:avLst>
              </a:prstGeom>
              <a:ln w="25400" cap="flat" cmpd="sng" algn="ctr">
                <a:solidFill>
                  <a:srgbClr val="89BA17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lIns="36000" tIns="108000" rIns="36000" anchor="ctr"/>
              <a:lstStyle/>
              <a:p>
                <a:pPr algn="ctr">
                  <a:spcBef>
                    <a:spcPct val="50000"/>
                  </a:spcBef>
                  <a:spcAft>
                    <a:spcPts val="300"/>
                  </a:spcAft>
                </a:pPr>
                <a:r>
                  <a:rPr lang="en-AU" b="1">
                    <a:solidFill>
                      <a:srgbClr val="00A9D4"/>
                    </a:solidFill>
                    <a:ea typeface="MS PGothic" pitchFamily="34" charset="-128"/>
                    <a:cs typeface="Arial" pitchFamily="34" charset="0"/>
                  </a:rPr>
                  <a:t>Transforming existing networks to enable Cloud services</a:t>
                </a:r>
              </a:p>
            </p:txBody>
          </p:sp>
          <p:grpSp>
            <p:nvGrpSpPr>
              <p:cNvPr id="122978" name="Group 98"/>
              <p:cNvGrpSpPr>
                <a:grpSpLocks/>
              </p:cNvGrpSpPr>
              <p:nvPr/>
            </p:nvGrpSpPr>
            <p:grpSpPr bwMode="auto">
              <a:xfrm>
                <a:off x="301" y="1338"/>
                <a:ext cx="1777" cy="912"/>
                <a:chOff x="301" y="1338"/>
                <a:chExt cx="1777" cy="912"/>
              </a:xfrm>
            </p:grpSpPr>
            <p:sp>
              <p:nvSpPr>
                <p:cNvPr id="7180" name="Rounded Rectangle 7179"/>
                <p:cNvSpPr/>
                <p:nvPr/>
              </p:nvSpPr>
              <p:spPr bwMode="auto">
                <a:xfrm>
                  <a:off x="301" y="1338"/>
                  <a:ext cx="1777" cy="912"/>
                </a:xfrm>
                <a:prstGeom prst="roundRect">
                  <a:avLst>
                    <a:gd name="adj" fmla="val 4355"/>
                  </a:avLst>
                </a:prstGeom>
                <a:solidFill>
                  <a:srgbClr val="FFFFFF"/>
                </a:solidFill>
                <a:ln w="25400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wrap="none" lIns="72000" rIns="72000" bIns="0" anchor="b"/>
                <a:lstStyle/>
                <a:p>
                  <a:pPr algn="ctr">
                    <a:spcBef>
                      <a:spcPct val="50000"/>
                    </a:spcBef>
                    <a:defRPr/>
                  </a:pPr>
                  <a:r>
                    <a:rPr lang="en-AU" sz="1050" b="1" i="1" dirty="0">
                      <a:solidFill>
                        <a:srgbClr val="000000"/>
                      </a:solidFill>
                    </a:rPr>
                    <a:t>Telco Network</a:t>
                  </a:r>
                </a:p>
              </p:txBody>
            </p:sp>
            <p:sp>
              <p:nvSpPr>
                <p:cNvPr id="122892" name="Freeform 3"/>
                <p:cNvSpPr>
                  <a:spLocks noChangeAspect="1" noEditPoints="1"/>
                </p:cNvSpPr>
                <p:nvPr/>
              </p:nvSpPr>
              <p:spPr bwMode="auto">
                <a:xfrm>
                  <a:off x="1044" y="1431"/>
                  <a:ext cx="857" cy="362"/>
                </a:xfrm>
                <a:custGeom>
                  <a:avLst/>
                  <a:gdLst>
                    <a:gd name="T0" fmla="*/ 2147483647 w 522"/>
                    <a:gd name="T1" fmla="*/ 2147483647 h 399"/>
                    <a:gd name="T2" fmla="*/ 2147483647 w 522"/>
                    <a:gd name="T3" fmla="*/ 2147483647 h 399"/>
                    <a:gd name="T4" fmla="*/ 2147483647 w 522"/>
                    <a:gd name="T5" fmla="*/ 2147483647 h 399"/>
                    <a:gd name="T6" fmla="*/ 2147483647 w 522"/>
                    <a:gd name="T7" fmla="*/ 2147483647 h 399"/>
                    <a:gd name="T8" fmla="*/ 2147483647 w 522"/>
                    <a:gd name="T9" fmla="*/ 2147483647 h 399"/>
                    <a:gd name="T10" fmla="*/ 2147483647 w 522"/>
                    <a:gd name="T11" fmla="*/ 2147483647 h 399"/>
                    <a:gd name="T12" fmla="*/ 2147483647 w 522"/>
                    <a:gd name="T13" fmla="*/ 2147483647 h 399"/>
                    <a:gd name="T14" fmla="*/ 2147483647 w 522"/>
                    <a:gd name="T15" fmla="*/ 2147483647 h 399"/>
                    <a:gd name="T16" fmla="*/ 2147483647 w 522"/>
                    <a:gd name="T17" fmla="*/ 2147483647 h 399"/>
                    <a:gd name="T18" fmla="*/ 2147483647 w 522"/>
                    <a:gd name="T19" fmla="*/ 2147483647 h 399"/>
                    <a:gd name="T20" fmla="*/ 2147483647 w 522"/>
                    <a:gd name="T21" fmla="*/ 2147483647 h 399"/>
                    <a:gd name="T22" fmla="*/ 2147483647 w 522"/>
                    <a:gd name="T23" fmla="*/ 2147483647 h 399"/>
                    <a:gd name="T24" fmla="*/ 2147483647 w 522"/>
                    <a:gd name="T25" fmla="*/ 2147483647 h 399"/>
                    <a:gd name="T26" fmla="*/ 2147483647 w 522"/>
                    <a:gd name="T27" fmla="*/ 2147483647 h 399"/>
                    <a:gd name="T28" fmla="*/ 2147483647 w 522"/>
                    <a:gd name="T29" fmla="*/ 2147483647 h 399"/>
                    <a:gd name="T30" fmla="*/ 2147483647 w 522"/>
                    <a:gd name="T31" fmla="*/ 2147483647 h 399"/>
                    <a:gd name="T32" fmla="*/ 2147483647 w 522"/>
                    <a:gd name="T33" fmla="*/ 2147483647 h 399"/>
                    <a:gd name="T34" fmla="*/ 2147483647 w 522"/>
                    <a:gd name="T35" fmla="*/ 2147483647 h 399"/>
                    <a:gd name="T36" fmla="*/ 2147483647 w 522"/>
                    <a:gd name="T37" fmla="*/ 2147483647 h 399"/>
                    <a:gd name="T38" fmla="*/ 2147483647 w 522"/>
                    <a:gd name="T39" fmla="*/ 2147483647 h 399"/>
                    <a:gd name="T40" fmla="*/ 2147483647 w 522"/>
                    <a:gd name="T41" fmla="*/ 2147483647 h 399"/>
                    <a:gd name="T42" fmla="*/ 2147483647 w 522"/>
                    <a:gd name="T43" fmla="*/ 2147483647 h 399"/>
                    <a:gd name="T44" fmla="*/ 2147483647 w 522"/>
                    <a:gd name="T45" fmla="*/ 2147483647 h 399"/>
                    <a:gd name="T46" fmla="*/ 2147483647 w 522"/>
                    <a:gd name="T47" fmla="*/ 2147483647 h 399"/>
                    <a:gd name="T48" fmla="*/ 2147483647 w 522"/>
                    <a:gd name="T49" fmla="*/ 2147483647 h 399"/>
                    <a:gd name="T50" fmla="*/ 2147483647 w 522"/>
                    <a:gd name="T51" fmla="*/ 2147483647 h 399"/>
                    <a:gd name="T52" fmla="*/ 2147483647 w 522"/>
                    <a:gd name="T53" fmla="*/ 2147483647 h 399"/>
                    <a:gd name="T54" fmla="*/ 2147483647 w 522"/>
                    <a:gd name="T55" fmla="*/ 2147483647 h 399"/>
                    <a:gd name="T56" fmla="*/ 2147483647 w 522"/>
                    <a:gd name="T57" fmla="*/ 2147483647 h 399"/>
                    <a:gd name="T58" fmla="*/ 2147483647 w 522"/>
                    <a:gd name="T59" fmla="*/ 2147483647 h 399"/>
                    <a:gd name="T60" fmla="*/ 2147483647 w 522"/>
                    <a:gd name="T61" fmla="*/ 2147483647 h 399"/>
                    <a:gd name="T62" fmla="*/ 2147483647 w 522"/>
                    <a:gd name="T63" fmla="*/ 2147483647 h 399"/>
                    <a:gd name="T64" fmla="*/ 2147483647 w 522"/>
                    <a:gd name="T65" fmla="*/ 2147483647 h 399"/>
                    <a:gd name="T66" fmla="*/ 2147483647 w 522"/>
                    <a:gd name="T67" fmla="*/ 2147483647 h 399"/>
                    <a:gd name="T68" fmla="*/ 2147483647 w 522"/>
                    <a:gd name="T69" fmla="*/ 2147483647 h 399"/>
                    <a:gd name="T70" fmla="*/ 2147483647 w 522"/>
                    <a:gd name="T71" fmla="*/ 2147483647 h 399"/>
                    <a:gd name="T72" fmla="*/ 2147483647 w 522"/>
                    <a:gd name="T73" fmla="*/ 2147483647 h 399"/>
                    <a:gd name="T74" fmla="*/ 2147483647 w 522"/>
                    <a:gd name="T75" fmla="*/ 2147483647 h 399"/>
                    <a:gd name="T76" fmla="*/ 2147483647 w 522"/>
                    <a:gd name="T77" fmla="*/ 2147483647 h 399"/>
                    <a:gd name="T78" fmla="*/ 2147483647 w 522"/>
                    <a:gd name="T79" fmla="*/ 2147483647 h 399"/>
                    <a:gd name="T80" fmla="*/ 2147483647 w 522"/>
                    <a:gd name="T81" fmla="*/ 2147483647 h 399"/>
                    <a:gd name="T82" fmla="*/ 2147483647 w 522"/>
                    <a:gd name="T83" fmla="*/ 2147483647 h 399"/>
                    <a:gd name="T84" fmla="*/ 2147483647 w 522"/>
                    <a:gd name="T85" fmla="*/ 2147483647 h 399"/>
                    <a:gd name="T86" fmla="*/ 2147483647 w 522"/>
                    <a:gd name="T87" fmla="*/ 2147483647 h 399"/>
                    <a:gd name="T88" fmla="*/ 2147483647 w 522"/>
                    <a:gd name="T89" fmla="*/ 2147483647 h 399"/>
                    <a:gd name="T90" fmla="*/ 2147483647 w 522"/>
                    <a:gd name="T91" fmla="*/ 2147483647 h 399"/>
                    <a:gd name="T92" fmla="*/ 2147483647 w 522"/>
                    <a:gd name="T93" fmla="*/ 2147483647 h 399"/>
                    <a:gd name="T94" fmla="*/ 2147483647 w 522"/>
                    <a:gd name="T95" fmla="*/ 2147483647 h 399"/>
                    <a:gd name="T96" fmla="*/ 2147483647 w 522"/>
                    <a:gd name="T97" fmla="*/ 2147483647 h 399"/>
                    <a:gd name="T98" fmla="*/ 2147483647 w 522"/>
                    <a:gd name="T99" fmla="*/ 2147483647 h 399"/>
                    <a:gd name="T100" fmla="*/ 2147483647 w 522"/>
                    <a:gd name="T101" fmla="*/ 2147483647 h 399"/>
                    <a:gd name="T102" fmla="*/ 2147483647 w 522"/>
                    <a:gd name="T103" fmla="*/ 2147483647 h 399"/>
                    <a:gd name="T104" fmla="*/ 2147483647 w 522"/>
                    <a:gd name="T105" fmla="*/ 2147483647 h 399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522"/>
                    <a:gd name="T160" fmla="*/ 0 h 399"/>
                    <a:gd name="T161" fmla="*/ 522 w 522"/>
                    <a:gd name="T162" fmla="*/ 399 h 399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522" h="399">
                      <a:moveTo>
                        <a:pt x="388" y="161"/>
                      </a:moveTo>
                      <a:cubicBezTo>
                        <a:pt x="388" y="147"/>
                        <a:pt x="376" y="135"/>
                        <a:pt x="362" y="135"/>
                      </a:cubicBezTo>
                      <a:cubicBezTo>
                        <a:pt x="356" y="135"/>
                        <a:pt x="351" y="137"/>
                        <a:pt x="347" y="140"/>
                      </a:cubicBezTo>
                      <a:cubicBezTo>
                        <a:pt x="307" y="111"/>
                        <a:pt x="307" y="111"/>
                        <a:pt x="307" y="111"/>
                      </a:cubicBezTo>
                      <a:cubicBezTo>
                        <a:pt x="308" y="109"/>
                        <a:pt x="309" y="106"/>
                        <a:pt x="309" y="103"/>
                      </a:cubicBezTo>
                      <a:cubicBezTo>
                        <a:pt x="309" y="89"/>
                        <a:pt x="297" y="78"/>
                        <a:pt x="283" y="78"/>
                      </a:cubicBezTo>
                      <a:cubicBezTo>
                        <a:pt x="269" y="78"/>
                        <a:pt x="258" y="88"/>
                        <a:pt x="257" y="101"/>
                      </a:cubicBezTo>
                      <a:cubicBezTo>
                        <a:pt x="187" y="115"/>
                        <a:pt x="187" y="115"/>
                        <a:pt x="187" y="115"/>
                      </a:cubicBezTo>
                      <a:cubicBezTo>
                        <a:pt x="182" y="108"/>
                        <a:pt x="174" y="103"/>
                        <a:pt x="164" y="103"/>
                      </a:cubicBezTo>
                      <a:cubicBezTo>
                        <a:pt x="150" y="103"/>
                        <a:pt x="138" y="114"/>
                        <a:pt x="138" y="128"/>
                      </a:cubicBezTo>
                      <a:cubicBezTo>
                        <a:pt x="138" y="140"/>
                        <a:pt x="146" y="150"/>
                        <a:pt x="157" y="153"/>
                      </a:cubicBezTo>
                      <a:cubicBezTo>
                        <a:pt x="158" y="226"/>
                        <a:pt x="158" y="226"/>
                        <a:pt x="158" y="226"/>
                      </a:cubicBezTo>
                      <a:cubicBezTo>
                        <a:pt x="148" y="230"/>
                        <a:pt x="141" y="239"/>
                        <a:pt x="141" y="251"/>
                      </a:cubicBezTo>
                      <a:cubicBezTo>
                        <a:pt x="141" y="265"/>
                        <a:pt x="152" y="277"/>
                        <a:pt x="166" y="277"/>
                      </a:cubicBezTo>
                      <a:cubicBezTo>
                        <a:pt x="170" y="277"/>
                        <a:pt x="173" y="276"/>
                        <a:pt x="175" y="275"/>
                      </a:cubicBezTo>
                      <a:cubicBezTo>
                        <a:pt x="195" y="300"/>
                        <a:pt x="195" y="300"/>
                        <a:pt x="195" y="300"/>
                      </a:cubicBezTo>
                      <a:cubicBezTo>
                        <a:pt x="192" y="304"/>
                        <a:pt x="191" y="309"/>
                        <a:pt x="191" y="314"/>
                      </a:cubicBezTo>
                      <a:cubicBezTo>
                        <a:pt x="191" y="329"/>
                        <a:pt x="202" y="340"/>
                        <a:pt x="216" y="340"/>
                      </a:cubicBezTo>
                      <a:cubicBezTo>
                        <a:pt x="230" y="340"/>
                        <a:pt x="241" y="329"/>
                        <a:pt x="242" y="316"/>
                      </a:cubicBezTo>
                      <a:cubicBezTo>
                        <a:pt x="328" y="293"/>
                        <a:pt x="328" y="293"/>
                        <a:pt x="328" y="293"/>
                      </a:cubicBezTo>
                      <a:cubicBezTo>
                        <a:pt x="333" y="300"/>
                        <a:pt x="341" y="305"/>
                        <a:pt x="350" y="305"/>
                      </a:cubicBezTo>
                      <a:cubicBezTo>
                        <a:pt x="364" y="305"/>
                        <a:pt x="376" y="293"/>
                        <a:pt x="376" y="279"/>
                      </a:cubicBezTo>
                      <a:cubicBezTo>
                        <a:pt x="376" y="268"/>
                        <a:pt x="370" y="259"/>
                        <a:pt x="361" y="255"/>
                      </a:cubicBezTo>
                      <a:cubicBezTo>
                        <a:pt x="368" y="186"/>
                        <a:pt x="368" y="186"/>
                        <a:pt x="368" y="186"/>
                      </a:cubicBezTo>
                      <a:cubicBezTo>
                        <a:pt x="379" y="184"/>
                        <a:pt x="388" y="173"/>
                        <a:pt x="388" y="161"/>
                      </a:cubicBezTo>
                      <a:close/>
                      <a:moveTo>
                        <a:pt x="291" y="193"/>
                      </a:moveTo>
                      <a:cubicBezTo>
                        <a:pt x="283" y="193"/>
                        <a:pt x="276" y="197"/>
                        <a:pt x="271" y="203"/>
                      </a:cubicBezTo>
                      <a:cubicBezTo>
                        <a:pt x="245" y="193"/>
                        <a:pt x="245" y="193"/>
                        <a:pt x="245" y="193"/>
                      </a:cubicBezTo>
                      <a:cubicBezTo>
                        <a:pt x="330" y="173"/>
                        <a:pt x="330" y="173"/>
                        <a:pt x="330" y="173"/>
                      </a:cubicBezTo>
                      <a:cubicBezTo>
                        <a:pt x="304" y="196"/>
                        <a:pt x="304" y="196"/>
                        <a:pt x="304" y="196"/>
                      </a:cubicBezTo>
                      <a:cubicBezTo>
                        <a:pt x="300" y="194"/>
                        <a:pt x="296" y="193"/>
                        <a:pt x="291" y="193"/>
                      </a:cubicBezTo>
                      <a:close/>
                      <a:moveTo>
                        <a:pt x="301" y="219"/>
                      </a:moveTo>
                      <a:cubicBezTo>
                        <a:pt x="301" y="224"/>
                        <a:pt x="296" y="229"/>
                        <a:pt x="291" y="229"/>
                      </a:cubicBezTo>
                      <a:cubicBezTo>
                        <a:pt x="286" y="229"/>
                        <a:pt x="281" y="224"/>
                        <a:pt x="281" y="219"/>
                      </a:cubicBezTo>
                      <a:cubicBezTo>
                        <a:pt x="281" y="213"/>
                        <a:pt x="286" y="209"/>
                        <a:pt x="291" y="209"/>
                      </a:cubicBezTo>
                      <a:cubicBezTo>
                        <a:pt x="296" y="209"/>
                        <a:pt x="301" y="213"/>
                        <a:pt x="301" y="219"/>
                      </a:cubicBezTo>
                      <a:close/>
                      <a:moveTo>
                        <a:pt x="208" y="192"/>
                      </a:moveTo>
                      <a:cubicBezTo>
                        <a:pt x="208" y="186"/>
                        <a:pt x="212" y="182"/>
                        <a:pt x="218" y="182"/>
                      </a:cubicBezTo>
                      <a:cubicBezTo>
                        <a:pt x="223" y="182"/>
                        <a:pt x="228" y="186"/>
                        <a:pt x="228" y="192"/>
                      </a:cubicBezTo>
                      <a:cubicBezTo>
                        <a:pt x="228" y="192"/>
                        <a:pt x="228" y="192"/>
                        <a:pt x="228" y="192"/>
                      </a:cubicBezTo>
                      <a:cubicBezTo>
                        <a:pt x="228" y="197"/>
                        <a:pt x="223" y="202"/>
                        <a:pt x="218" y="202"/>
                      </a:cubicBezTo>
                      <a:cubicBezTo>
                        <a:pt x="212" y="202"/>
                        <a:pt x="208" y="197"/>
                        <a:pt x="208" y="192"/>
                      </a:cubicBezTo>
                      <a:close/>
                      <a:moveTo>
                        <a:pt x="209" y="216"/>
                      </a:moveTo>
                      <a:cubicBezTo>
                        <a:pt x="209" y="249"/>
                        <a:pt x="209" y="249"/>
                        <a:pt x="209" y="249"/>
                      </a:cubicBezTo>
                      <a:cubicBezTo>
                        <a:pt x="192" y="247"/>
                        <a:pt x="192" y="247"/>
                        <a:pt x="192" y="247"/>
                      </a:cubicBezTo>
                      <a:cubicBezTo>
                        <a:pt x="191" y="243"/>
                        <a:pt x="190" y="240"/>
                        <a:pt x="189" y="237"/>
                      </a:cubicBezTo>
                      <a:cubicBezTo>
                        <a:pt x="208" y="216"/>
                        <a:pt x="208" y="216"/>
                        <a:pt x="208" y="216"/>
                      </a:cubicBezTo>
                      <a:cubicBezTo>
                        <a:pt x="208" y="216"/>
                        <a:pt x="209" y="216"/>
                        <a:pt x="209" y="216"/>
                      </a:cubicBezTo>
                      <a:close/>
                      <a:moveTo>
                        <a:pt x="225" y="216"/>
                      </a:moveTo>
                      <a:cubicBezTo>
                        <a:pt x="230" y="215"/>
                        <a:pt x="235" y="212"/>
                        <a:pt x="238" y="208"/>
                      </a:cubicBezTo>
                      <a:cubicBezTo>
                        <a:pt x="265" y="218"/>
                        <a:pt x="265" y="218"/>
                        <a:pt x="265" y="218"/>
                      </a:cubicBezTo>
                      <a:cubicBezTo>
                        <a:pt x="265" y="218"/>
                        <a:pt x="265" y="218"/>
                        <a:pt x="265" y="219"/>
                      </a:cubicBezTo>
                      <a:cubicBezTo>
                        <a:pt x="265" y="224"/>
                        <a:pt x="267" y="229"/>
                        <a:pt x="270" y="233"/>
                      </a:cubicBezTo>
                      <a:cubicBezTo>
                        <a:pt x="252" y="256"/>
                        <a:pt x="252" y="256"/>
                        <a:pt x="252" y="256"/>
                      </a:cubicBezTo>
                      <a:cubicBezTo>
                        <a:pt x="225" y="252"/>
                        <a:pt x="225" y="252"/>
                        <a:pt x="225" y="252"/>
                      </a:cubicBezTo>
                      <a:lnTo>
                        <a:pt x="225" y="216"/>
                      </a:lnTo>
                      <a:close/>
                      <a:moveTo>
                        <a:pt x="283" y="94"/>
                      </a:moveTo>
                      <a:cubicBezTo>
                        <a:pt x="288" y="94"/>
                        <a:pt x="293" y="98"/>
                        <a:pt x="293" y="103"/>
                      </a:cubicBezTo>
                      <a:cubicBezTo>
                        <a:pt x="293" y="109"/>
                        <a:pt x="288" y="113"/>
                        <a:pt x="283" y="113"/>
                      </a:cubicBezTo>
                      <a:cubicBezTo>
                        <a:pt x="277" y="113"/>
                        <a:pt x="273" y="109"/>
                        <a:pt x="273" y="103"/>
                      </a:cubicBezTo>
                      <a:cubicBezTo>
                        <a:pt x="273" y="98"/>
                        <a:pt x="277" y="94"/>
                        <a:pt x="283" y="94"/>
                      </a:cubicBezTo>
                      <a:close/>
                      <a:moveTo>
                        <a:pt x="275" y="128"/>
                      </a:moveTo>
                      <a:cubicBezTo>
                        <a:pt x="277" y="129"/>
                        <a:pt x="280" y="129"/>
                        <a:pt x="283" y="129"/>
                      </a:cubicBezTo>
                      <a:cubicBezTo>
                        <a:pt x="288" y="129"/>
                        <a:pt x="294" y="127"/>
                        <a:pt x="298" y="124"/>
                      </a:cubicBezTo>
                      <a:cubicBezTo>
                        <a:pt x="326" y="145"/>
                        <a:pt x="326" y="145"/>
                        <a:pt x="326" y="145"/>
                      </a:cubicBezTo>
                      <a:cubicBezTo>
                        <a:pt x="269" y="136"/>
                        <a:pt x="269" y="136"/>
                        <a:pt x="269" y="136"/>
                      </a:cubicBezTo>
                      <a:lnTo>
                        <a:pt x="275" y="128"/>
                      </a:lnTo>
                      <a:close/>
                      <a:moveTo>
                        <a:pt x="318" y="160"/>
                      </a:moveTo>
                      <a:cubicBezTo>
                        <a:pt x="240" y="178"/>
                        <a:pt x="240" y="178"/>
                        <a:pt x="240" y="178"/>
                      </a:cubicBezTo>
                      <a:cubicBezTo>
                        <a:pt x="239" y="178"/>
                        <a:pt x="239" y="177"/>
                        <a:pt x="239" y="177"/>
                      </a:cubicBezTo>
                      <a:cubicBezTo>
                        <a:pt x="258" y="151"/>
                        <a:pt x="258" y="151"/>
                        <a:pt x="258" y="151"/>
                      </a:cubicBezTo>
                      <a:lnTo>
                        <a:pt x="318" y="160"/>
                      </a:lnTo>
                      <a:close/>
                      <a:moveTo>
                        <a:pt x="260" y="116"/>
                      </a:moveTo>
                      <a:cubicBezTo>
                        <a:pt x="261" y="117"/>
                        <a:pt x="261" y="118"/>
                        <a:pt x="262" y="118"/>
                      </a:cubicBezTo>
                      <a:cubicBezTo>
                        <a:pt x="251" y="133"/>
                        <a:pt x="251" y="133"/>
                        <a:pt x="251" y="133"/>
                      </a:cubicBezTo>
                      <a:cubicBezTo>
                        <a:pt x="209" y="127"/>
                        <a:pt x="209" y="127"/>
                        <a:pt x="209" y="127"/>
                      </a:cubicBezTo>
                      <a:lnTo>
                        <a:pt x="260" y="116"/>
                      </a:lnTo>
                      <a:close/>
                      <a:moveTo>
                        <a:pt x="187" y="140"/>
                      </a:moveTo>
                      <a:cubicBezTo>
                        <a:pt x="240" y="148"/>
                        <a:pt x="240" y="148"/>
                        <a:pt x="240" y="148"/>
                      </a:cubicBezTo>
                      <a:cubicBezTo>
                        <a:pt x="226" y="167"/>
                        <a:pt x="226" y="167"/>
                        <a:pt x="226" y="167"/>
                      </a:cubicBezTo>
                      <a:cubicBezTo>
                        <a:pt x="223" y="166"/>
                        <a:pt x="221" y="166"/>
                        <a:pt x="218" y="166"/>
                      </a:cubicBezTo>
                      <a:cubicBezTo>
                        <a:pt x="214" y="166"/>
                        <a:pt x="211" y="167"/>
                        <a:pt x="208" y="168"/>
                      </a:cubicBezTo>
                      <a:cubicBezTo>
                        <a:pt x="186" y="142"/>
                        <a:pt x="186" y="142"/>
                        <a:pt x="186" y="142"/>
                      </a:cubicBezTo>
                      <a:cubicBezTo>
                        <a:pt x="187" y="141"/>
                        <a:pt x="187" y="141"/>
                        <a:pt x="187" y="140"/>
                      </a:cubicBezTo>
                      <a:close/>
                      <a:moveTo>
                        <a:pt x="154" y="128"/>
                      </a:moveTo>
                      <a:cubicBezTo>
                        <a:pt x="154" y="123"/>
                        <a:pt x="159" y="119"/>
                        <a:pt x="164" y="119"/>
                      </a:cubicBezTo>
                      <a:cubicBezTo>
                        <a:pt x="170" y="119"/>
                        <a:pt x="174" y="123"/>
                        <a:pt x="174" y="128"/>
                      </a:cubicBezTo>
                      <a:cubicBezTo>
                        <a:pt x="174" y="134"/>
                        <a:pt x="170" y="138"/>
                        <a:pt x="164" y="138"/>
                      </a:cubicBezTo>
                      <a:cubicBezTo>
                        <a:pt x="159" y="138"/>
                        <a:pt x="154" y="134"/>
                        <a:pt x="154" y="128"/>
                      </a:cubicBezTo>
                      <a:close/>
                      <a:moveTo>
                        <a:pt x="166" y="261"/>
                      </a:moveTo>
                      <a:cubicBezTo>
                        <a:pt x="161" y="261"/>
                        <a:pt x="157" y="256"/>
                        <a:pt x="157" y="251"/>
                      </a:cubicBezTo>
                      <a:cubicBezTo>
                        <a:pt x="157" y="245"/>
                        <a:pt x="161" y="241"/>
                        <a:pt x="166" y="241"/>
                      </a:cubicBezTo>
                      <a:cubicBezTo>
                        <a:pt x="172" y="241"/>
                        <a:pt x="176" y="245"/>
                        <a:pt x="176" y="251"/>
                      </a:cubicBezTo>
                      <a:cubicBezTo>
                        <a:pt x="176" y="256"/>
                        <a:pt x="172" y="261"/>
                        <a:pt x="166" y="261"/>
                      </a:cubicBezTo>
                      <a:close/>
                      <a:moveTo>
                        <a:pt x="174" y="226"/>
                      </a:moveTo>
                      <a:cubicBezTo>
                        <a:pt x="173" y="153"/>
                        <a:pt x="173" y="153"/>
                        <a:pt x="173" y="153"/>
                      </a:cubicBezTo>
                      <a:cubicBezTo>
                        <a:pt x="173" y="153"/>
                        <a:pt x="173" y="152"/>
                        <a:pt x="174" y="152"/>
                      </a:cubicBezTo>
                      <a:cubicBezTo>
                        <a:pt x="196" y="178"/>
                        <a:pt x="196" y="178"/>
                        <a:pt x="196" y="178"/>
                      </a:cubicBezTo>
                      <a:cubicBezTo>
                        <a:pt x="193" y="182"/>
                        <a:pt x="192" y="187"/>
                        <a:pt x="192" y="192"/>
                      </a:cubicBezTo>
                      <a:cubicBezTo>
                        <a:pt x="192" y="197"/>
                        <a:pt x="193" y="201"/>
                        <a:pt x="196" y="205"/>
                      </a:cubicBezTo>
                      <a:cubicBezTo>
                        <a:pt x="176" y="227"/>
                        <a:pt x="176" y="227"/>
                        <a:pt x="176" y="227"/>
                      </a:cubicBezTo>
                      <a:cubicBezTo>
                        <a:pt x="176" y="227"/>
                        <a:pt x="175" y="226"/>
                        <a:pt x="174" y="226"/>
                      </a:cubicBezTo>
                      <a:close/>
                      <a:moveTo>
                        <a:pt x="188" y="265"/>
                      </a:moveTo>
                      <a:cubicBezTo>
                        <a:pt x="188" y="264"/>
                        <a:pt x="189" y="263"/>
                        <a:pt x="189" y="262"/>
                      </a:cubicBezTo>
                      <a:cubicBezTo>
                        <a:pt x="209" y="265"/>
                        <a:pt x="209" y="265"/>
                        <a:pt x="209" y="265"/>
                      </a:cubicBezTo>
                      <a:cubicBezTo>
                        <a:pt x="209" y="290"/>
                        <a:pt x="209" y="290"/>
                        <a:pt x="209" y="290"/>
                      </a:cubicBezTo>
                      <a:cubicBezTo>
                        <a:pt x="208" y="290"/>
                        <a:pt x="208" y="290"/>
                        <a:pt x="208" y="290"/>
                      </a:cubicBezTo>
                      <a:lnTo>
                        <a:pt x="188" y="265"/>
                      </a:lnTo>
                      <a:close/>
                      <a:moveTo>
                        <a:pt x="216" y="324"/>
                      </a:moveTo>
                      <a:cubicBezTo>
                        <a:pt x="211" y="324"/>
                        <a:pt x="207" y="320"/>
                        <a:pt x="207" y="314"/>
                      </a:cubicBezTo>
                      <a:cubicBezTo>
                        <a:pt x="207" y="309"/>
                        <a:pt x="211" y="304"/>
                        <a:pt x="216" y="304"/>
                      </a:cubicBezTo>
                      <a:cubicBezTo>
                        <a:pt x="222" y="304"/>
                        <a:pt x="226" y="309"/>
                        <a:pt x="226" y="314"/>
                      </a:cubicBezTo>
                      <a:cubicBezTo>
                        <a:pt x="226" y="320"/>
                        <a:pt x="222" y="324"/>
                        <a:pt x="216" y="324"/>
                      </a:cubicBezTo>
                      <a:close/>
                      <a:moveTo>
                        <a:pt x="225" y="290"/>
                      </a:moveTo>
                      <a:cubicBezTo>
                        <a:pt x="225" y="290"/>
                        <a:pt x="225" y="290"/>
                        <a:pt x="225" y="290"/>
                      </a:cubicBezTo>
                      <a:cubicBezTo>
                        <a:pt x="225" y="268"/>
                        <a:pt x="225" y="268"/>
                        <a:pt x="225" y="268"/>
                      </a:cubicBezTo>
                      <a:cubicBezTo>
                        <a:pt x="241" y="270"/>
                        <a:pt x="241" y="270"/>
                        <a:pt x="241" y="270"/>
                      </a:cubicBezTo>
                      <a:lnTo>
                        <a:pt x="225" y="290"/>
                      </a:lnTo>
                      <a:close/>
                      <a:moveTo>
                        <a:pt x="238" y="300"/>
                      </a:moveTo>
                      <a:cubicBezTo>
                        <a:pt x="238" y="300"/>
                        <a:pt x="238" y="300"/>
                        <a:pt x="238" y="300"/>
                      </a:cubicBezTo>
                      <a:cubicBezTo>
                        <a:pt x="259" y="273"/>
                        <a:pt x="259" y="273"/>
                        <a:pt x="259" y="273"/>
                      </a:cubicBezTo>
                      <a:cubicBezTo>
                        <a:pt x="311" y="281"/>
                        <a:pt x="311" y="281"/>
                        <a:pt x="311" y="281"/>
                      </a:cubicBezTo>
                      <a:lnTo>
                        <a:pt x="238" y="300"/>
                      </a:lnTo>
                      <a:close/>
                      <a:moveTo>
                        <a:pt x="327" y="267"/>
                      </a:moveTo>
                      <a:cubicBezTo>
                        <a:pt x="270" y="259"/>
                        <a:pt x="270" y="259"/>
                        <a:pt x="270" y="259"/>
                      </a:cubicBezTo>
                      <a:cubicBezTo>
                        <a:pt x="282" y="243"/>
                        <a:pt x="282" y="243"/>
                        <a:pt x="282" y="243"/>
                      </a:cubicBezTo>
                      <a:cubicBezTo>
                        <a:pt x="285" y="244"/>
                        <a:pt x="288" y="245"/>
                        <a:pt x="291" y="245"/>
                      </a:cubicBezTo>
                      <a:cubicBezTo>
                        <a:pt x="295" y="245"/>
                        <a:pt x="299" y="244"/>
                        <a:pt x="303" y="242"/>
                      </a:cubicBezTo>
                      <a:cubicBezTo>
                        <a:pt x="327" y="267"/>
                        <a:pt x="327" y="267"/>
                        <a:pt x="327" y="267"/>
                      </a:cubicBezTo>
                      <a:cubicBezTo>
                        <a:pt x="327" y="267"/>
                        <a:pt x="327" y="267"/>
                        <a:pt x="327" y="267"/>
                      </a:cubicBezTo>
                      <a:close/>
                      <a:moveTo>
                        <a:pt x="314" y="231"/>
                      </a:moveTo>
                      <a:cubicBezTo>
                        <a:pt x="316" y="227"/>
                        <a:pt x="317" y="223"/>
                        <a:pt x="317" y="219"/>
                      </a:cubicBezTo>
                      <a:cubicBezTo>
                        <a:pt x="317" y="215"/>
                        <a:pt x="316" y="211"/>
                        <a:pt x="315" y="208"/>
                      </a:cubicBezTo>
                      <a:cubicBezTo>
                        <a:pt x="345" y="181"/>
                        <a:pt x="345" y="181"/>
                        <a:pt x="345" y="181"/>
                      </a:cubicBezTo>
                      <a:cubicBezTo>
                        <a:pt x="347" y="182"/>
                        <a:pt x="349" y="184"/>
                        <a:pt x="352" y="185"/>
                      </a:cubicBezTo>
                      <a:cubicBezTo>
                        <a:pt x="345" y="254"/>
                        <a:pt x="345" y="254"/>
                        <a:pt x="345" y="254"/>
                      </a:cubicBezTo>
                      <a:cubicBezTo>
                        <a:pt x="343" y="254"/>
                        <a:pt x="341" y="255"/>
                        <a:pt x="339" y="256"/>
                      </a:cubicBezTo>
                      <a:lnTo>
                        <a:pt x="314" y="231"/>
                      </a:lnTo>
                      <a:close/>
                      <a:moveTo>
                        <a:pt x="350" y="289"/>
                      </a:moveTo>
                      <a:cubicBezTo>
                        <a:pt x="345" y="289"/>
                        <a:pt x="340" y="284"/>
                        <a:pt x="340" y="279"/>
                      </a:cubicBezTo>
                      <a:cubicBezTo>
                        <a:pt x="340" y="274"/>
                        <a:pt x="345" y="269"/>
                        <a:pt x="350" y="269"/>
                      </a:cubicBezTo>
                      <a:cubicBezTo>
                        <a:pt x="356" y="269"/>
                        <a:pt x="360" y="274"/>
                        <a:pt x="360" y="279"/>
                      </a:cubicBezTo>
                      <a:cubicBezTo>
                        <a:pt x="360" y="284"/>
                        <a:pt x="356" y="289"/>
                        <a:pt x="350" y="289"/>
                      </a:cubicBezTo>
                      <a:close/>
                      <a:moveTo>
                        <a:pt x="352" y="161"/>
                      </a:moveTo>
                      <a:cubicBezTo>
                        <a:pt x="352" y="155"/>
                        <a:pt x="357" y="151"/>
                        <a:pt x="362" y="151"/>
                      </a:cubicBezTo>
                      <a:cubicBezTo>
                        <a:pt x="367" y="151"/>
                        <a:pt x="372" y="155"/>
                        <a:pt x="372" y="161"/>
                      </a:cubicBezTo>
                      <a:cubicBezTo>
                        <a:pt x="372" y="166"/>
                        <a:pt x="367" y="171"/>
                        <a:pt x="362" y="171"/>
                      </a:cubicBezTo>
                      <a:cubicBezTo>
                        <a:pt x="357" y="171"/>
                        <a:pt x="352" y="166"/>
                        <a:pt x="352" y="161"/>
                      </a:cubicBezTo>
                      <a:close/>
                      <a:moveTo>
                        <a:pt x="469" y="164"/>
                      </a:moveTo>
                      <a:cubicBezTo>
                        <a:pt x="469" y="162"/>
                        <a:pt x="469" y="160"/>
                        <a:pt x="469" y="158"/>
                      </a:cubicBezTo>
                      <a:cubicBezTo>
                        <a:pt x="469" y="140"/>
                        <a:pt x="464" y="123"/>
                        <a:pt x="454" y="109"/>
                      </a:cubicBezTo>
                      <a:cubicBezTo>
                        <a:pt x="452" y="105"/>
                        <a:pt x="447" y="104"/>
                        <a:pt x="443" y="107"/>
                      </a:cubicBezTo>
                      <a:cubicBezTo>
                        <a:pt x="439" y="109"/>
                        <a:pt x="438" y="114"/>
                        <a:pt x="441" y="118"/>
                      </a:cubicBezTo>
                      <a:cubicBezTo>
                        <a:pt x="449" y="129"/>
                        <a:pt x="453" y="143"/>
                        <a:pt x="453" y="158"/>
                      </a:cubicBezTo>
                      <a:cubicBezTo>
                        <a:pt x="453" y="162"/>
                        <a:pt x="453" y="165"/>
                        <a:pt x="453" y="169"/>
                      </a:cubicBezTo>
                      <a:cubicBezTo>
                        <a:pt x="452" y="171"/>
                        <a:pt x="453" y="173"/>
                        <a:pt x="454" y="175"/>
                      </a:cubicBezTo>
                      <a:cubicBezTo>
                        <a:pt x="456" y="177"/>
                        <a:pt x="457" y="178"/>
                        <a:pt x="460" y="178"/>
                      </a:cubicBezTo>
                      <a:cubicBezTo>
                        <a:pt x="485" y="181"/>
                        <a:pt x="506" y="203"/>
                        <a:pt x="506" y="229"/>
                      </a:cubicBezTo>
                      <a:cubicBezTo>
                        <a:pt x="506" y="255"/>
                        <a:pt x="487" y="276"/>
                        <a:pt x="462" y="280"/>
                      </a:cubicBezTo>
                      <a:cubicBezTo>
                        <a:pt x="458" y="281"/>
                        <a:pt x="455" y="284"/>
                        <a:pt x="455" y="288"/>
                      </a:cubicBezTo>
                      <a:cubicBezTo>
                        <a:pt x="455" y="288"/>
                        <a:pt x="455" y="289"/>
                        <a:pt x="455" y="289"/>
                      </a:cubicBezTo>
                      <a:cubicBezTo>
                        <a:pt x="455" y="289"/>
                        <a:pt x="455" y="289"/>
                        <a:pt x="455" y="289"/>
                      </a:cubicBezTo>
                      <a:cubicBezTo>
                        <a:pt x="455" y="322"/>
                        <a:pt x="428" y="349"/>
                        <a:pt x="394" y="349"/>
                      </a:cubicBezTo>
                      <a:cubicBezTo>
                        <a:pt x="380" y="349"/>
                        <a:pt x="366" y="344"/>
                        <a:pt x="356" y="336"/>
                      </a:cubicBezTo>
                      <a:cubicBezTo>
                        <a:pt x="354" y="334"/>
                        <a:pt x="352" y="334"/>
                        <a:pt x="349" y="334"/>
                      </a:cubicBezTo>
                      <a:cubicBezTo>
                        <a:pt x="347" y="334"/>
                        <a:pt x="345" y="336"/>
                        <a:pt x="344" y="338"/>
                      </a:cubicBezTo>
                      <a:cubicBezTo>
                        <a:pt x="332" y="357"/>
                        <a:pt x="312" y="369"/>
                        <a:pt x="288" y="369"/>
                      </a:cubicBezTo>
                      <a:cubicBezTo>
                        <a:pt x="273" y="369"/>
                        <a:pt x="259" y="364"/>
                        <a:pt x="248" y="355"/>
                      </a:cubicBezTo>
                      <a:cubicBezTo>
                        <a:pt x="246" y="354"/>
                        <a:pt x="244" y="353"/>
                        <a:pt x="242" y="353"/>
                      </a:cubicBezTo>
                      <a:cubicBezTo>
                        <a:pt x="240" y="354"/>
                        <a:pt x="238" y="355"/>
                        <a:pt x="236" y="357"/>
                      </a:cubicBezTo>
                      <a:cubicBezTo>
                        <a:pt x="224" y="373"/>
                        <a:pt x="205" y="383"/>
                        <a:pt x="184" y="383"/>
                      </a:cubicBezTo>
                      <a:cubicBezTo>
                        <a:pt x="156" y="383"/>
                        <a:pt x="132" y="366"/>
                        <a:pt x="122" y="341"/>
                      </a:cubicBezTo>
                      <a:cubicBezTo>
                        <a:pt x="122" y="339"/>
                        <a:pt x="120" y="338"/>
                        <a:pt x="118" y="337"/>
                      </a:cubicBezTo>
                      <a:cubicBezTo>
                        <a:pt x="116" y="336"/>
                        <a:pt x="114" y="336"/>
                        <a:pt x="112" y="337"/>
                      </a:cubicBezTo>
                      <a:cubicBezTo>
                        <a:pt x="105" y="340"/>
                        <a:pt x="98" y="341"/>
                        <a:pt x="91" y="341"/>
                      </a:cubicBezTo>
                      <a:cubicBezTo>
                        <a:pt x="62" y="341"/>
                        <a:pt x="38" y="318"/>
                        <a:pt x="38" y="289"/>
                      </a:cubicBezTo>
                      <a:cubicBezTo>
                        <a:pt x="38" y="282"/>
                        <a:pt x="39" y="275"/>
                        <a:pt x="42" y="269"/>
                      </a:cubicBezTo>
                      <a:cubicBezTo>
                        <a:pt x="43" y="266"/>
                        <a:pt x="42" y="263"/>
                        <a:pt x="40" y="260"/>
                      </a:cubicBezTo>
                      <a:cubicBezTo>
                        <a:pt x="25" y="247"/>
                        <a:pt x="16" y="227"/>
                        <a:pt x="16" y="205"/>
                      </a:cubicBezTo>
                      <a:cubicBezTo>
                        <a:pt x="16" y="165"/>
                        <a:pt x="49" y="131"/>
                        <a:pt x="89" y="130"/>
                      </a:cubicBezTo>
                      <a:cubicBezTo>
                        <a:pt x="92" y="130"/>
                        <a:pt x="94" y="129"/>
                        <a:pt x="95" y="128"/>
                      </a:cubicBezTo>
                      <a:cubicBezTo>
                        <a:pt x="97" y="126"/>
                        <a:pt x="97" y="123"/>
                        <a:pt x="97" y="121"/>
                      </a:cubicBezTo>
                      <a:cubicBezTo>
                        <a:pt x="96" y="118"/>
                        <a:pt x="96" y="114"/>
                        <a:pt x="96" y="111"/>
                      </a:cubicBezTo>
                      <a:cubicBezTo>
                        <a:pt x="96" y="81"/>
                        <a:pt x="120" y="58"/>
                        <a:pt x="149" y="58"/>
                      </a:cubicBezTo>
                      <a:cubicBezTo>
                        <a:pt x="163" y="58"/>
                        <a:pt x="176" y="63"/>
                        <a:pt x="185" y="72"/>
                      </a:cubicBezTo>
                      <a:cubicBezTo>
                        <a:pt x="187" y="73"/>
                        <a:pt x="190" y="74"/>
                        <a:pt x="192" y="74"/>
                      </a:cubicBezTo>
                      <a:cubicBezTo>
                        <a:pt x="195" y="73"/>
                        <a:pt x="197" y="71"/>
                        <a:pt x="198" y="69"/>
                      </a:cubicBezTo>
                      <a:cubicBezTo>
                        <a:pt x="211" y="38"/>
                        <a:pt x="242" y="16"/>
                        <a:pt x="278" y="16"/>
                      </a:cubicBezTo>
                      <a:cubicBezTo>
                        <a:pt x="319" y="16"/>
                        <a:pt x="353" y="44"/>
                        <a:pt x="362" y="82"/>
                      </a:cubicBezTo>
                      <a:cubicBezTo>
                        <a:pt x="363" y="87"/>
                        <a:pt x="367" y="89"/>
                        <a:pt x="371" y="89"/>
                      </a:cubicBezTo>
                      <a:cubicBezTo>
                        <a:pt x="375" y="88"/>
                        <a:pt x="379" y="88"/>
                        <a:pt x="383" y="88"/>
                      </a:cubicBezTo>
                      <a:cubicBezTo>
                        <a:pt x="395" y="88"/>
                        <a:pt x="406" y="91"/>
                        <a:pt x="416" y="96"/>
                      </a:cubicBezTo>
                      <a:cubicBezTo>
                        <a:pt x="420" y="98"/>
                        <a:pt x="425" y="97"/>
                        <a:pt x="427" y="93"/>
                      </a:cubicBezTo>
                      <a:cubicBezTo>
                        <a:pt x="429" y="89"/>
                        <a:pt x="428" y="84"/>
                        <a:pt x="424" y="82"/>
                      </a:cubicBezTo>
                      <a:cubicBezTo>
                        <a:pt x="424" y="82"/>
                        <a:pt x="424" y="82"/>
                        <a:pt x="424" y="82"/>
                      </a:cubicBezTo>
                      <a:cubicBezTo>
                        <a:pt x="412" y="75"/>
                        <a:pt x="398" y="72"/>
                        <a:pt x="383" y="72"/>
                      </a:cubicBezTo>
                      <a:cubicBezTo>
                        <a:pt x="381" y="72"/>
                        <a:pt x="378" y="72"/>
                        <a:pt x="376" y="72"/>
                      </a:cubicBezTo>
                      <a:cubicBezTo>
                        <a:pt x="363" y="30"/>
                        <a:pt x="324" y="0"/>
                        <a:pt x="278" y="0"/>
                      </a:cubicBezTo>
                      <a:cubicBezTo>
                        <a:pt x="239" y="0"/>
                        <a:pt x="205" y="21"/>
                        <a:pt x="188" y="53"/>
                      </a:cubicBezTo>
                      <a:cubicBezTo>
                        <a:pt x="177" y="46"/>
                        <a:pt x="164" y="41"/>
                        <a:pt x="149" y="42"/>
                      </a:cubicBezTo>
                      <a:cubicBezTo>
                        <a:pt x="111" y="42"/>
                        <a:pt x="80" y="73"/>
                        <a:pt x="80" y="111"/>
                      </a:cubicBezTo>
                      <a:cubicBezTo>
                        <a:pt x="80" y="112"/>
                        <a:pt x="80" y="114"/>
                        <a:pt x="80" y="115"/>
                      </a:cubicBezTo>
                      <a:cubicBezTo>
                        <a:pt x="35" y="120"/>
                        <a:pt x="0" y="159"/>
                        <a:pt x="0" y="205"/>
                      </a:cubicBezTo>
                      <a:cubicBezTo>
                        <a:pt x="0" y="230"/>
                        <a:pt x="9" y="252"/>
                        <a:pt x="25" y="268"/>
                      </a:cubicBezTo>
                      <a:cubicBezTo>
                        <a:pt x="23" y="275"/>
                        <a:pt x="22" y="282"/>
                        <a:pt x="22" y="289"/>
                      </a:cubicBezTo>
                      <a:cubicBezTo>
                        <a:pt x="22" y="326"/>
                        <a:pt x="53" y="357"/>
                        <a:pt x="91" y="357"/>
                      </a:cubicBezTo>
                      <a:cubicBezTo>
                        <a:pt x="98" y="357"/>
                        <a:pt x="104" y="356"/>
                        <a:pt x="111" y="354"/>
                      </a:cubicBezTo>
                      <a:cubicBezTo>
                        <a:pt x="124" y="381"/>
                        <a:pt x="152" y="399"/>
                        <a:pt x="184" y="399"/>
                      </a:cubicBezTo>
                      <a:cubicBezTo>
                        <a:pt x="208" y="399"/>
                        <a:pt x="229" y="389"/>
                        <a:pt x="244" y="372"/>
                      </a:cubicBezTo>
                      <a:cubicBezTo>
                        <a:pt x="257" y="380"/>
                        <a:pt x="272" y="385"/>
                        <a:pt x="288" y="385"/>
                      </a:cubicBezTo>
                      <a:cubicBezTo>
                        <a:pt x="314" y="385"/>
                        <a:pt x="338" y="373"/>
                        <a:pt x="353" y="353"/>
                      </a:cubicBezTo>
                      <a:cubicBezTo>
                        <a:pt x="365" y="361"/>
                        <a:pt x="379" y="365"/>
                        <a:pt x="394" y="365"/>
                      </a:cubicBezTo>
                      <a:cubicBezTo>
                        <a:pt x="435" y="365"/>
                        <a:pt x="468" y="334"/>
                        <a:pt x="471" y="294"/>
                      </a:cubicBezTo>
                      <a:cubicBezTo>
                        <a:pt x="500" y="287"/>
                        <a:pt x="521" y="261"/>
                        <a:pt x="522" y="229"/>
                      </a:cubicBezTo>
                      <a:cubicBezTo>
                        <a:pt x="522" y="197"/>
                        <a:pt x="499" y="170"/>
                        <a:pt x="469" y="164"/>
                      </a:cubicBezTo>
                      <a:close/>
                    </a:path>
                  </a:pathLst>
                </a:custGeom>
                <a:solidFill>
                  <a:srgbClr val="58585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22893" name="Freeform 3"/>
                <p:cNvSpPr>
                  <a:spLocks noChangeAspect="1" noEditPoints="1"/>
                </p:cNvSpPr>
                <p:nvPr/>
              </p:nvSpPr>
              <p:spPr bwMode="auto">
                <a:xfrm>
                  <a:off x="502" y="1423"/>
                  <a:ext cx="520" cy="326"/>
                </a:xfrm>
                <a:custGeom>
                  <a:avLst/>
                  <a:gdLst>
                    <a:gd name="T0" fmla="*/ 2147483647 w 327"/>
                    <a:gd name="T1" fmla="*/ 2147483647 h 370"/>
                    <a:gd name="T2" fmla="*/ 2147483647 w 327"/>
                    <a:gd name="T3" fmla="*/ 2147483647 h 370"/>
                    <a:gd name="T4" fmla="*/ 2147483647 w 327"/>
                    <a:gd name="T5" fmla="*/ 2147483647 h 370"/>
                    <a:gd name="T6" fmla="*/ 2147483647 w 327"/>
                    <a:gd name="T7" fmla="*/ 2147483647 h 370"/>
                    <a:gd name="T8" fmla="*/ 2147483647 w 327"/>
                    <a:gd name="T9" fmla="*/ 2147483647 h 370"/>
                    <a:gd name="T10" fmla="*/ 2147483647 w 327"/>
                    <a:gd name="T11" fmla="*/ 2147483647 h 370"/>
                    <a:gd name="T12" fmla="*/ 2147483647 w 327"/>
                    <a:gd name="T13" fmla="*/ 2147483647 h 370"/>
                    <a:gd name="T14" fmla="*/ 2147483647 w 327"/>
                    <a:gd name="T15" fmla="*/ 2147483647 h 370"/>
                    <a:gd name="T16" fmla="*/ 2147483647 w 327"/>
                    <a:gd name="T17" fmla="*/ 2147483647 h 370"/>
                    <a:gd name="T18" fmla="*/ 2147483647 w 327"/>
                    <a:gd name="T19" fmla="*/ 2147483647 h 370"/>
                    <a:gd name="T20" fmla="*/ 2147483647 w 327"/>
                    <a:gd name="T21" fmla="*/ 2147483647 h 370"/>
                    <a:gd name="T22" fmla="*/ 2147483647 w 327"/>
                    <a:gd name="T23" fmla="*/ 2147483647 h 370"/>
                    <a:gd name="T24" fmla="*/ 2147483647 w 327"/>
                    <a:gd name="T25" fmla="*/ 2147483647 h 370"/>
                    <a:gd name="T26" fmla="*/ 2147483647 w 327"/>
                    <a:gd name="T27" fmla="*/ 2147483647 h 370"/>
                    <a:gd name="T28" fmla="*/ 2147483647 w 327"/>
                    <a:gd name="T29" fmla="*/ 2147483647 h 370"/>
                    <a:gd name="T30" fmla="*/ 2147483647 w 327"/>
                    <a:gd name="T31" fmla="*/ 2147483647 h 370"/>
                    <a:gd name="T32" fmla="*/ 2147483647 w 327"/>
                    <a:gd name="T33" fmla="*/ 2147483647 h 370"/>
                    <a:gd name="T34" fmla="*/ 2147483647 w 327"/>
                    <a:gd name="T35" fmla="*/ 2147483647 h 370"/>
                    <a:gd name="T36" fmla="*/ 2147483647 w 327"/>
                    <a:gd name="T37" fmla="*/ 2147483647 h 370"/>
                    <a:gd name="T38" fmla="*/ 2147483647 w 327"/>
                    <a:gd name="T39" fmla="*/ 2147483647 h 370"/>
                    <a:gd name="T40" fmla="*/ 2147483647 w 327"/>
                    <a:gd name="T41" fmla="*/ 2147483647 h 370"/>
                    <a:gd name="T42" fmla="*/ 2147483647 w 327"/>
                    <a:gd name="T43" fmla="*/ 2147483647 h 370"/>
                    <a:gd name="T44" fmla="*/ 2147483647 w 327"/>
                    <a:gd name="T45" fmla="*/ 2147483647 h 370"/>
                    <a:gd name="T46" fmla="*/ 2147483647 w 327"/>
                    <a:gd name="T47" fmla="*/ 2147483647 h 370"/>
                    <a:gd name="T48" fmla="*/ 2147483647 w 327"/>
                    <a:gd name="T49" fmla="*/ 2147483647 h 370"/>
                    <a:gd name="T50" fmla="*/ 2147483647 w 327"/>
                    <a:gd name="T51" fmla="*/ 2147483647 h 370"/>
                    <a:gd name="T52" fmla="*/ 2147483647 w 327"/>
                    <a:gd name="T53" fmla="*/ 2147483647 h 370"/>
                    <a:gd name="T54" fmla="*/ 2147483647 w 327"/>
                    <a:gd name="T55" fmla="*/ 2147483647 h 370"/>
                    <a:gd name="T56" fmla="*/ 2147483647 w 327"/>
                    <a:gd name="T57" fmla="*/ 2147483647 h 370"/>
                    <a:gd name="T58" fmla="*/ 2147483647 w 327"/>
                    <a:gd name="T59" fmla="*/ 2147483647 h 370"/>
                    <a:gd name="T60" fmla="*/ 2147483647 w 327"/>
                    <a:gd name="T61" fmla="*/ 2147483647 h 370"/>
                    <a:gd name="T62" fmla="*/ 2147483647 w 327"/>
                    <a:gd name="T63" fmla="*/ 2147483647 h 370"/>
                    <a:gd name="T64" fmla="*/ 2147483647 w 327"/>
                    <a:gd name="T65" fmla="*/ 2147483647 h 370"/>
                    <a:gd name="T66" fmla="*/ 2147483647 w 327"/>
                    <a:gd name="T67" fmla="*/ 2147483647 h 370"/>
                    <a:gd name="T68" fmla="*/ 2147483647 w 327"/>
                    <a:gd name="T69" fmla="*/ 2147483647 h 370"/>
                    <a:gd name="T70" fmla="*/ 2147483647 w 327"/>
                    <a:gd name="T71" fmla="*/ 2147483647 h 370"/>
                    <a:gd name="T72" fmla="*/ 2147483647 w 327"/>
                    <a:gd name="T73" fmla="*/ 2147483647 h 370"/>
                    <a:gd name="T74" fmla="*/ 2147483647 w 327"/>
                    <a:gd name="T75" fmla="*/ 2147483647 h 370"/>
                    <a:gd name="T76" fmla="*/ 2147483647 w 327"/>
                    <a:gd name="T77" fmla="*/ 2147483647 h 370"/>
                    <a:gd name="T78" fmla="*/ 2147483647 w 327"/>
                    <a:gd name="T79" fmla="*/ 2147483647 h 370"/>
                    <a:gd name="T80" fmla="*/ 2147483647 w 327"/>
                    <a:gd name="T81" fmla="*/ 2147483647 h 370"/>
                    <a:gd name="T82" fmla="*/ 2147483647 w 327"/>
                    <a:gd name="T83" fmla="*/ 2147483647 h 370"/>
                    <a:gd name="T84" fmla="*/ 2147483647 w 327"/>
                    <a:gd name="T85" fmla="*/ 2147483647 h 370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327"/>
                    <a:gd name="T130" fmla="*/ 0 h 370"/>
                    <a:gd name="T131" fmla="*/ 327 w 327"/>
                    <a:gd name="T132" fmla="*/ 370 h 370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327" h="370">
                      <a:moveTo>
                        <a:pt x="287" y="4"/>
                      </a:moveTo>
                      <a:cubicBezTo>
                        <a:pt x="284" y="0"/>
                        <a:pt x="279" y="0"/>
                        <a:pt x="276" y="4"/>
                      </a:cubicBezTo>
                      <a:cubicBezTo>
                        <a:pt x="273" y="7"/>
                        <a:pt x="273" y="12"/>
                        <a:pt x="276" y="15"/>
                      </a:cubicBezTo>
                      <a:cubicBezTo>
                        <a:pt x="300" y="38"/>
                        <a:pt x="311" y="69"/>
                        <a:pt x="311" y="100"/>
                      </a:cubicBezTo>
                      <a:cubicBezTo>
                        <a:pt x="311" y="131"/>
                        <a:pt x="300" y="162"/>
                        <a:pt x="276" y="185"/>
                      </a:cubicBezTo>
                      <a:cubicBezTo>
                        <a:pt x="273" y="188"/>
                        <a:pt x="273" y="194"/>
                        <a:pt x="276" y="197"/>
                      </a:cubicBezTo>
                      <a:cubicBezTo>
                        <a:pt x="278" y="198"/>
                        <a:pt x="280" y="199"/>
                        <a:pt x="282" y="199"/>
                      </a:cubicBezTo>
                      <a:cubicBezTo>
                        <a:pt x="284" y="199"/>
                        <a:pt x="286" y="198"/>
                        <a:pt x="287" y="197"/>
                      </a:cubicBezTo>
                      <a:cubicBezTo>
                        <a:pt x="314" y="170"/>
                        <a:pt x="327" y="135"/>
                        <a:pt x="327" y="100"/>
                      </a:cubicBezTo>
                      <a:cubicBezTo>
                        <a:pt x="327" y="65"/>
                        <a:pt x="314" y="30"/>
                        <a:pt x="287" y="4"/>
                      </a:cubicBezTo>
                      <a:close/>
                      <a:moveTo>
                        <a:pt x="273" y="100"/>
                      </a:moveTo>
                      <a:cubicBezTo>
                        <a:pt x="273" y="121"/>
                        <a:pt x="265" y="142"/>
                        <a:pt x="249" y="158"/>
                      </a:cubicBezTo>
                      <a:cubicBezTo>
                        <a:pt x="246" y="161"/>
                        <a:pt x="246" y="166"/>
                        <a:pt x="249" y="169"/>
                      </a:cubicBezTo>
                      <a:cubicBezTo>
                        <a:pt x="250" y="171"/>
                        <a:pt x="253" y="172"/>
                        <a:pt x="255" y="172"/>
                      </a:cubicBezTo>
                      <a:cubicBezTo>
                        <a:pt x="257" y="172"/>
                        <a:pt x="259" y="171"/>
                        <a:pt x="260" y="169"/>
                      </a:cubicBezTo>
                      <a:cubicBezTo>
                        <a:pt x="279" y="150"/>
                        <a:pt x="289" y="125"/>
                        <a:pt x="289" y="100"/>
                      </a:cubicBezTo>
                      <a:cubicBezTo>
                        <a:pt x="289" y="75"/>
                        <a:pt x="279" y="50"/>
                        <a:pt x="260" y="31"/>
                      </a:cubicBezTo>
                      <a:cubicBezTo>
                        <a:pt x="257" y="28"/>
                        <a:pt x="252" y="28"/>
                        <a:pt x="249" y="31"/>
                      </a:cubicBezTo>
                      <a:cubicBezTo>
                        <a:pt x="246" y="34"/>
                        <a:pt x="246" y="39"/>
                        <a:pt x="249" y="42"/>
                      </a:cubicBezTo>
                      <a:cubicBezTo>
                        <a:pt x="265" y="58"/>
                        <a:pt x="273" y="79"/>
                        <a:pt x="273" y="100"/>
                      </a:cubicBezTo>
                      <a:close/>
                      <a:moveTo>
                        <a:pt x="222" y="142"/>
                      </a:moveTo>
                      <a:cubicBezTo>
                        <a:pt x="223" y="144"/>
                        <a:pt x="225" y="145"/>
                        <a:pt x="227" y="145"/>
                      </a:cubicBezTo>
                      <a:cubicBezTo>
                        <a:pt x="229" y="145"/>
                        <a:pt x="231" y="144"/>
                        <a:pt x="233" y="142"/>
                      </a:cubicBezTo>
                      <a:cubicBezTo>
                        <a:pt x="245" y="131"/>
                        <a:pt x="250" y="115"/>
                        <a:pt x="250" y="100"/>
                      </a:cubicBezTo>
                      <a:cubicBezTo>
                        <a:pt x="250" y="85"/>
                        <a:pt x="245" y="70"/>
                        <a:pt x="233" y="58"/>
                      </a:cubicBezTo>
                      <a:cubicBezTo>
                        <a:pt x="230" y="55"/>
                        <a:pt x="225" y="55"/>
                        <a:pt x="222" y="58"/>
                      </a:cubicBezTo>
                      <a:cubicBezTo>
                        <a:pt x="219" y="61"/>
                        <a:pt x="219" y="66"/>
                        <a:pt x="222" y="69"/>
                      </a:cubicBezTo>
                      <a:cubicBezTo>
                        <a:pt x="230" y="78"/>
                        <a:pt x="234" y="89"/>
                        <a:pt x="234" y="100"/>
                      </a:cubicBezTo>
                      <a:cubicBezTo>
                        <a:pt x="234" y="111"/>
                        <a:pt x="230" y="122"/>
                        <a:pt x="222" y="131"/>
                      </a:cubicBezTo>
                      <a:cubicBezTo>
                        <a:pt x="219" y="134"/>
                        <a:pt x="219" y="139"/>
                        <a:pt x="222" y="142"/>
                      </a:cubicBezTo>
                      <a:close/>
                      <a:moveTo>
                        <a:pt x="51" y="185"/>
                      </a:moveTo>
                      <a:cubicBezTo>
                        <a:pt x="28" y="162"/>
                        <a:pt x="16" y="131"/>
                        <a:pt x="16" y="100"/>
                      </a:cubicBezTo>
                      <a:cubicBezTo>
                        <a:pt x="16" y="69"/>
                        <a:pt x="28" y="38"/>
                        <a:pt x="51" y="15"/>
                      </a:cubicBezTo>
                      <a:cubicBezTo>
                        <a:pt x="54" y="12"/>
                        <a:pt x="54" y="7"/>
                        <a:pt x="51" y="4"/>
                      </a:cubicBezTo>
                      <a:cubicBezTo>
                        <a:pt x="48" y="0"/>
                        <a:pt x="43" y="0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13" y="30"/>
                        <a:pt x="0" y="65"/>
                        <a:pt x="0" y="100"/>
                      </a:cubicBezTo>
                      <a:cubicBezTo>
                        <a:pt x="0" y="135"/>
                        <a:pt x="13" y="170"/>
                        <a:pt x="40" y="197"/>
                      </a:cubicBezTo>
                      <a:cubicBezTo>
                        <a:pt x="41" y="198"/>
                        <a:pt x="44" y="199"/>
                        <a:pt x="46" y="199"/>
                      </a:cubicBezTo>
                      <a:cubicBezTo>
                        <a:pt x="48" y="199"/>
                        <a:pt x="50" y="198"/>
                        <a:pt x="51" y="197"/>
                      </a:cubicBezTo>
                      <a:cubicBezTo>
                        <a:pt x="54" y="194"/>
                        <a:pt x="54" y="188"/>
                        <a:pt x="51" y="185"/>
                      </a:cubicBezTo>
                      <a:close/>
                      <a:moveTo>
                        <a:pt x="67" y="169"/>
                      </a:moveTo>
                      <a:cubicBezTo>
                        <a:pt x="69" y="171"/>
                        <a:pt x="71" y="172"/>
                        <a:pt x="73" y="172"/>
                      </a:cubicBezTo>
                      <a:cubicBezTo>
                        <a:pt x="75" y="172"/>
                        <a:pt x="77" y="171"/>
                        <a:pt x="78" y="169"/>
                      </a:cubicBezTo>
                      <a:cubicBezTo>
                        <a:pt x="82" y="166"/>
                        <a:pt x="82" y="161"/>
                        <a:pt x="78" y="158"/>
                      </a:cubicBezTo>
                      <a:cubicBezTo>
                        <a:pt x="62" y="142"/>
                        <a:pt x="54" y="121"/>
                        <a:pt x="54" y="100"/>
                      </a:cubicBezTo>
                      <a:cubicBezTo>
                        <a:pt x="54" y="79"/>
                        <a:pt x="62" y="58"/>
                        <a:pt x="78" y="42"/>
                      </a:cubicBezTo>
                      <a:cubicBezTo>
                        <a:pt x="82" y="39"/>
                        <a:pt x="82" y="34"/>
                        <a:pt x="78" y="31"/>
                      </a:cubicBezTo>
                      <a:cubicBezTo>
                        <a:pt x="75" y="28"/>
                        <a:pt x="70" y="28"/>
                        <a:pt x="67" y="31"/>
                      </a:cubicBezTo>
                      <a:cubicBezTo>
                        <a:pt x="48" y="50"/>
                        <a:pt x="38" y="75"/>
                        <a:pt x="38" y="100"/>
                      </a:cubicBezTo>
                      <a:cubicBezTo>
                        <a:pt x="38" y="125"/>
                        <a:pt x="48" y="150"/>
                        <a:pt x="67" y="169"/>
                      </a:cubicBezTo>
                      <a:close/>
                      <a:moveTo>
                        <a:pt x="94" y="142"/>
                      </a:moveTo>
                      <a:cubicBezTo>
                        <a:pt x="96" y="144"/>
                        <a:pt x="98" y="145"/>
                        <a:pt x="100" y="145"/>
                      </a:cubicBezTo>
                      <a:cubicBezTo>
                        <a:pt x="102" y="145"/>
                        <a:pt x="104" y="144"/>
                        <a:pt x="106" y="142"/>
                      </a:cubicBezTo>
                      <a:cubicBezTo>
                        <a:pt x="109" y="139"/>
                        <a:pt x="109" y="134"/>
                        <a:pt x="106" y="131"/>
                      </a:cubicBezTo>
                      <a:cubicBezTo>
                        <a:pt x="97" y="122"/>
                        <a:pt x="93" y="111"/>
                        <a:pt x="93" y="100"/>
                      </a:cubicBezTo>
                      <a:cubicBezTo>
                        <a:pt x="93" y="89"/>
                        <a:pt x="97" y="78"/>
                        <a:pt x="106" y="69"/>
                      </a:cubicBezTo>
                      <a:cubicBezTo>
                        <a:pt x="109" y="66"/>
                        <a:pt x="109" y="61"/>
                        <a:pt x="106" y="58"/>
                      </a:cubicBezTo>
                      <a:cubicBezTo>
                        <a:pt x="103" y="55"/>
                        <a:pt x="97" y="55"/>
                        <a:pt x="94" y="58"/>
                      </a:cubicBezTo>
                      <a:cubicBezTo>
                        <a:pt x="83" y="70"/>
                        <a:pt x="77" y="85"/>
                        <a:pt x="77" y="100"/>
                      </a:cubicBezTo>
                      <a:cubicBezTo>
                        <a:pt x="77" y="115"/>
                        <a:pt x="83" y="131"/>
                        <a:pt x="94" y="142"/>
                      </a:cubicBezTo>
                      <a:close/>
                      <a:moveTo>
                        <a:pt x="267" y="349"/>
                      </a:moveTo>
                      <a:cubicBezTo>
                        <a:pt x="257" y="336"/>
                        <a:pt x="238" y="309"/>
                        <a:pt x="219" y="270"/>
                      </a:cubicBezTo>
                      <a:cubicBezTo>
                        <a:pt x="218" y="270"/>
                        <a:pt x="218" y="269"/>
                        <a:pt x="218" y="268"/>
                      </a:cubicBezTo>
                      <a:cubicBezTo>
                        <a:pt x="213" y="259"/>
                        <a:pt x="209" y="249"/>
                        <a:pt x="204" y="239"/>
                      </a:cubicBezTo>
                      <a:cubicBezTo>
                        <a:pt x="190" y="205"/>
                        <a:pt x="182" y="171"/>
                        <a:pt x="177" y="146"/>
                      </a:cubicBezTo>
                      <a:cubicBezTo>
                        <a:pt x="197" y="140"/>
                        <a:pt x="211" y="122"/>
                        <a:pt x="211" y="100"/>
                      </a:cubicBezTo>
                      <a:cubicBezTo>
                        <a:pt x="211" y="93"/>
                        <a:pt x="210" y="87"/>
                        <a:pt x="208" y="81"/>
                      </a:cubicBezTo>
                      <a:cubicBezTo>
                        <a:pt x="206" y="77"/>
                        <a:pt x="201" y="75"/>
                        <a:pt x="197" y="77"/>
                      </a:cubicBezTo>
                      <a:cubicBezTo>
                        <a:pt x="193" y="79"/>
                        <a:pt x="191" y="84"/>
                        <a:pt x="193" y="88"/>
                      </a:cubicBezTo>
                      <a:cubicBezTo>
                        <a:pt x="194" y="91"/>
                        <a:pt x="195" y="96"/>
                        <a:pt x="195" y="100"/>
                      </a:cubicBezTo>
                      <a:cubicBezTo>
                        <a:pt x="195" y="117"/>
                        <a:pt x="181" y="132"/>
                        <a:pt x="164" y="132"/>
                      </a:cubicBezTo>
                      <a:cubicBezTo>
                        <a:pt x="146" y="132"/>
                        <a:pt x="132" y="117"/>
                        <a:pt x="132" y="100"/>
                      </a:cubicBezTo>
                      <a:cubicBezTo>
                        <a:pt x="132" y="82"/>
                        <a:pt x="146" y="68"/>
                        <a:pt x="164" y="68"/>
                      </a:cubicBezTo>
                      <a:cubicBezTo>
                        <a:pt x="169" y="68"/>
                        <a:pt x="173" y="69"/>
                        <a:pt x="177" y="71"/>
                      </a:cubicBezTo>
                      <a:cubicBezTo>
                        <a:pt x="181" y="73"/>
                        <a:pt x="186" y="71"/>
                        <a:pt x="188" y="67"/>
                      </a:cubicBezTo>
                      <a:cubicBezTo>
                        <a:pt x="190" y="63"/>
                        <a:pt x="188" y="59"/>
                        <a:pt x="184" y="57"/>
                      </a:cubicBezTo>
                      <a:cubicBezTo>
                        <a:pt x="184" y="57"/>
                        <a:pt x="184" y="57"/>
                        <a:pt x="184" y="57"/>
                      </a:cubicBezTo>
                      <a:cubicBezTo>
                        <a:pt x="178" y="54"/>
                        <a:pt x="171" y="52"/>
                        <a:pt x="164" y="52"/>
                      </a:cubicBezTo>
                      <a:cubicBezTo>
                        <a:pt x="137" y="52"/>
                        <a:pt x="116" y="74"/>
                        <a:pt x="116" y="100"/>
                      </a:cubicBezTo>
                      <a:cubicBezTo>
                        <a:pt x="116" y="121"/>
                        <a:pt x="130" y="140"/>
                        <a:pt x="150" y="146"/>
                      </a:cubicBezTo>
                      <a:cubicBezTo>
                        <a:pt x="145" y="170"/>
                        <a:pt x="136" y="205"/>
                        <a:pt x="123" y="239"/>
                      </a:cubicBezTo>
                      <a:cubicBezTo>
                        <a:pt x="118" y="249"/>
                        <a:pt x="114" y="259"/>
                        <a:pt x="109" y="268"/>
                      </a:cubicBezTo>
                      <a:cubicBezTo>
                        <a:pt x="109" y="269"/>
                        <a:pt x="108" y="270"/>
                        <a:pt x="108" y="271"/>
                      </a:cubicBezTo>
                      <a:cubicBezTo>
                        <a:pt x="97" y="293"/>
                        <a:pt x="85" y="312"/>
                        <a:pt x="76" y="326"/>
                      </a:cubicBezTo>
                      <a:cubicBezTo>
                        <a:pt x="69" y="336"/>
                        <a:pt x="63" y="344"/>
                        <a:pt x="59" y="349"/>
                      </a:cubicBezTo>
                      <a:cubicBezTo>
                        <a:pt x="57" y="351"/>
                        <a:pt x="55" y="353"/>
                        <a:pt x="54" y="355"/>
                      </a:cubicBezTo>
                      <a:cubicBezTo>
                        <a:pt x="53" y="356"/>
                        <a:pt x="52" y="357"/>
                        <a:pt x="52" y="357"/>
                      </a:cubicBezTo>
                      <a:cubicBezTo>
                        <a:pt x="50" y="359"/>
                        <a:pt x="50" y="362"/>
                        <a:pt x="51" y="365"/>
                      </a:cubicBezTo>
                      <a:cubicBezTo>
                        <a:pt x="52" y="368"/>
                        <a:pt x="55" y="370"/>
                        <a:pt x="58" y="370"/>
                      </a:cubicBezTo>
                      <a:cubicBezTo>
                        <a:pt x="97" y="370"/>
                        <a:pt x="97" y="370"/>
                        <a:pt x="97" y="370"/>
                      </a:cubicBezTo>
                      <a:cubicBezTo>
                        <a:pt x="100" y="370"/>
                        <a:pt x="102" y="368"/>
                        <a:pt x="104" y="366"/>
                      </a:cubicBezTo>
                      <a:cubicBezTo>
                        <a:pt x="115" y="345"/>
                        <a:pt x="138" y="331"/>
                        <a:pt x="163" y="331"/>
                      </a:cubicBezTo>
                      <a:cubicBezTo>
                        <a:pt x="189" y="331"/>
                        <a:pt x="211" y="345"/>
                        <a:pt x="223" y="366"/>
                      </a:cubicBezTo>
                      <a:cubicBezTo>
                        <a:pt x="224" y="368"/>
                        <a:pt x="227" y="370"/>
                        <a:pt x="230" y="370"/>
                      </a:cubicBezTo>
                      <a:cubicBezTo>
                        <a:pt x="268" y="370"/>
                        <a:pt x="268" y="370"/>
                        <a:pt x="268" y="370"/>
                      </a:cubicBezTo>
                      <a:cubicBezTo>
                        <a:pt x="268" y="370"/>
                        <a:pt x="268" y="370"/>
                        <a:pt x="268" y="370"/>
                      </a:cubicBezTo>
                      <a:cubicBezTo>
                        <a:pt x="271" y="370"/>
                        <a:pt x="274" y="368"/>
                        <a:pt x="275" y="365"/>
                      </a:cubicBezTo>
                      <a:cubicBezTo>
                        <a:pt x="276" y="362"/>
                        <a:pt x="276" y="359"/>
                        <a:pt x="274" y="357"/>
                      </a:cubicBezTo>
                      <a:cubicBezTo>
                        <a:pt x="274" y="357"/>
                        <a:pt x="271" y="354"/>
                        <a:pt x="267" y="349"/>
                      </a:cubicBezTo>
                      <a:close/>
                      <a:moveTo>
                        <a:pt x="163" y="159"/>
                      </a:moveTo>
                      <a:cubicBezTo>
                        <a:pt x="168" y="179"/>
                        <a:pt x="174" y="203"/>
                        <a:pt x="183" y="228"/>
                      </a:cubicBezTo>
                      <a:cubicBezTo>
                        <a:pt x="177" y="227"/>
                        <a:pt x="170" y="227"/>
                        <a:pt x="163" y="227"/>
                      </a:cubicBezTo>
                      <a:cubicBezTo>
                        <a:pt x="157" y="227"/>
                        <a:pt x="150" y="227"/>
                        <a:pt x="144" y="228"/>
                      </a:cubicBezTo>
                      <a:cubicBezTo>
                        <a:pt x="153" y="203"/>
                        <a:pt x="159" y="179"/>
                        <a:pt x="163" y="159"/>
                      </a:cubicBezTo>
                      <a:close/>
                      <a:moveTo>
                        <a:pt x="137" y="245"/>
                      </a:moveTo>
                      <a:cubicBezTo>
                        <a:pt x="146" y="244"/>
                        <a:pt x="154" y="243"/>
                        <a:pt x="163" y="243"/>
                      </a:cubicBezTo>
                      <a:cubicBezTo>
                        <a:pt x="172" y="243"/>
                        <a:pt x="181" y="244"/>
                        <a:pt x="190" y="245"/>
                      </a:cubicBezTo>
                      <a:cubicBezTo>
                        <a:pt x="192" y="250"/>
                        <a:pt x="194" y="255"/>
                        <a:pt x="196" y="260"/>
                      </a:cubicBezTo>
                      <a:cubicBezTo>
                        <a:pt x="186" y="257"/>
                        <a:pt x="174" y="256"/>
                        <a:pt x="163" y="256"/>
                      </a:cubicBezTo>
                      <a:cubicBezTo>
                        <a:pt x="152" y="256"/>
                        <a:pt x="141" y="257"/>
                        <a:pt x="131" y="260"/>
                      </a:cubicBezTo>
                      <a:cubicBezTo>
                        <a:pt x="133" y="255"/>
                        <a:pt x="135" y="250"/>
                        <a:pt x="137" y="245"/>
                      </a:cubicBezTo>
                      <a:close/>
                      <a:moveTo>
                        <a:pt x="122" y="279"/>
                      </a:moveTo>
                      <a:cubicBezTo>
                        <a:pt x="135" y="275"/>
                        <a:pt x="149" y="272"/>
                        <a:pt x="163" y="272"/>
                      </a:cubicBezTo>
                      <a:cubicBezTo>
                        <a:pt x="178" y="272"/>
                        <a:pt x="192" y="275"/>
                        <a:pt x="205" y="279"/>
                      </a:cubicBezTo>
                      <a:cubicBezTo>
                        <a:pt x="208" y="286"/>
                        <a:pt x="212" y="292"/>
                        <a:pt x="215" y="298"/>
                      </a:cubicBezTo>
                      <a:cubicBezTo>
                        <a:pt x="199" y="290"/>
                        <a:pt x="182" y="285"/>
                        <a:pt x="163" y="285"/>
                      </a:cubicBezTo>
                      <a:cubicBezTo>
                        <a:pt x="145" y="285"/>
                        <a:pt x="127" y="290"/>
                        <a:pt x="112" y="298"/>
                      </a:cubicBezTo>
                      <a:cubicBezTo>
                        <a:pt x="115" y="292"/>
                        <a:pt x="118" y="286"/>
                        <a:pt x="122" y="279"/>
                      </a:cubicBezTo>
                      <a:close/>
                      <a:moveTo>
                        <a:pt x="234" y="354"/>
                      </a:moveTo>
                      <a:cubicBezTo>
                        <a:pt x="219" y="330"/>
                        <a:pt x="193" y="315"/>
                        <a:pt x="163" y="315"/>
                      </a:cubicBezTo>
                      <a:cubicBezTo>
                        <a:pt x="133" y="315"/>
                        <a:pt x="107" y="330"/>
                        <a:pt x="92" y="354"/>
                      </a:cubicBezTo>
                      <a:cubicBezTo>
                        <a:pt x="75" y="354"/>
                        <a:pt x="75" y="354"/>
                        <a:pt x="75" y="354"/>
                      </a:cubicBezTo>
                      <a:cubicBezTo>
                        <a:pt x="78" y="350"/>
                        <a:pt x="81" y="346"/>
                        <a:pt x="85" y="341"/>
                      </a:cubicBezTo>
                      <a:cubicBezTo>
                        <a:pt x="85" y="341"/>
                        <a:pt x="85" y="341"/>
                        <a:pt x="85" y="341"/>
                      </a:cubicBezTo>
                      <a:cubicBezTo>
                        <a:pt x="103" y="317"/>
                        <a:pt x="131" y="301"/>
                        <a:pt x="163" y="301"/>
                      </a:cubicBezTo>
                      <a:cubicBezTo>
                        <a:pt x="195" y="301"/>
                        <a:pt x="223" y="317"/>
                        <a:pt x="241" y="341"/>
                      </a:cubicBezTo>
                      <a:cubicBezTo>
                        <a:pt x="241" y="341"/>
                        <a:pt x="242" y="341"/>
                        <a:pt x="242" y="341"/>
                      </a:cubicBezTo>
                      <a:cubicBezTo>
                        <a:pt x="245" y="346"/>
                        <a:pt x="248" y="350"/>
                        <a:pt x="251" y="354"/>
                      </a:cubicBezTo>
                      <a:lnTo>
                        <a:pt x="234" y="354"/>
                      </a:lnTo>
                      <a:close/>
                    </a:path>
                  </a:pathLst>
                </a:custGeom>
                <a:solidFill>
                  <a:srgbClr val="58585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122894" name="Group 1"/>
                <p:cNvGrpSpPr>
                  <a:grpSpLocks/>
                </p:cNvGrpSpPr>
                <p:nvPr/>
              </p:nvGrpSpPr>
              <p:grpSpPr bwMode="auto">
                <a:xfrm>
                  <a:off x="586" y="1818"/>
                  <a:ext cx="1264" cy="273"/>
                  <a:chOff x="3884469" y="5083103"/>
                  <a:chExt cx="455034" cy="294315"/>
                </a:xfrm>
              </p:grpSpPr>
              <p:sp>
                <p:nvSpPr>
                  <p:cNvPr id="122895" name="Freeform 3"/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4203956" y="5227014"/>
                    <a:ext cx="135547" cy="138900"/>
                  </a:xfrm>
                  <a:custGeom>
                    <a:avLst/>
                    <a:gdLst>
                      <a:gd name="T0" fmla="*/ 2147483647 w 325"/>
                      <a:gd name="T1" fmla="*/ 2147483647 h 333"/>
                      <a:gd name="T2" fmla="*/ 2147483647 w 325"/>
                      <a:gd name="T3" fmla="*/ 2147483647 h 333"/>
                      <a:gd name="T4" fmla="*/ 2147483647 w 325"/>
                      <a:gd name="T5" fmla="*/ 2147483647 h 333"/>
                      <a:gd name="T6" fmla="*/ 2147483647 w 325"/>
                      <a:gd name="T7" fmla="*/ 2147483647 h 333"/>
                      <a:gd name="T8" fmla="*/ 2147483647 w 325"/>
                      <a:gd name="T9" fmla="*/ 2147483647 h 333"/>
                      <a:gd name="T10" fmla="*/ 2147483647 w 325"/>
                      <a:gd name="T11" fmla="*/ 0 h 333"/>
                      <a:gd name="T12" fmla="*/ 2147483647 w 325"/>
                      <a:gd name="T13" fmla="*/ 2147483647 h 333"/>
                      <a:gd name="T14" fmla="*/ 2147483647 w 325"/>
                      <a:gd name="T15" fmla="*/ 2147483647 h 333"/>
                      <a:gd name="T16" fmla="*/ 2147483647 w 325"/>
                      <a:gd name="T17" fmla="*/ 2147483647 h 333"/>
                      <a:gd name="T18" fmla="*/ 0 w 325"/>
                      <a:gd name="T19" fmla="*/ 2147483647 h 333"/>
                      <a:gd name="T20" fmla="*/ 0 w 325"/>
                      <a:gd name="T21" fmla="*/ 2147483647 h 333"/>
                      <a:gd name="T22" fmla="*/ 0 w 325"/>
                      <a:gd name="T23" fmla="*/ 2147483647 h 333"/>
                      <a:gd name="T24" fmla="*/ 2147483647 w 325"/>
                      <a:gd name="T25" fmla="*/ 2147483647 h 333"/>
                      <a:gd name="T26" fmla="*/ 2147483647 w 325"/>
                      <a:gd name="T27" fmla="*/ 2147483647 h 333"/>
                      <a:gd name="T28" fmla="*/ 2147483647 w 325"/>
                      <a:gd name="T29" fmla="*/ 2147483647 h 333"/>
                      <a:gd name="T30" fmla="*/ 2147483647 w 325"/>
                      <a:gd name="T31" fmla="*/ 2147483647 h 333"/>
                      <a:gd name="T32" fmla="*/ 2147483647 w 325"/>
                      <a:gd name="T33" fmla="*/ 2147483647 h 333"/>
                      <a:gd name="T34" fmla="*/ 2147483647 w 325"/>
                      <a:gd name="T35" fmla="*/ 2147483647 h 333"/>
                      <a:gd name="T36" fmla="*/ 2147483647 w 325"/>
                      <a:gd name="T37" fmla="*/ 2147483647 h 333"/>
                      <a:gd name="T38" fmla="*/ 2147483647 w 325"/>
                      <a:gd name="T39" fmla="*/ 2147483647 h 333"/>
                      <a:gd name="T40" fmla="*/ 2147483647 w 325"/>
                      <a:gd name="T41" fmla="*/ 2147483647 h 333"/>
                      <a:gd name="T42" fmla="*/ 2147483647 w 325"/>
                      <a:gd name="T43" fmla="*/ 2147483647 h 333"/>
                      <a:gd name="T44" fmla="*/ 2147483647 w 325"/>
                      <a:gd name="T45" fmla="*/ 2147483647 h 333"/>
                      <a:gd name="T46" fmla="*/ 2147483647 w 325"/>
                      <a:gd name="T47" fmla="*/ 2147483647 h 333"/>
                      <a:gd name="T48" fmla="*/ 2147483647 w 325"/>
                      <a:gd name="T49" fmla="*/ 2147483647 h 333"/>
                      <a:gd name="T50" fmla="*/ 2147483647 w 325"/>
                      <a:gd name="T51" fmla="*/ 2147483647 h 333"/>
                      <a:gd name="T52" fmla="*/ 2147483647 w 325"/>
                      <a:gd name="T53" fmla="*/ 2147483647 h 333"/>
                      <a:gd name="T54" fmla="*/ 2147483647 w 325"/>
                      <a:gd name="T55" fmla="*/ 2147483647 h 333"/>
                      <a:gd name="T56" fmla="*/ 2147483647 w 325"/>
                      <a:gd name="T57" fmla="*/ 2147483647 h 333"/>
                      <a:gd name="T58" fmla="*/ 2147483647 w 325"/>
                      <a:gd name="T59" fmla="*/ 2147483647 h 333"/>
                      <a:gd name="T60" fmla="*/ 2147483647 w 325"/>
                      <a:gd name="T61" fmla="*/ 2147483647 h 333"/>
                      <a:gd name="T62" fmla="*/ 2147483647 w 325"/>
                      <a:gd name="T63" fmla="*/ 2147483647 h 333"/>
                      <a:gd name="T64" fmla="*/ 2147483647 w 325"/>
                      <a:gd name="T65" fmla="*/ 2147483647 h 333"/>
                      <a:gd name="T66" fmla="*/ 2147483647 w 325"/>
                      <a:gd name="T67" fmla="*/ 2147483647 h 333"/>
                      <a:gd name="T68" fmla="*/ 2147483647 w 325"/>
                      <a:gd name="T69" fmla="*/ 2147483647 h 333"/>
                      <a:gd name="T70" fmla="*/ 2147483647 w 325"/>
                      <a:gd name="T71" fmla="*/ 2147483647 h 333"/>
                      <a:gd name="T72" fmla="*/ 2147483647 w 325"/>
                      <a:gd name="T73" fmla="*/ 2147483647 h 333"/>
                      <a:gd name="T74" fmla="*/ 2147483647 w 325"/>
                      <a:gd name="T75" fmla="*/ 2147483647 h 333"/>
                      <a:gd name="T76" fmla="*/ 2147483647 w 325"/>
                      <a:gd name="T77" fmla="*/ 2147483647 h 333"/>
                      <a:gd name="T78" fmla="*/ 2147483647 w 325"/>
                      <a:gd name="T79" fmla="*/ 2147483647 h 333"/>
                      <a:gd name="T80" fmla="*/ 2147483647 w 325"/>
                      <a:gd name="T81" fmla="*/ 2147483647 h 333"/>
                      <a:gd name="T82" fmla="*/ 2147483647 w 325"/>
                      <a:gd name="T83" fmla="*/ 2147483647 h 333"/>
                      <a:gd name="T84" fmla="*/ 2147483647 w 325"/>
                      <a:gd name="T85" fmla="*/ 2147483647 h 333"/>
                      <a:gd name="T86" fmla="*/ 2147483647 w 325"/>
                      <a:gd name="T87" fmla="*/ 2147483647 h 333"/>
                      <a:gd name="T88" fmla="*/ 2147483647 w 325"/>
                      <a:gd name="T89" fmla="*/ 2147483647 h 333"/>
                      <a:gd name="T90" fmla="*/ 2147483647 w 325"/>
                      <a:gd name="T91" fmla="*/ 2147483647 h 333"/>
                      <a:gd name="T92" fmla="*/ 2147483647 w 325"/>
                      <a:gd name="T93" fmla="*/ 2147483647 h 333"/>
                      <a:gd name="T94" fmla="*/ 2147483647 w 325"/>
                      <a:gd name="T95" fmla="*/ 2147483647 h 333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325"/>
                      <a:gd name="T145" fmla="*/ 0 h 333"/>
                      <a:gd name="T146" fmla="*/ 325 w 325"/>
                      <a:gd name="T147" fmla="*/ 333 h 333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325" h="333">
                        <a:moveTo>
                          <a:pt x="317" y="81"/>
                        </a:moveTo>
                        <a:cubicBezTo>
                          <a:pt x="321" y="81"/>
                          <a:pt x="325" y="78"/>
                          <a:pt x="325" y="73"/>
                        </a:cubicBezTo>
                        <a:cubicBezTo>
                          <a:pt x="325" y="35"/>
                          <a:pt x="325" y="35"/>
                          <a:pt x="325" y="35"/>
                        </a:cubicBezTo>
                        <a:cubicBezTo>
                          <a:pt x="325" y="29"/>
                          <a:pt x="322" y="26"/>
                          <a:pt x="319" y="23"/>
                        </a:cubicBezTo>
                        <a:cubicBezTo>
                          <a:pt x="313" y="19"/>
                          <a:pt x="306" y="16"/>
                          <a:pt x="296" y="13"/>
                        </a:cubicBezTo>
                        <a:cubicBezTo>
                          <a:pt x="268" y="5"/>
                          <a:pt x="219" y="0"/>
                          <a:pt x="162" y="0"/>
                        </a:cubicBezTo>
                        <a:cubicBezTo>
                          <a:pt x="119" y="0"/>
                          <a:pt x="80" y="3"/>
                          <a:pt x="52" y="8"/>
                        </a:cubicBezTo>
                        <a:cubicBezTo>
                          <a:pt x="37" y="11"/>
                          <a:pt x="26" y="13"/>
                          <a:pt x="17" y="17"/>
                        </a:cubicBezTo>
                        <a:cubicBezTo>
                          <a:pt x="12" y="19"/>
                          <a:pt x="9" y="21"/>
                          <a:pt x="6" y="23"/>
                        </a:cubicBezTo>
                        <a:cubicBezTo>
                          <a:pt x="3" y="26"/>
                          <a:pt x="0" y="29"/>
                          <a:pt x="0" y="35"/>
                        </a:cubicBezTo>
                        <a:cubicBezTo>
                          <a:pt x="0" y="35"/>
                          <a:pt x="0" y="35"/>
                          <a:pt x="0" y="35"/>
                        </a:cubicBezTo>
                        <a:cubicBezTo>
                          <a:pt x="0" y="292"/>
                          <a:pt x="0" y="292"/>
                          <a:pt x="0" y="292"/>
                        </a:cubicBezTo>
                        <a:cubicBezTo>
                          <a:pt x="0" y="297"/>
                          <a:pt x="2" y="301"/>
                          <a:pt x="5" y="303"/>
                        </a:cubicBezTo>
                        <a:cubicBezTo>
                          <a:pt x="11" y="308"/>
                          <a:pt x="18" y="312"/>
                          <a:pt x="27" y="315"/>
                        </a:cubicBezTo>
                        <a:cubicBezTo>
                          <a:pt x="56" y="325"/>
                          <a:pt x="105" y="333"/>
                          <a:pt x="162" y="333"/>
                        </a:cubicBezTo>
                        <a:cubicBezTo>
                          <a:pt x="205" y="333"/>
                          <a:pt x="244" y="329"/>
                          <a:pt x="273" y="322"/>
                        </a:cubicBezTo>
                        <a:cubicBezTo>
                          <a:pt x="288" y="318"/>
                          <a:pt x="299" y="315"/>
                          <a:pt x="308" y="310"/>
                        </a:cubicBezTo>
                        <a:cubicBezTo>
                          <a:pt x="312" y="308"/>
                          <a:pt x="316" y="306"/>
                          <a:pt x="319" y="303"/>
                        </a:cubicBezTo>
                        <a:cubicBezTo>
                          <a:pt x="322" y="301"/>
                          <a:pt x="324" y="297"/>
                          <a:pt x="325" y="292"/>
                        </a:cubicBezTo>
                        <a:cubicBezTo>
                          <a:pt x="325" y="106"/>
                          <a:pt x="325" y="106"/>
                          <a:pt x="325" y="106"/>
                        </a:cubicBezTo>
                        <a:cubicBezTo>
                          <a:pt x="325" y="101"/>
                          <a:pt x="321" y="98"/>
                          <a:pt x="317" y="98"/>
                        </a:cubicBezTo>
                        <a:cubicBezTo>
                          <a:pt x="312" y="98"/>
                          <a:pt x="309" y="101"/>
                          <a:pt x="309" y="106"/>
                        </a:cubicBezTo>
                        <a:cubicBezTo>
                          <a:pt x="309" y="291"/>
                          <a:pt x="309" y="291"/>
                          <a:pt x="309" y="291"/>
                        </a:cubicBezTo>
                        <a:cubicBezTo>
                          <a:pt x="308" y="292"/>
                          <a:pt x="303" y="295"/>
                          <a:pt x="297" y="298"/>
                        </a:cubicBezTo>
                        <a:cubicBezTo>
                          <a:pt x="273" y="308"/>
                          <a:pt x="221" y="317"/>
                          <a:pt x="162" y="317"/>
                        </a:cubicBezTo>
                        <a:cubicBezTo>
                          <a:pt x="120" y="317"/>
                          <a:pt x="82" y="313"/>
                          <a:pt x="55" y="306"/>
                        </a:cubicBezTo>
                        <a:cubicBezTo>
                          <a:pt x="41" y="303"/>
                          <a:pt x="30" y="299"/>
                          <a:pt x="23" y="296"/>
                        </a:cubicBezTo>
                        <a:cubicBezTo>
                          <a:pt x="20" y="294"/>
                          <a:pt x="17" y="293"/>
                          <a:pt x="16" y="292"/>
                        </a:cubicBezTo>
                        <a:cubicBezTo>
                          <a:pt x="16" y="291"/>
                          <a:pt x="16" y="291"/>
                          <a:pt x="16" y="291"/>
                        </a:cubicBezTo>
                        <a:cubicBezTo>
                          <a:pt x="16" y="52"/>
                          <a:pt x="16" y="52"/>
                          <a:pt x="16" y="52"/>
                        </a:cubicBezTo>
                        <a:cubicBezTo>
                          <a:pt x="19" y="53"/>
                          <a:pt x="23" y="55"/>
                          <a:pt x="28" y="56"/>
                        </a:cubicBezTo>
                        <a:cubicBezTo>
                          <a:pt x="56" y="64"/>
                          <a:pt x="106" y="69"/>
                          <a:pt x="162" y="69"/>
                        </a:cubicBezTo>
                        <a:cubicBezTo>
                          <a:pt x="205" y="69"/>
                          <a:pt x="244" y="66"/>
                          <a:pt x="273" y="61"/>
                        </a:cubicBezTo>
                        <a:cubicBezTo>
                          <a:pt x="287" y="59"/>
                          <a:pt x="299" y="56"/>
                          <a:pt x="307" y="52"/>
                        </a:cubicBezTo>
                        <a:cubicBezTo>
                          <a:pt x="308" y="52"/>
                          <a:pt x="308" y="52"/>
                          <a:pt x="309" y="52"/>
                        </a:cubicBezTo>
                        <a:cubicBezTo>
                          <a:pt x="309" y="73"/>
                          <a:pt x="309" y="73"/>
                          <a:pt x="309" y="73"/>
                        </a:cubicBezTo>
                        <a:cubicBezTo>
                          <a:pt x="309" y="78"/>
                          <a:pt x="312" y="81"/>
                          <a:pt x="317" y="81"/>
                        </a:cubicBezTo>
                        <a:close/>
                        <a:moveTo>
                          <a:pt x="292" y="41"/>
                        </a:moveTo>
                        <a:cubicBezTo>
                          <a:pt x="267" y="48"/>
                          <a:pt x="218" y="53"/>
                          <a:pt x="162" y="53"/>
                        </a:cubicBezTo>
                        <a:cubicBezTo>
                          <a:pt x="120" y="53"/>
                          <a:pt x="82" y="50"/>
                          <a:pt x="54" y="45"/>
                        </a:cubicBezTo>
                        <a:cubicBezTo>
                          <a:pt x="41" y="43"/>
                          <a:pt x="30" y="40"/>
                          <a:pt x="23" y="38"/>
                        </a:cubicBezTo>
                        <a:cubicBezTo>
                          <a:pt x="20" y="37"/>
                          <a:pt x="18" y="35"/>
                          <a:pt x="17" y="35"/>
                        </a:cubicBezTo>
                        <a:cubicBezTo>
                          <a:pt x="20" y="33"/>
                          <a:pt x="25" y="31"/>
                          <a:pt x="32" y="29"/>
                        </a:cubicBezTo>
                        <a:cubicBezTo>
                          <a:pt x="57" y="21"/>
                          <a:pt x="106" y="16"/>
                          <a:pt x="162" y="16"/>
                        </a:cubicBezTo>
                        <a:cubicBezTo>
                          <a:pt x="204" y="16"/>
                          <a:pt x="243" y="19"/>
                          <a:pt x="270" y="24"/>
                        </a:cubicBezTo>
                        <a:cubicBezTo>
                          <a:pt x="284" y="26"/>
                          <a:pt x="295" y="29"/>
                          <a:pt x="301" y="32"/>
                        </a:cubicBezTo>
                        <a:cubicBezTo>
                          <a:pt x="304" y="33"/>
                          <a:pt x="306" y="34"/>
                          <a:pt x="307" y="35"/>
                        </a:cubicBezTo>
                        <a:cubicBezTo>
                          <a:pt x="305" y="36"/>
                          <a:pt x="299" y="39"/>
                          <a:pt x="292" y="41"/>
                        </a:cubicBezTo>
                        <a:close/>
                      </a:path>
                    </a:pathLst>
                  </a:custGeom>
                  <a:solidFill>
                    <a:srgbClr val="58585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22896" name="Freeform 8"/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4048956" y="5083103"/>
                    <a:ext cx="123543" cy="294315"/>
                  </a:xfrm>
                  <a:custGeom>
                    <a:avLst/>
                    <a:gdLst>
                      <a:gd name="T0" fmla="*/ 2147483647 w 255"/>
                      <a:gd name="T1" fmla="*/ 2147483647 h 412"/>
                      <a:gd name="T2" fmla="*/ 2147483647 w 255"/>
                      <a:gd name="T3" fmla="*/ 2147483647 h 412"/>
                      <a:gd name="T4" fmla="*/ 2147483647 w 255"/>
                      <a:gd name="T5" fmla="*/ 2147483647 h 412"/>
                      <a:gd name="T6" fmla="*/ 2147483647 w 255"/>
                      <a:gd name="T7" fmla="*/ 2147483647 h 412"/>
                      <a:gd name="T8" fmla="*/ 2147483647 w 255"/>
                      <a:gd name="T9" fmla="*/ 2147483647 h 412"/>
                      <a:gd name="T10" fmla="*/ 2147483647 w 255"/>
                      <a:gd name="T11" fmla="*/ 2147483647 h 412"/>
                      <a:gd name="T12" fmla="*/ 2147483647 w 255"/>
                      <a:gd name="T13" fmla="*/ 2147483647 h 412"/>
                      <a:gd name="T14" fmla="*/ 2147483647 w 255"/>
                      <a:gd name="T15" fmla="*/ 2147483647 h 412"/>
                      <a:gd name="T16" fmla="*/ 2147483647 w 255"/>
                      <a:gd name="T17" fmla="*/ 2147483647 h 412"/>
                      <a:gd name="T18" fmla="*/ 2147483647 w 255"/>
                      <a:gd name="T19" fmla="*/ 2147483647 h 412"/>
                      <a:gd name="T20" fmla="*/ 2147483647 w 255"/>
                      <a:gd name="T21" fmla="*/ 2147483647 h 412"/>
                      <a:gd name="T22" fmla="*/ 2147483647 w 255"/>
                      <a:gd name="T23" fmla="*/ 2147483647 h 412"/>
                      <a:gd name="T24" fmla="*/ 2147483647 w 255"/>
                      <a:gd name="T25" fmla="*/ 2147483647 h 412"/>
                      <a:gd name="T26" fmla="*/ 2147483647 w 255"/>
                      <a:gd name="T27" fmla="*/ 2147483647 h 412"/>
                      <a:gd name="T28" fmla="*/ 2147483647 w 255"/>
                      <a:gd name="T29" fmla="*/ 2147483647 h 412"/>
                      <a:gd name="T30" fmla="*/ 2147483647 w 255"/>
                      <a:gd name="T31" fmla="*/ 2147483647 h 412"/>
                      <a:gd name="T32" fmla="*/ 2147483647 w 255"/>
                      <a:gd name="T33" fmla="*/ 2147483647 h 412"/>
                      <a:gd name="T34" fmla="*/ 2147483647 w 255"/>
                      <a:gd name="T35" fmla="*/ 2147483647 h 412"/>
                      <a:gd name="T36" fmla="*/ 2147483647 w 255"/>
                      <a:gd name="T37" fmla="*/ 2147483647 h 412"/>
                      <a:gd name="T38" fmla="*/ 2147483647 w 255"/>
                      <a:gd name="T39" fmla="*/ 2147483647 h 412"/>
                      <a:gd name="T40" fmla="*/ 2147483647 w 255"/>
                      <a:gd name="T41" fmla="*/ 2147483647 h 412"/>
                      <a:gd name="T42" fmla="*/ 2147483647 w 255"/>
                      <a:gd name="T43" fmla="*/ 2147483647 h 412"/>
                      <a:gd name="T44" fmla="*/ 2147483647 w 255"/>
                      <a:gd name="T45" fmla="*/ 2147483647 h 412"/>
                      <a:gd name="T46" fmla="*/ 2147483647 w 255"/>
                      <a:gd name="T47" fmla="*/ 2147483647 h 412"/>
                      <a:gd name="T48" fmla="*/ 2147483647 w 255"/>
                      <a:gd name="T49" fmla="*/ 2147483647 h 412"/>
                      <a:gd name="T50" fmla="*/ 2147483647 w 255"/>
                      <a:gd name="T51" fmla="*/ 2147483647 h 412"/>
                      <a:gd name="T52" fmla="*/ 2147483647 w 255"/>
                      <a:gd name="T53" fmla="*/ 2147483647 h 412"/>
                      <a:gd name="T54" fmla="*/ 2147483647 w 255"/>
                      <a:gd name="T55" fmla="*/ 2147483647 h 412"/>
                      <a:gd name="T56" fmla="*/ 2147483647 w 255"/>
                      <a:gd name="T57" fmla="*/ 2147483647 h 412"/>
                      <a:gd name="T58" fmla="*/ 2147483647 w 255"/>
                      <a:gd name="T59" fmla="*/ 2147483647 h 412"/>
                      <a:gd name="T60" fmla="*/ 2147483647 w 255"/>
                      <a:gd name="T61" fmla="*/ 2147483647 h 412"/>
                      <a:gd name="T62" fmla="*/ 2147483647 w 255"/>
                      <a:gd name="T63" fmla="*/ 2147483647 h 412"/>
                      <a:gd name="T64" fmla="*/ 2147483647 w 255"/>
                      <a:gd name="T65" fmla="*/ 2147483647 h 412"/>
                      <a:gd name="T66" fmla="*/ 2147483647 w 255"/>
                      <a:gd name="T67" fmla="*/ 2147483647 h 412"/>
                      <a:gd name="T68" fmla="*/ 2147483647 w 255"/>
                      <a:gd name="T69" fmla="*/ 2147483647 h 412"/>
                      <a:gd name="T70" fmla="*/ 2147483647 w 255"/>
                      <a:gd name="T71" fmla="*/ 2147483647 h 412"/>
                      <a:gd name="T72" fmla="*/ 2147483647 w 255"/>
                      <a:gd name="T73" fmla="*/ 2147483647 h 412"/>
                      <a:gd name="T74" fmla="*/ 2147483647 w 255"/>
                      <a:gd name="T75" fmla="*/ 2147483647 h 412"/>
                      <a:gd name="T76" fmla="*/ 2147483647 w 255"/>
                      <a:gd name="T77" fmla="*/ 2147483647 h 412"/>
                      <a:gd name="T78" fmla="*/ 2147483647 w 255"/>
                      <a:gd name="T79" fmla="*/ 2147483647 h 412"/>
                      <a:gd name="T80" fmla="*/ 2147483647 w 255"/>
                      <a:gd name="T81" fmla="*/ 2147483647 h 412"/>
                      <a:gd name="T82" fmla="*/ 2147483647 w 255"/>
                      <a:gd name="T83" fmla="*/ 2147483647 h 412"/>
                      <a:gd name="T84" fmla="*/ 2147483647 w 255"/>
                      <a:gd name="T85" fmla="*/ 2147483647 h 412"/>
                      <a:gd name="T86" fmla="*/ 2147483647 w 255"/>
                      <a:gd name="T87" fmla="*/ 2147483647 h 412"/>
                      <a:gd name="T88" fmla="*/ 2147483647 w 255"/>
                      <a:gd name="T89" fmla="*/ 2147483647 h 412"/>
                      <a:gd name="T90" fmla="*/ 2147483647 w 255"/>
                      <a:gd name="T91" fmla="*/ 2147483647 h 412"/>
                      <a:gd name="T92" fmla="*/ 2147483647 w 255"/>
                      <a:gd name="T93" fmla="*/ 2147483647 h 412"/>
                      <a:gd name="T94" fmla="*/ 2147483647 w 255"/>
                      <a:gd name="T95" fmla="*/ 2147483647 h 412"/>
                      <a:gd name="T96" fmla="*/ 2147483647 w 255"/>
                      <a:gd name="T97" fmla="*/ 2147483647 h 412"/>
                      <a:gd name="T98" fmla="*/ 2147483647 w 255"/>
                      <a:gd name="T99" fmla="*/ 2147483647 h 412"/>
                      <a:gd name="T100" fmla="*/ 0 w 255"/>
                      <a:gd name="T101" fmla="*/ 2147483647 h 412"/>
                      <a:gd name="T102" fmla="*/ 2147483647 w 255"/>
                      <a:gd name="T103" fmla="*/ 2147483647 h 412"/>
                      <a:gd name="T104" fmla="*/ 2147483647 w 255"/>
                      <a:gd name="T105" fmla="*/ 2147483647 h 412"/>
                      <a:gd name="T106" fmla="*/ 2147483647 w 255"/>
                      <a:gd name="T107" fmla="*/ 2147483647 h 412"/>
                      <a:gd name="T108" fmla="*/ 2147483647 w 255"/>
                      <a:gd name="T109" fmla="*/ 2147483647 h 412"/>
                      <a:gd name="T110" fmla="*/ 2147483647 w 255"/>
                      <a:gd name="T111" fmla="*/ 2147483647 h 412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w 255"/>
                      <a:gd name="T169" fmla="*/ 0 h 412"/>
                      <a:gd name="T170" fmla="*/ 255 w 255"/>
                      <a:gd name="T171" fmla="*/ 412 h 412"/>
                    </a:gdLst>
                    <a:ahLst/>
                    <a:cxnLst>
                      <a:cxn ang="T112">
                        <a:pos x="T0" y="T1"/>
                      </a:cxn>
                      <a:cxn ang="T113">
                        <a:pos x="T2" y="T3"/>
                      </a:cxn>
                      <a:cxn ang="T114">
                        <a:pos x="T4" y="T5"/>
                      </a:cxn>
                      <a:cxn ang="T115">
                        <a:pos x="T6" y="T7"/>
                      </a:cxn>
                      <a:cxn ang="T116">
                        <a:pos x="T8" y="T9"/>
                      </a:cxn>
                      <a:cxn ang="T117">
                        <a:pos x="T10" y="T11"/>
                      </a:cxn>
                      <a:cxn ang="T118">
                        <a:pos x="T12" y="T13"/>
                      </a:cxn>
                      <a:cxn ang="T119">
                        <a:pos x="T14" y="T15"/>
                      </a:cxn>
                      <a:cxn ang="T120">
                        <a:pos x="T16" y="T17"/>
                      </a:cxn>
                      <a:cxn ang="T121">
                        <a:pos x="T18" y="T19"/>
                      </a:cxn>
                      <a:cxn ang="T122">
                        <a:pos x="T20" y="T21"/>
                      </a:cxn>
                      <a:cxn ang="T123">
                        <a:pos x="T22" y="T23"/>
                      </a:cxn>
                      <a:cxn ang="T124">
                        <a:pos x="T24" y="T25"/>
                      </a:cxn>
                      <a:cxn ang="T125">
                        <a:pos x="T26" y="T27"/>
                      </a:cxn>
                      <a:cxn ang="T126">
                        <a:pos x="T28" y="T29"/>
                      </a:cxn>
                      <a:cxn ang="T127">
                        <a:pos x="T30" y="T31"/>
                      </a:cxn>
                      <a:cxn ang="T128">
                        <a:pos x="T32" y="T33"/>
                      </a:cxn>
                      <a:cxn ang="T129">
                        <a:pos x="T34" y="T35"/>
                      </a:cxn>
                      <a:cxn ang="T130">
                        <a:pos x="T36" y="T37"/>
                      </a:cxn>
                      <a:cxn ang="T131">
                        <a:pos x="T38" y="T39"/>
                      </a:cxn>
                      <a:cxn ang="T132">
                        <a:pos x="T40" y="T41"/>
                      </a:cxn>
                      <a:cxn ang="T133">
                        <a:pos x="T42" y="T43"/>
                      </a:cxn>
                      <a:cxn ang="T134">
                        <a:pos x="T44" y="T45"/>
                      </a:cxn>
                      <a:cxn ang="T135">
                        <a:pos x="T46" y="T47"/>
                      </a:cxn>
                      <a:cxn ang="T136">
                        <a:pos x="T48" y="T49"/>
                      </a:cxn>
                      <a:cxn ang="T137">
                        <a:pos x="T50" y="T51"/>
                      </a:cxn>
                      <a:cxn ang="T138">
                        <a:pos x="T52" y="T53"/>
                      </a:cxn>
                      <a:cxn ang="T139">
                        <a:pos x="T54" y="T55"/>
                      </a:cxn>
                      <a:cxn ang="T140">
                        <a:pos x="T56" y="T57"/>
                      </a:cxn>
                      <a:cxn ang="T141">
                        <a:pos x="T58" y="T59"/>
                      </a:cxn>
                      <a:cxn ang="T142">
                        <a:pos x="T60" y="T61"/>
                      </a:cxn>
                      <a:cxn ang="T143">
                        <a:pos x="T62" y="T63"/>
                      </a:cxn>
                      <a:cxn ang="T144">
                        <a:pos x="T64" y="T65"/>
                      </a:cxn>
                      <a:cxn ang="T145">
                        <a:pos x="T66" y="T67"/>
                      </a:cxn>
                      <a:cxn ang="T146">
                        <a:pos x="T68" y="T69"/>
                      </a:cxn>
                      <a:cxn ang="T147">
                        <a:pos x="T70" y="T71"/>
                      </a:cxn>
                      <a:cxn ang="T148">
                        <a:pos x="T72" y="T73"/>
                      </a:cxn>
                      <a:cxn ang="T149">
                        <a:pos x="T74" y="T75"/>
                      </a:cxn>
                      <a:cxn ang="T150">
                        <a:pos x="T76" y="T77"/>
                      </a:cxn>
                      <a:cxn ang="T151">
                        <a:pos x="T78" y="T79"/>
                      </a:cxn>
                      <a:cxn ang="T152">
                        <a:pos x="T80" y="T81"/>
                      </a:cxn>
                      <a:cxn ang="T153">
                        <a:pos x="T82" y="T83"/>
                      </a:cxn>
                      <a:cxn ang="T154">
                        <a:pos x="T84" y="T85"/>
                      </a:cxn>
                      <a:cxn ang="T155">
                        <a:pos x="T86" y="T87"/>
                      </a:cxn>
                      <a:cxn ang="T156">
                        <a:pos x="T88" y="T89"/>
                      </a:cxn>
                      <a:cxn ang="T157">
                        <a:pos x="T90" y="T91"/>
                      </a:cxn>
                      <a:cxn ang="T158">
                        <a:pos x="T92" y="T93"/>
                      </a:cxn>
                      <a:cxn ang="T159">
                        <a:pos x="T94" y="T95"/>
                      </a:cxn>
                      <a:cxn ang="T160">
                        <a:pos x="T96" y="T97"/>
                      </a:cxn>
                      <a:cxn ang="T161">
                        <a:pos x="T98" y="T99"/>
                      </a:cxn>
                      <a:cxn ang="T162">
                        <a:pos x="T100" y="T101"/>
                      </a:cxn>
                      <a:cxn ang="T163">
                        <a:pos x="T102" y="T103"/>
                      </a:cxn>
                      <a:cxn ang="T164">
                        <a:pos x="T104" y="T105"/>
                      </a:cxn>
                      <a:cxn ang="T165">
                        <a:pos x="T106" y="T107"/>
                      </a:cxn>
                      <a:cxn ang="T166">
                        <a:pos x="T108" y="T109"/>
                      </a:cxn>
                      <a:cxn ang="T167">
                        <a:pos x="T110" y="T111"/>
                      </a:cxn>
                    </a:cxnLst>
                    <a:rect l="T168" t="T169" r="T170" b="T171"/>
                    <a:pathLst>
                      <a:path w="255" h="412">
                        <a:moveTo>
                          <a:pt x="169" y="344"/>
                        </a:moveTo>
                        <a:cubicBezTo>
                          <a:pt x="45" y="344"/>
                          <a:pt x="45" y="344"/>
                          <a:pt x="45" y="344"/>
                        </a:cubicBezTo>
                        <a:cubicBezTo>
                          <a:pt x="37" y="344"/>
                          <a:pt x="30" y="349"/>
                          <a:pt x="29" y="358"/>
                        </a:cubicBezTo>
                        <a:cubicBezTo>
                          <a:pt x="29" y="370"/>
                          <a:pt x="29" y="370"/>
                          <a:pt x="29" y="370"/>
                        </a:cubicBezTo>
                        <a:cubicBezTo>
                          <a:pt x="30" y="380"/>
                          <a:pt x="37" y="385"/>
                          <a:pt x="45" y="385"/>
                        </a:cubicBezTo>
                        <a:cubicBezTo>
                          <a:pt x="169" y="385"/>
                          <a:pt x="169" y="385"/>
                          <a:pt x="169" y="385"/>
                        </a:cubicBezTo>
                        <a:cubicBezTo>
                          <a:pt x="177" y="385"/>
                          <a:pt x="185" y="380"/>
                          <a:pt x="185" y="370"/>
                        </a:cubicBezTo>
                        <a:cubicBezTo>
                          <a:pt x="185" y="358"/>
                          <a:pt x="185" y="358"/>
                          <a:pt x="185" y="358"/>
                        </a:cubicBezTo>
                        <a:cubicBezTo>
                          <a:pt x="184" y="349"/>
                          <a:pt x="177" y="344"/>
                          <a:pt x="169" y="344"/>
                        </a:cubicBezTo>
                        <a:close/>
                        <a:moveTo>
                          <a:pt x="169" y="369"/>
                        </a:moveTo>
                        <a:cubicBezTo>
                          <a:pt x="45" y="369"/>
                          <a:pt x="45" y="369"/>
                          <a:pt x="45" y="369"/>
                        </a:cubicBezTo>
                        <a:cubicBezTo>
                          <a:pt x="45" y="369"/>
                          <a:pt x="45" y="369"/>
                          <a:pt x="45" y="369"/>
                        </a:cubicBezTo>
                        <a:cubicBezTo>
                          <a:pt x="45" y="360"/>
                          <a:pt x="45" y="360"/>
                          <a:pt x="45" y="360"/>
                        </a:cubicBezTo>
                        <a:cubicBezTo>
                          <a:pt x="45" y="360"/>
                          <a:pt x="45" y="360"/>
                          <a:pt x="45" y="360"/>
                        </a:cubicBezTo>
                        <a:cubicBezTo>
                          <a:pt x="169" y="360"/>
                          <a:pt x="169" y="360"/>
                          <a:pt x="169" y="360"/>
                        </a:cubicBezTo>
                        <a:lnTo>
                          <a:pt x="169" y="369"/>
                        </a:lnTo>
                        <a:close/>
                        <a:moveTo>
                          <a:pt x="185" y="306"/>
                        </a:moveTo>
                        <a:cubicBezTo>
                          <a:pt x="185" y="297"/>
                          <a:pt x="177" y="291"/>
                          <a:pt x="169" y="291"/>
                        </a:cubicBezTo>
                        <a:cubicBezTo>
                          <a:pt x="45" y="291"/>
                          <a:pt x="45" y="291"/>
                          <a:pt x="45" y="291"/>
                        </a:cubicBezTo>
                        <a:cubicBezTo>
                          <a:pt x="37" y="291"/>
                          <a:pt x="30" y="297"/>
                          <a:pt x="29" y="306"/>
                        </a:cubicBezTo>
                        <a:cubicBezTo>
                          <a:pt x="29" y="318"/>
                          <a:pt x="29" y="318"/>
                          <a:pt x="29" y="318"/>
                        </a:cubicBezTo>
                        <a:cubicBezTo>
                          <a:pt x="30" y="327"/>
                          <a:pt x="37" y="333"/>
                          <a:pt x="45" y="333"/>
                        </a:cubicBezTo>
                        <a:cubicBezTo>
                          <a:pt x="169" y="333"/>
                          <a:pt x="169" y="333"/>
                          <a:pt x="169" y="333"/>
                        </a:cubicBezTo>
                        <a:cubicBezTo>
                          <a:pt x="177" y="333"/>
                          <a:pt x="184" y="327"/>
                          <a:pt x="185" y="318"/>
                        </a:cubicBezTo>
                        <a:lnTo>
                          <a:pt x="185" y="306"/>
                        </a:lnTo>
                        <a:close/>
                        <a:moveTo>
                          <a:pt x="169" y="317"/>
                        </a:moveTo>
                        <a:cubicBezTo>
                          <a:pt x="45" y="317"/>
                          <a:pt x="45" y="317"/>
                          <a:pt x="45" y="317"/>
                        </a:cubicBezTo>
                        <a:cubicBezTo>
                          <a:pt x="45" y="317"/>
                          <a:pt x="45" y="317"/>
                          <a:pt x="45" y="317"/>
                        </a:cubicBezTo>
                        <a:cubicBezTo>
                          <a:pt x="45" y="307"/>
                          <a:pt x="45" y="307"/>
                          <a:pt x="45" y="307"/>
                        </a:cubicBezTo>
                        <a:cubicBezTo>
                          <a:pt x="45" y="307"/>
                          <a:pt x="45" y="307"/>
                          <a:pt x="45" y="307"/>
                        </a:cubicBezTo>
                        <a:cubicBezTo>
                          <a:pt x="169" y="307"/>
                          <a:pt x="169" y="307"/>
                          <a:pt x="169" y="307"/>
                        </a:cubicBezTo>
                        <a:lnTo>
                          <a:pt x="169" y="317"/>
                        </a:lnTo>
                        <a:close/>
                        <a:moveTo>
                          <a:pt x="185" y="253"/>
                        </a:moveTo>
                        <a:cubicBezTo>
                          <a:pt x="184" y="244"/>
                          <a:pt x="177" y="239"/>
                          <a:pt x="169" y="239"/>
                        </a:cubicBezTo>
                        <a:cubicBezTo>
                          <a:pt x="45" y="239"/>
                          <a:pt x="45" y="239"/>
                          <a:pt x="45" y="239"/>
                        </a:cubicBezTo>
                        <a:cubicBezTo>
                          <a:pt x="37" y="239"/>
                          <a:pt x="30" y="244"/>
                          <a:pt x="29" y="253"/>
                        </a:cubicBezTo>
                        <a:cubicBezTo>
                          <a:pt x="29" y="265"/>
                          <a:pt x="29" y="265"/>
                          <a:pt x="29" y="265"/>
                        </a:cubicBezTo>
                        <a:cubicBezTo>
                          <a:pt x="30" y="275"/>
                          <a:pt x="37" y="280"/>
                          <a:pt x="45" y="280"/>
                        </a:cubicBezTo>
                        <a:cubicBezTo>
                          <a:pt x="169" y="280"/>
                          <a:pt x="169" y="280"/>
                          <a:pt x="169" y="280"/>
                        </a:cubicBezTo>
                        <a:cubicBezTo>
                          <a:pt x="177" y="280"/>
                          <a:pt x="185" y="275"/>
                          <a:pt x="185" y="265"/>
                        </a:cubicBezTo>
                        <a:lnTo>
                          <a:pt x="185" y="253"/>
                        </a:lnTo>
                        <a:close/>
                        <a:moveTo>
                          <a:pt x="169" y="264"/>
                        </a:moveTo>
                        <a:cubicBezTo>
                          <a:pt x="45" y="264"/>
                          <a:pt x="45" y="264"/>
                          <a:pt x="45" y="264"/>
                        </a:cubicBezTo>
                        <a:cubicBezTo>
                          <a:pt x="45" y="264"/>
                          <a:pt x="45" y="264"/>
                          <a:pt x="45" y="264"/>
                        </a:cubicBezTo>
                        <a:cubicBezTo>
                          <a:pt x="45" y="255"/>
                          <a:pt x="45" y="255"/>
                          <a:pt x="45" y="255"/>
                        </a:cubicBezTo>
                        <a:cubicBezTo>
                          <a:pt x="45" y="255"/>
                          <a:pt x="45" y="255"/>
                          <a:pt x="45" y="255"/>
                        </a:cubicBezTo>
                        <a:cubicBezTo>
                          <a:pt x="169" y="255"/>
                          <a:pt x="169" y="255"/>
                          <a:pt x="169" y="255"/>
                        </a:cubicBezTo>
                        <a:lnTo>
                          <a:pt x="169" y="264"/>
                        </a:lnTo>
                        <a:close/>
                        <a:moveTo>
                          <a:pt x="185" y="201"/>
                        </a:moveTo>
                        <a:cubicBezTo>
                          <a:pt x="185" y="192"/>
                          <a:pt x="177" y="186"/>
                          <a:pt x="169" y="186"/>
                        </a:cubicBezTo>
                        <a:cubicBezTo>
                          <a:pt x="45" y="186"/>
                          <a:pt x="45" y="186"/>
                          <a:pt x="45" y="186"/>
                        </a:cubicBezTo>
                        <a:cubicBezTo>
                          <a:pt x="37" y="186"/>
                          <a:pt x="30" y="192"/>
                          <a:pt x="29" y="201"/>
                        </a:cubicBezTo>
                        <a:cubicBezTo>
                          <a:pt x="29" y="213"/>
                          <a:pt x="29" y="213"/>
                          <a:pt x="29" y="213"/>
                        </a:cubicBezTo>
                        <a:cubicBezTo>
                          <a:pt x="30" y="222"/>
                          <a:pt x="37" y="228"/>
                          <a:pt x="45" y="228"/>
                        </a:cubicBezTo>
                        <a:cubicBezTo>
                          <a:pt x="169" y="228"/>
                          <a:pt x="169" y="228"/>
                          <a:pt x="169" y="228"/>
                        </a:cubicBezTo>
                        <a:cubicBezTo>
                          <a:pt x="177" y="228"/>
                          <a:pt x="184" y="222"/>
                          <a:pt x="185" y="213"/>
                        </a:cubicBezTo>
                        <a:lnTo>
                          <a:pt x="185" y="201"/>
                        </a:lnTo>
                        <a:close/>
                        <a:moveTo>
                          <a:pt x="169" y="212"/>
                        </a:moveTo>
                        <a:cubicBezTo>
                          <a:pt x="45" y="212"/>
                          <a:pt x="45" y="212"/>
                          <a:pt x="45" y="212"/>
                        </a:cubicBezTo>
                        <a:cubicBezTo>
                          <a:pt x="45" y="212"/>
                          <a:pt x="45" y="212"/>
                          <a:pt x="45" y="212"/>
                        </a:cubicBezTo>
                        <a:cubicBezTo>
                          <a:pt x="45" y="202"/>
                          <a:pt x="45" y="202"/>
                          <a:pt x="45" y="202"/>
                        </a:cubicBezTo>
                        <a:cubicBezTo>
                          <a:pt x="45" y="202"/>
                          <a:pt x="45" y="202"/>
                          <a:pt x="45" y="202"/>
                        </a:cubicBezTo>
                        <a:cubicBezTo>
                          <a:pt x="169" y="202"/>
                          <a:pt x="169" y="202"/>
                          <a:pt x="169" y="202"/>
                        </a:cubicBezTo>
                        <a:lnTo>
                          <a:pt x="169" y="212"/>
                        </a:lnTo>
                        <a:close/>
                        <a:moveTo>
                          <a:pt x="185" y="148"/>
                        </a:moveTo>
                        <a:cubicBezTo>
                          <a:pt x="184" y="139"/>
                          <a:pt x="177" y="134"/>
                          <a:pt x="169" y="134"/>
                        </a:cubicBezTo>
                        <a:cubicBezTo>
                          <a:pt x="45" y="134"/>
                          <a:pt x="45" y="134"/>
                          <a:pt x="45" y="134"/>
                        </a:cubicBezTo>
                        <a:cubicBezTo>
                          <a:pt x="37" y="134"/>
                          <a:pt x="30" y="139"/>
                          <a:pt x="29" y="148"/>
                        </a:cubicBezTo>
                        <a:cubicBezTo>
                          <a:pt x="29" y="161"/>
                          <a:pt x="29" y="161"/>
                          <a:pt x="29" y="161"/>
                        </a:cubicBezTo>
                        <a:cubicBezTo>
                          <a:pt x="30" y="170"/>
                          <a:pt x="37" y="175"/>
                          <a:pt x="45" y="175"/>
                        </a:cubicBezTo>
                        <a:cubicBezTo>
                          <a:pt x="169" y="175"/>
                          <a:pt x="169" y="175"/>
                          <a:pt x="169" y="175"/>
                        </a:cubicBezTo>
                        <a:cubicBezTo>
                          <a:pt x="177" y="175"/>
                          <a:pt x="185" y="170"/>
                          <a:pt x="185" y="161"/>
                        </a:cubicBezTo>
                        <a:lnTo>
                          <a:pt x="185" y="148"/>
                        </a:lnTo>
                        <a:close/>
                        <a:moveTo>
                          <a:pt x="169" y="159"/>
                        </a:moveTo>
                        <a:cubicBezTo>
                          <a:pt x="45" y="159"/>
                          <a:pt x="45" y="159"/>
                          <a:pt x="45" y="159"/>
                        </a:cubicBezTo>
                        <a:cubicBezTo>
                          <a:pt x="45" y="159"/>
                          <a:pt x="45" y="159"/>
                          <a:pt x="45" y="159"/>
                        </a:cubicBezTo>
                        <a:cubicBezTo>
                          <a:pt x="45" y="150"/>
                          <a:pt x="45" y="150"/>
                          <a:pt x="45" y="150"/>
                        </a:cubicBezTo>
                        <a:cubicBezTo>
                          <a:pt x="45" y="150"/>
                          <a:pt x="45" y="150"/>
                          <a:pt x="45" y="150"/>
                        </a:cubicBezTo>
                        <a:cubicBezTo>
                          <a:pt x="169" y="150"/>
                          <a:pt x="169" y="150"/>
                          <a:pt x="169" y="150"/>
                        </a:cubicBezTo>
                        <a:lnTo>
                          <a:pt x="169" y="159"/>
                        </a:lnTo>
                        <a:close/>
                        <a:moveTo>
                          <a:pt x="185" y="96"/>
                        </a:moveTo>
                        <a:cubicBezTo>
                          <a:pt x="185" y="87"/>
                          <a:pt x="177" y="81"/>
                          <a:pt x="169" y="81"/>
                        </a:cubicBezTo>
                        <a:cubicBezTo>
                          <a:pt x="45" y="81"/>
                          <a:pt x="45" y="81"/>
                          <a:pt x="45" y="81"/>
                        </a:cubicBezTo>
                        <a:cubicBezTo>
                          <a:pt x="37" y="81"/>
                          <a:pt x="30" y="87"/>
                          <a:pt x="29" y="96"/>
                        </a:cubicBezTo>
                        <a:cubicBezTo>
                          <a:pt x="29" y="108"/>
                          <a:pt x="29" y="108"/>
                          <a:pt x="29" y="108"/>
                        </a:cubicBezTo>
                        <a:cubicBezTo>
                          <a:pt x="30" y="117"/>
                          <a:pt x="37" y="123"/>
                          <a:pt x="45" y="123"/>
                        </a:cubicBezTo>
                        <a:cubicBezTo>
                          <a:pt x="169" y="123"/>
                          <a:pt x="169" y="123"/>
                          <a:pt x="169" y="123"/>
                        </a:cubicBezTo>
                        <a:cubicBezTo>
                          <a:pt x="177" y="123"/>
                          <a:pt x="184" y="117"/>
                          <a:pt x="185" y="108"/>
                        </a:cubicBezTo>
                        <a:lnTo>
                          <a:pt x="185" y="96"/>
                        </a:lnTo>
                        <a:close/>
                        <a:moveTo>
                          <a:pt x="169" y="107"/>
                        </a:moveTo>
                        <a:cubicBezTo>
                          <a:pt x="45" y="107"/>
                          <a:pt x="45" y="107"/>
                          <a:pt x="45" y="107"/>
                        </a:cubicBezTo>
                        <a:cubicBezTo>
                          <a:pt x="45" y="107"/>
                          <a:pt x="45" y="107"/>
                          <a:pt x="45" y="107"/>
                        </a:cubicBezTo>
                        <a:cubicBezTo>
                          <a:pt x="45" y="97"/>
                          <a:pt x="45" y="97"/>
                          <a:pt x="45" y="97"/>
                        </a:cubicBezTo>
                        <a:cubicBezTo>
                          <a:pt x="45" y="97"/>
                          <a:pt x="45" y="97"/>
                          <a:pt x="45" y="97"/>
                        </a:cubicBezTo>
                        <a:cubicBezTo>
                          <a:pt x="169" y="97"/>
                          <a:pt x="169" y="97"/>
                          <a:pt x="169" y="97"/>
                        </a:cubicBezTo>
                        <a:lnTo>
                          <a:pt x="169" y="107"/>
                        </a:lnTo>
                        <a:close/>
                        <a:moveTo>
                          <a:pt x="185" y="44"/>
                        </a:moveTo>
                        <a:cubicBezTo>
                          <a:pt x="184" y="34"/>
                          <a:pt x="177" y="29"/>
                          <a:pt x="169" y="29"/>
                        </a:cubicBezTo>
                        <a:cubicBezTo>
                          <a:pt x="45" y="29"/>
                          <a:pt x="45" y="29"/>
                          <a:pt x="45" y="29"/>
                        </a:cubicBezTo>
                        <a:cubicBezTo>
                          <a:pt x="37" y="29"/>
                          <a:pt x="30" y="34"/>
                          <a:pt x="29" y="44"/>
                        </a:cubicBezTo>
                        <a:cubicBezTo>
                          <a:pt x="29" y="56"/>
                          <a:pt x="29" y="56"/>
                          <a:pt x="29" y="56"/>
                        </a:cubicBezTo>
                        <a:cubicBezTo>
                          <a:pt x="30" y="65"/>
                          <a:pt x="37" y="70"/>
                          <a:pt x="45" y="70"/>
                        </a:cubicBezTo>
                        <a:cubicBezTo>
                          <a:pt x="169" y="70"/>
                          <a:pt x="169" y="70"/>
                          <a:pt x="169" y="70"/>
                        </a:cubicBezTo>
                        <a:cubicBezTo>
                          <a:pt x="177" y="70"/>
                          <a:pt x="185" y="65"/>
                          <a:pt x="185" y="56"/>
                        </a:cubicBezTo>
                        <a:lnTo>
                          <a:pt x="185" y="44"/>
                        </a:lnTo>
                        <a:close/>
                        <a:moveTo>
                          <a:pt x="169" y="54"/>
                        </a:moveTo>
                        <a:cubicBezTo>
                          <a:pt x="45" y="54"/>
                          <a:pt x="45" y="54"/>
                          <a:pt x="45" y="54"/>
                        </a:cubicBezTo>
                        <a:cubicBezTo>
                          <a:pt x="45" y="54"/>
                          <a:pt x="45" y="54"/>
                          <a:pt x="45" y="54"/>
                        </a:cubicBezTo>
                        <a:cubicBezTo>
                          <a:pt x="45" y="45"/>
                          <a:pt x="45" y="45"/>
                          <a:pt x="45" y="45"/>
                        </a:cubicBezTo>
                        <a:cubicBezTo>
                          <a:pt x="45" y="45"/>
                          <a:pt x="45" y="45"/>
                          <a:pt x="45" y="45"/>
                        </a:cubicBezTo>
                        <a:cubicBezTo>
                          <a:pt x="169" y="45"/>
                          <a:pt x="169" y="45"/>
                          <a:pt x="169" y="45"/>
                        </a:cubicBezTo>
                        <a:lnTo>
                          <a:pt x="169" y="54"/>
                        </a:lnTo>
                        <a:close/>
                        <a:moveTo>
                          <a:pt x="212" y="88"/>
                        </a:moveTo>
                        <a:cubicBezTo>
                          <a:pt x="204" y="88"/>
                          <a:pt x="198" y="94"/>
                          <a:pt x="198" y="102"/>
                        </a:cubicBezTo>
                        <a:cubicBezTo>
                          <a:pt x="198" y="110"/>
                          <a:pt x="204" y="116"/>
                          <a:pt x="212" y="116"/>
                        </a:cubicBezTo>
                        <a:cubicBezTo>
                          <a:pt x="220" y="116"/>
                          <a:pt x="226" y="110"/>
                          <a:pt x="226" y="102"/>
                        </a:cubicBezTo>
                        <a:cubicBezTo>
                          <a:pt x="226" y="94"/>
                          <a:pt x="220" y="88"/>
                          <a:pt x="212" y="88"/>
                        </a:cubicBezTo>
                        <a:close/>
                        <a:moveTo>
                          <a:pt x="212" y="35"/>
                        </a:moveTo>
                        <a:cubicBezTo>
                          <a:pt x="204" y="35"/>
                          <a:pt x="198" y="42"/>
                          <a:pt x="198" y="50"/>
                        </a:cubicBezTo>
                        <a:cubicBezTo>
                          <a:pt x="198" y="57"/>
                          <a:pt x="204" y="64"/>
                          <a:pt x="212" y="64"/>
                        </a:cubicBezTo>
                        <a:cubicBezTo>
                          <a:pt x="220" y="64"/>
                          <a:pt x="226" y="57"/>
                          <a:pt x="226" y="50"/>
                        </a:cubicBezTo>
                        <a:cubicBezTo>
                          <a:pt x="226" y="42"/>
                          <a:pt x="220" y="35"/>
                          <a:pt x="212" y="35"/>
                        </a:cubicBezTo>
                        <a:close/>
                        <a:moveTo>
                          <a:pt x="212" y="140"/>
                        </a:moveTo>
                        <a:cubicBezTo>
                          <a:pt x="204" y="140"/>
                          <a:pt x="198" y="147"/>
                          <a:pt x="198" y="155"/>
                        </a:cubicBezTo>
                        <a:cubicBezTo>
                          <a:pt x="198" y="162"/>
                          <a:pt x="204" y="169"/>
                          <a:pt x="212" y="169"/>
                        </a:cubicBezTo>
                        <a:cubicBezTo>
                          <a:pt x="220" y="169"/>
                          <a:pt x="226" y="162"/>
                          <a:pt x="226" y="155"/>
                        </a:cubicBezTo>
                        <a:cubicBezTo>
                          <a:pt x="226" y="147"/>
                          <a:pt x="220" y="140"/>
                          <a:pt x="212" y="140"/>
                        </a:cubicBezTo>
                        <a:close/>
                        <a:moveTo>
                          <a:pt x="212" y="193"/>
                        </a:moveTo>
                        <a:cubicBezTo>
                          <a:pt x="204" y="193"/>
                          <a:pt x="198" y="199"/>
                          <a:pt x="198" y="207"/>
                        </a:cubicBezTo>
                        <a:cubicBezTo>
                          <a:pt x="198" y="215"/>
                          <a:pt x="204" y="221"/>
                          <a:pt x="212" y="221"/>
                        </a:cubicBezTo>
                        <a:cubicBezTo>
                          <a:pt x="220" y="221"/>
                          <a:pt x="226" y="215"/>
                          <a:pt x="226" y="207"/>
                        </a:cubicBezTo>
                        <a:cubicBezTo>
                          <a:pt x="226" y="199"/>
                          <a:pt x="220" y="193"/>
                          <a:pt x="212" y="193"/>
                        </a:cubicBezTo>
                        <a:close/>
                        <a:moveTo>
                          <a:pt x="212" y="245"/>
                        </a:moveTo>
                        <a:cubicBezTo>
                          <a:pt x="204" y="245"/>
                          <a:pt x="198" y="252"/>
                          <a:pt x="198" y="259"/>
                        </a:cubicBezTo>
                        <a:cubicBezTo>
                          <a:pt x="198" y="267"/>
                          <a:pt x="204" y="274"/>
                          <a:pt x="212" y="274"/>
                        </a:cubicBezTo>
                        <a:cubicBezTo>
                          <a:pt x="220" y="274"/>
                          <a:pt x="226" y="267"/>
                          <a:pt x="226" y="259"/>
                        </a:cubicBezTo>
                        <a:cubicBezTo>
                          <a:pt x="226" y="252"/>
                          <a:pt x="220" y="245"/>
                          <a:pt x="212" y="245"/>
                        </a:cubicBezTo>
                        <a:close/>
                        <a:moveTo>
                          <a:pt x="212" y="298"/>
                        </a:moveTo>
                        <a:cubicBezTo>
                          <a:pt x="204" y="298"/>
                          <a:pt x="198" y="304"/>
                          <a:pt x="198" y="312"/>
                        </a:cubicBezTo>
                        <a:cubicBezTo>
                          <a:pt x="198" y="320"/>
                          <a:pt x="204" y="326"/>
                          <a:pt x="212" y="326"/>
                        </a:cubicBezTo>
                        <a:cubicBezTo>
                          <a:pt x="220" y="326"/>
                          <a:pt x="226" y="320"/>
                          <a:pt x="226" y="312"/>
                        </a:cubicBezTo>
                        <a:cubicBezTo>
                          <a:pt x="226" y="304"/>
                          <a:pt x="220" y="298"/>
                          <a:pt x="212" y="298"/>
                        </a:cubicBezTo>
                        <a:close/>
                        <a:moveTo>
                          <a:pt x="212" y="350"/>
                        </a:moveTo>
                        <a:cubicBezTo>
                          <a:pt x="204" y="350"/>
                          <a:pt x="198" y="356"/>
                          <a:pt x="198" y="364"/>
                        </a:cubicBezTo>
                        <a:cubicBezTo>
                          <a:pt x="198" y="372"/>
                          <a:pt x="204" y="379"/>
                          <a:pt x="212" y="379"/>
                        </a:cubicBezTo>
                        <a:cubicBezTo>
                          <a:pt x="220" y="379"/>
                          <a:pt x="226" y="372"/>
                          <a:pt x="226" y="364"/>
                        </a:cubicBezTo>
                        <a:cubicBezTo>
                          <a:pt x="226" y="356"/>
                          <a:pt x="220" y="350"/>
                          <a:pt x="212" y="350"/>
                        </a:cubicBezTo>
                        <a:close/>
                        <a:moveTo>
                          <a:pt x="247" y="44"/>
                        </a:moveTo>
                        <a:cubicBezTo>
                          <a:pt x="251" y="44"/>
                          <a:pt x="255" y="41"/>
                          <a:pt x="255" y="36"/>
                        </a:cubicBezTo>
                        <a:cubicBezTo>
                          <a:pt x="255" y="16"/>
                          <a:pt x="255" y="16"/>
                          <a:pt x="255" y="16"/>
                        </a:cubicBezTo>
                        <a:cubicBezTo>
                          <a:pt x="255" y="7"/>
                          <a:pt x="248" y="0"/>
                          <a:pt x="239" y="0"/>
                        </a:cubicBezTo>
                        <a:cubicBezTo>
                          <a:pt x="16" y="0"/>
                          <a:pt x="16" y="0"/>
                          <a:pt x="16" y="0"/>
                        </a:cubicBezTo>
                        <a:cubicBezTo>
                          <a:pt x="7" y="0"/>
                          <a:pt x="0" y="7"/>
                          <a:pt x="0" y="16"/>
                        </a:cubicBezTo>
                        <a:cubicBezTo>
                          <a:pt x="0" y="396"/>
                          <a:pt x="0" y="396"/>
                          <a:pt x="0" y="396"/>
                        </a:cubicBezTo>
                        <a:cubicBezTo>
                          <a:pt x="0" y="405"/>
                          <a:pt x="7" y="412"/>
                          <a:pt x="16" y="412"/>
                        </a:cubicBezTo>
                        <a:cubicBezTo>
                          <a:pt x="239" y="412"/>
                          <a:pt x="239" y="412"/>
                          <a:pt x="239" y="412"/>
                        </a:cubicBezTo>
                        <a:cubicBezTo>
                          <a:pt x="248" y="412"/>
                          <a:pt x="255" y="405"/>
                          <a:pt x="255" y="396"/>
                        </a:cubicBezTo>
                        <a:cubicBezTo>
                          <a:pt x="255" y="60"/>
                          <a:pt x="255" y="60"/>
                          <a:pt x="255" y="60"/>
                        </a:cubicBezTo>
                        <a:cubicBezTo>
                          <a:pt x="255" y="56"/>
                          <a:pt x="251" y="52"/>
                          <a:pt x="247" y="52"/>
                        </a:cubicBezTo>
                        <a:cubicBezTo>
                          <a:pt x="242" y="52"/>
                          <a:pt x="239" y="56"/>
                          <a:pt x="239" y="60"/>
                        </a:cubicBezTo>
                        <a:cubicBezTo>
                          <a:pt x="239" y="396"/>
                          <a:pt x="239" y="396"/>
                          <a:pt x="239" y="396"/>
                        </a:cubicBezTo>
                        <a:cubicBezTo>
                          <a:pt x="16" y="396"/>
                          <a:pt x="16" y="396"/>
                          <a:pt x="16" y="396"/>
                        </a:cubicBezTo>
                        <a:cubicBezTo>
                          <a:pt x="16" y="396"/>
                          <a:pt x="16" y="396"/>
                          <a:pt x="16" y="396"/>
                        </a:cubicBezTo>
                        <a:cubicBezTo>
                          <a:pt x="16" y="16"/>
                          <a:pt x="16" y="16"/>
                          <a:pt x="16" y="16"/>
                        </a:cubicBezTo>
                        <a:cubicBezTo>
                          <a:pt x="16" y="16"/>
                          <a:pt x="16" y="16"/>
                          <a:pt x="16" y="16"/>
                        </a:cubicBezTo>
                        <a:cubicBezTo>
                          <a:pt x="239" y="16"/>
                          <a:pt x="239" y="16"/>
                          <a:pt x="239" y="16"/>
                        </a:cubicBezTo>
                        <a:cubicBezTo>
                          <a:pt x="239" y="36"/>
                          <a:pt x="239" y="36"/>
                          <a:pt x="239" y="36"/>
                        </a:cubicBezTo>
                        <a:cubicBezTo>
                          <a:pt x="239" y="41"/>
                          <a:pt x="242" y="44"/>
                          <a:pt x="247" y="44"/>
                        </a:cubicBezTo>
                        <a:close/>
                      </a:path>
                    </a:pathLst>
                  </a:custGeom>
                  <a:solidFill>
                    <a:srgbClr val="58585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22897" name="Freeform 3"/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4203955" y="5083103"/>
                    <a:ext cx="135547" cy="138900"/>
                  </a:xfrm>
                  <a:custGeom>
                    <a:avLst/>
                    <a:gdLst>
                      <a:gd name="T0" fmla="*/ 2147483647 w 325"/>
                      <a:gd name="T1" fmla="*/ 2147483647 h 333"/>
                      <a:gd name="T2" fmla="*/ 2147483647 w 325"/>
                      <a:gd name="T3" fmla="*/ 2147483647 h 333"/>
                      <a:gd name="T4" fmla="*/ 2147483647 w 325"/>
                      <a:gd name="T5" fmla="*/ 2147483647 h 333"/>
                      <a:gd name="T6" fmla="*/ 2147483647 w 325"/>
                      <a:gd name="T7" fmla="*/ 2147483647 h 333"/>
                      <a:gd name="T8" fmla="*/ 2147483647 w 325"/>
                      <a:gd name="T9" fmla="*/ 2147483647 h 333"/>
                      <a:gd name="T10" fmla="*/ 2147483647 w 325"/>
                      <a:gd name="T11" fmla="*/ 0 h 333"/>
                      <a:gd name="T12" fmla="*/ 2147483647 w 325"/>
                      <a:gd name="T13" fmla="*/ 2147483647 h 333"/>
                      <a:gd name="T14" fmla="*/ 2147483647 w 325"/>
                      <a:gd name="T15" fmla="*/ 2147483647 h 333"/>
                      <a:gd name="T16" fmla="*/ 2147483647 w 325"/>
                      <a:gd name="T17" fmla="*/ 2147483647 h 333"/>
                      <a:gd name="T18" fmla="*/ 0 w 325"/>
                      <a:gd name="T19" fmla="*/ 2147483647 h 333"/>
                      <a:gd name="T20" fmla="*/ 0 w 325"/>
                      <a:gd name="T21" fmla="*/ 2147483647 h 333"/>
                      <a:gd name="T22" fmla="*/ 0 w 325"/>
                      <a:gd name="T23" fmla="*/ 2147483647 h 333"/>
                      <a:gd name="T24" fmla="*/ 2147483647 w 325"/>
                      <a:gd name="T25" fmla="*/ 2147483647 h 333"/>
                      <a:gd name="T26" fmla="*/ 2147483647 w 325"/>
                      <a:gd name="T27" fmla="*/ 2147483647 h 333"/>
                      <a:gd name="T28" fmla="*/ 2147483647 w 325"/>
                      <a:gd name="T29" fmla="*/ 2147483647 h 333"/>
                      <a:gd name="T30" fmla="*/ 2147483647 w 325"/>
                      <a:gd name="T31" fmla="*/ 2147483647 h 333"/>
                      <a:gd name="T32" fmla="*/ 2147483647 w 325"/>
                      <a:gd name="T33" fmla="*/ 2147483647 h 333"/>
                      <a:gd name="T34" fmla="*/ 2147483647 w 325"/>
                      <a:gd name="T35" fmla="*/ 2147483647 h 333"/>
                      <a:gd name="T36" fmla="*/ 2147483647 w 325"/>
                      <a:gd name="T37" fmla="*/ 2147483647 h 333"/>
                      <a:gd name="T38" fmla="*/ 2147483647 w 325"/>
                      <a:gd name="T39" fmla="*/ 2147483647 h 333"/>
                      <a:gd name="T40" fmla="*/ 2147483647 w 325"/>
                      <a:gd name="T41" fmla="*/ 2147483647 h 333"/>
                      <a:gd name="T42" fmla="*/ 2147483647 w 325"/>
                      <a:gd name="T43" fmla="*/ 2147483647 h 333"/>
                      <a:gd name="T44" fmla="*/ 2147483647 w 325"/>
                      <a:gd name="T45" fmla="*/ 2147483647 h 333"/>
                      <a:gd name="T46" fmla="*/ 2147483647 w 325"/>
                      <a:gd name="T47" fmla="*/ 2147483647 h 333"/>
                      <a:gd name="T48" fmla="*/ 2147483647 w 325"/>
                      <a:gd name="T49" fmla="*/ 2147483647 h 333"/>
                      <a:gd name="T50" fmla="*/ 2147483647 w 325"/>
                      <a:gd name="T51" fmla="*/ 2147483647 h 333"/>
                      <a:gd name="T52" fmla="*/ 2147483647 w 325"/>
                      <a:gd name="T53" fmla="*/ 2147483647 h 333"/>
                      <a:gd name="T54" fmla="*/ 2147483647 w 325"/>
                      <a:gd name="T55" fmla="*/ 2147483647 h 333"/>
                      <a:gd name="T56" fmla="*/ 2147483647 w 325"/>
                      <a:gd name="T57" fmla="*/ 2147483647 h 333"/>
                      <a:gd name="T58" fmla="*/ 2147483647 w 325"/>
                      <a:gd name="T59" fmla="*/ 2147483647 h 333"/>
                      <a:gd name="T60" fmla="*/ 2147483647 w 325"/>
                      <a:gd name="T61" fmla="*/ 2147483647 h 333"/>
                      <a:gd name="T62" fmla="*/ 2147483647 w 325"/>
                      <a:gd name="T63" fmla="*/ 2147483647 h 333"/>
                      <a:gd name="T64" fmla="*/ 2147483647 w 325"/>
                      <a:gd name="T65" fmla="*/ 2147483647 h 333"/>
                      <a:gd name="T66" fmla="*/ 2147483647 w 325"/>
                      <a:gd name="T67" fmla="*/ 2147483647 h 333"/>
                      <a:gd name="T68" fmla="*/ 2147483647 w 325"/>
                      <a:gd name="T69" fmla="*/ 2147483647 h 333"/>
                      <a:gd name="T70" fmla="*/ 2147483647 w 325"/>
                      <a:gd name="T71" fmla="*/ 2147483647 h 333"/>
                      <a:gd name="T72" fmla="*/ 2147483647 w 325"/>
                      <a:gd name="T73" fmla="*/ 2147483647 h 333"/>
                      <a:gd name="T74" fmla="*/ 2147483647 w 325"/>
                      <a:gd name="T75" fmla="*/ 2147483647 h 333"/>
                      <a:gd name="T76" fmla="*/ 2147483647 w 325"/>
                      <a:gd name="T77" fmla="*/ 2147483647 h 333"/>
                      <a:gd name="T78" fmla="*/ 2147483647 w 325"/>
                      <a:gd name="T79" fmla="*/ 2147483647 h 333"/>
                      <a:gd name="T80" fmla="*/ 2147483647 w 325"/>
                      <a:gd name="T81" fmla="*/ 2147483647 h 333"/>
                      <a:gd name="T82" fmla="*/ 2147483647 w 325"/>
                      <a:gd name="T83" fmla="*/ 2147483647 h 333"/>
                      <a:gd name="T84" fmla="*/ 2147483647 w 325"/>
                      <a:gd name="T85" fmla="*/ 2147483647 h 333"/>
                      <a:gd name="T86" fmla="*/ 2147483647 w 325"/>
                      <a:gd name="T87" fmla="*/ 2147483647 h 333"/>
                      <a:gd name="T88" fmla="*/ 2147483647 w 325"/>
                      <a:gd name="T89" fmla="*/ 2147483647 h 333"/>
                      <a:gd name="T90" fmla="*/ 2147483647 w 325"/>
                      <a:gd name="T91" fmla="*/ 2147483647 h 333"/>
                      <a:gd name="T92" fmla="*/ 2147483647 w 325"/>
                      <a:gd name="T93" fmla="*/ 2147483647 h 333"/>
                      <a:gd name="T94" fmla="*/ 2147483647 w 325"/>
                      <a:gd name="T95" fmla="*/ 2147483647 h 333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325"/>
                      <a:gd name="T145" fmla="*/ 0 h 333"/>
                      <a:gd name="T146" fmla="*/ 325 w 325"/>
                      <a:gd name="T147" fmla="*/ 333 h 333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325" h="333">
                        <a:moveTo>
                          <a:pt x="317" y="81"/>
                        </a:moveTo>
                        <a:cubicBezTo>
                          <a:pt x="321" y="81"/>
                          <a:pt x="325" y="78"/>
                          <a:pt x="325" y="73"/>
                        </a:cubicBezTo>
                        <a:cubicBezTo>
                          <a:pt x="325" y="35"/>
                          <a:pt x="325" y="35"/>
                          <a:pt x="325" y="35"/>
                        </a:cubicBezTo>
                        <a:cubicBezTo>
                          <a:pt x="325" y="29"/>
                          <a:pt x="322" y="26"/>
                          <a:pt x="319" y="23"/>
                        </a:cubicBezTo>
                        <a:cubicBezTo>
                          <a:pt x="313" y="19"/>
                          <a:pt x="306" y="16"/>
                          <a:pt x="296" y="13"/>
                        </a:cubicBezTo>
                        <a:cubicBezTo>
                          <a:pt x="268" y="5"/>
                          <a:pt x="219" y="0"/>
                          <a:pt x="162" y="0"/>
                        </a:cubicBezTo>
                        <a:cubicBezTo>
                          <a:pt x="119" y="0"/>
                          <a:pt x="80" y="3"/>
                          <a:pt x="52" y="8"/>
                        </a:cubicBezTo>
                        <a:cubicBezTo>
                          <a:pt x="37" y="11"/>
                          <a:pt x="26" y="13"/>
                          <a:pt x="17" y="17"/>
                        </a:cubicBezTo>
                        <a:cubicBezTo>
                          <a:pt x="12" y="19"/>
                          <a:pt x="9" y="21"/>
                          <a:pt x="6" y="23"/>
                        </a:cubicBezTo>
                        <a:cubicBezTo>
                          <a:pt x="3" y="26"/>
                          <a:pt x="0" y="29"/>
                          <a:pt x="0" y="35"/>
                        </a:cubicBezTo>
                        <a:cubicBezTo>
                          <a:pt x="0" y="35"/>
                          <a:pt x="0" y="35"/>
                          <a:pt x="0" y="35"/>
                        </a:cubicBezTo>
                        <a:cubicBezTo>
                          <a:pt x="0" y="292"/>
                          <a:pt x="0" y="292"/>
                          <a:pt x="0" y="292"/>
                        </a:cubicBezTo>
                        <a:cubicBezTo>
                          <a:pt x="0" y="297"/>
                          <a:pt x="2" y="301"/>
                          <a:pt x="5" y="303"/>
                        </a:cubicBezTo>
                        <a:cubicBezTo>
                          <a:pt x="11" y="308"/>
                          <a:pt x="18" y="312"/>
                          <a:pt x="27" y="315"/>
                        </a:cubicBezTo>
                        <a:cubicBezTo>
                          <a:pt x="56" y="325"/>
                          <a:pt x="105" y="333"/>
                          <a:pt x="162" y="333"/>
                        </a:cubicBezTo>
                        <a:cubicBezTo>
                          <a:pt x="205" y="333"/>
                          <a:pt x="244" y="329"/>
                          <a:pt x="273" y="322"/>
                        </a:cubicBezTo>
                        <a:cubicBezTo>
                          <a:pt x="288" y="318"/>
                          <a:pt x="299" y="315"/>
                          <a:pt x="308" y="310"/>
                        </a:cubicBezTo>
                        <a:cubicBezTo>
                          <a:pt x="312" y="308"/>
                          <a:pt x="316" y="306"/>
                          <a:pt x="319" y="303"/>
                        </a:cubicBezTo>
                        <a:cubicBezTo>
                          <a:pt x="322" y="301"/>
                          <a:pt x="324" y="297"/>
                          <a:pt x="325" y="292"/>
                        </a:cubicBezTo>
                        <a:cubicBezTo>
                          <a:pt x="325" y="106"/>
                          <a:pt x="325" y="106"/>
                          <a:pt x="325" y="106"/>
                        </a:cubicBezTo>
                        <a:cubicBezTo>
                          <a:pt x="325" y="101"/>
                          <a:pt x="321" y="98"/>
                          <a:pt x="317" y="98"/>
                        </a:cubicBezTo>
                        <a:cubicBezTo>
                          <a:pt x="312" y="98"/>
                          <a:pt x="309" y="101"/>
                          <a:pt x="309" y="106"/>
                        </a:cubicBezTo>
                        <a:cubicBezTo>
                          <a:pt x="309" y="291"/>
                          <a:pt x="309" y="291"/>
                          <a:pt x="309" y="291"/>
                        </a:cubicBezTo>
                        <a:cubicBezTo>
                          <a:pt x="308" y="292"/>
                          <a:pt x="303" y="295"/>
                          <a:pt x="297" y="298"/>
                        </a:cubicBezTo>
                        <a:cubicBezTo>
                          <a:pt x="273" y="308"/>
                          <a:pt x="221" y="317"/>
                          <a:pt x="162" y="317"/>
                        </a:cubicBezTo>
                        <a:cubicBezTo>
                          <a:pt x="120" y="317"/>
                          <a:pt x="82" y="313"/>
                          <a:pt x="55" y="306"/>
                        </a:cubicBezTo>
                        <a:cubicBezTo>
                          <a:pt x="41" y="303"/>
                          <a:pt x="30" y="299"/>
                          <a:pt x="23" y="296"/>
                        </a:cubicBezTo>
                        <a:cubicBezTo>
                          <a:pt x="20" y="294"/>
                          <a:pt x="17" y="293"/>
                          <a:pt x="16" y="292"/>
                        </a:cubicBezTo>
                        <a:cubicBezTo>
                          <a:pt x="16" y="291"/>
                          <a:pt x="16" y="291"/>
                          <a:pt x="16" y="291"/>
                        </a:cubicBezTo>
                        <a:cubicBezTo>
                          <a:pt x="16" y="52"/>
                          <a:pt x="16" y="52"/>
                          <a:pt x="16" y="52"/>
                        </a:cubicBezTo>
                        <a:cubicBezTo>
                          <a:pt x="19" y="53"/>
                          <a:pt x="23" y="55"/>
                          <a:pt x="28" y="56"/>
                        </a:cubicBezTo>
                        <a:cubicBezTo>
                          <a:pt x="56" y="64"/>
                          <a:pt x="106" y="69"/>
                          <a:pt x="162" y="69"/>
                        </a:cubicBezTo>
                        <a:cubicBezTo>
                          <a:pt x="205" y="69"/>
                          <a:pt x="244" y="66"/>
                          <a:pt x="273" y="61"/>
                        </a:cubicBezTo>
                        <a:cubicBezTo>
                          <a:pt x="287" y="59"/>
                          <a:pt x="299" y="56"/>
                          <a:pt x="307" y="52"/>
                        </a:cubicBezTo>
                        <a:cubicBezTo>
                          <a:pt x="308" y="52"/>
                          <a:pt x="308" y="52"/>
                          <a:pt x="309" y="52"/>
                        </a:cubicBezTo>
                        <a:cubicBezTo>
                          <a:pt x="309" y="73"/>
                          <a:pt x="309" y="73"/>
                          <a:pt x="309" y="73"/>
                        </a:cubicBezTo>
                        <a:cubicBezTo>
                          <a:pt x="309" y="78"/>
                          <a:pt x="312" y="81"/>
                          <a:pt x="317" y="81"/>
                        </a:cubicBezTo>
                        <a:close/>
                        <a:moveTo>
                          <a:pt x="292" y="41"/>
                        </a:moveTo>
                        <a:cubicBezTo>
                          <a:pt x="267" y="48"/>
                          <a:pt x="218" y="53"/>
                          <a:pt x="162" y="53"/>
                        </a:cubicBezTo>
                        <a:cubicBezTo>
                          <a:pt x="120" y="53"/>
                          <a:pt x="82" y="50"/>
                          <a:pt x="54" y="45"/>
                        </a:cubicBezTo>
                        <a:cubicBezTo>
                          <a:pt x="41" y="43"/>
                          <a:pt x="30" y="40"/>
                          <a:pt x="23" y="38"/>
                        </a:cubicBezTo>
                        <a:cubicBezTo>
                          <a:pt x="20" y="37"/>
                          <a:pt x="18" y="35"/>
                          <a:pt x="17" y="35"/>
                        </a:cubicBezTo>
                        <a:cubicBezTo>
                          <a:pt x="20" y="33"/>
                          <a:pt x="25" y="31"/>
                          <a:pt x="32" y="29"/>
                        </a:cubicBezTo>
                        <a:cubicBezTo>
                          <a:pt x="57" y="21"/>
                          <a:pt x="106" y="16"/>
                          <a:pt x="162" y="16"/>
                        </a:cubicBezTo>
                        <a:cubicBezTo>
                          <a:pt x="204" y="16"/>
                          <a:pt x="243" y="19"/>
                          <a:pt x="270" y="24"/>
                        </a:cubicBezTo>
                        <a:cubicBezTo>
                          <a:pt x="284" y="26"/>
                          <a:pt x="295" y="29"/>
                          <a:pt x="301" y="32"/>
                        </a:cubicBezTo>
                        <a:cubicBezTo>
                          <a:pt x="304" y="33"/>
                          <a:pt x="306" y="34"/>
                          <a:pt x="307" y="35"/>
                        </a:cubicBezTo>
                        <a:cubicBezTo>
                          <a:pt x="305" y="36"/>
                          <a:pt x="299" y="39"/>
                          <a:pt x="292" y="41"/>
                        </a:cubicBezTo>
                        <a:close/>
                      </a:path>
                    </a:pathLst>
                  </a:custGeom>
                  <a:solidFill>
                    <a:srgbClr val="58585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22898" name="Freeform 8"/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3884469" y="5083103"/>
                    <a:ext cx="123543" cy="294315"/>
                  </a:xfrm>
                  <a:custGeom>
                    <a:avLst/>
                    <a:gdLst>
                      <a:gd name="T0" fmla="*/ 2147483647 w 255"/>
                      <a:gd name="T1" fmla="*/ 2147483647 h 412"/>
                      <a:gd name="T2" fmla="*/ 2147483647 w 255"/>
                      <a:gd name="T3" fmla="*/ 2147483647 h 412"/>
                      <a:gd name="T4" fmla="*/ 2147483647 w 255"/>
                      <a:gd name="T5" fmla="*/ 2147483647 h 412"/>
                      <a:gd name="T6" fmla="*/ 2147483647 w 255"/>
                      <a:gd name="T7" fmla="*/ 2147483647 h 412"/>
                      <a:gd name="T8" fmla="*/ 2147483647 w 255"/>
                      <a:gd name="T9" fmla="*/ 2147483647 h 412"/>
                      <a:gd name="T10" fmla="*/ 2147483647 w 255"/>
                      <a:gd name="T11" fmla="*/ 2147483647 h 412"/>
                      <a:gd name="T12" fmla="*/ 2147483647 w 255"/>
                      <a:gd name="T13" fmla="*/ 2147483647 h 412"/>
                      <a:gd name="T14" fmla="*/ 2147483647 w 255"/>
                      <a:gd name="T15" fmla="*/ 2147483647 h 412"/>
                      <a:gd name="T16" fmla="*/ 2147483647 w 255"/>
                      <a:gd name="T17" fmla="*/ 2147483647 h 412"/>
                      <a:gd name="T18" fmla="*/ 2147483647 w 255"/>
                      <a:gd name="T19" fmla="*/ 2147483647 h 412"/>
                      <a:gd name="T20" fmla="*/ 2147483647 w 255"/>
                      <a:gd name="T21" fmla="*/ 2147483647 h 412"/>
                      <a:gd name="T22" fmla="*/ 2147483647 w 255"/>
                      <a:gd name="T23" fmla="*/ 2147483647 h 412"/>
                      <a:gd name="T24" fmla="*/ 2147483647 w 255"/>
                      <a:gd name="T25" fmla="*/ 2147483647 h 412"/>
                      <a:gd name="T26" fmla="*/ 2147483647 w 255"/>
                      <a:gd name="T27" fmla="*/ 2147483647 h 412"/>
                      <a:gd name="T28" fmla="*/ 2147483647 w 255"/>
                      <a:gd name="T29" fmla="*/ 2147483647 h 412"/>
                      <a:gd name="T30" fmla="*/ 2147483647 w 255"/>
                      <a:gd name="T31" fmla="*/ 2147483647 h 412"/>
                      <a:gd name="T32" fmla="*/ 2147483647 w 255"/>
                      <a:gd name="T33" fmla="*/ 2147483647 h 412"/>
                      <a:gd name="T34" fmla="*/ 2147483647 w 255"/>
                      <a:gd name="T35" fmla="*/ 2147483647 h 412"/>
                      <a:gd name="T36" fmla="*/ 2147483647 w 255"/>
                      <a:gd name="T37" fmla="*/ 2147483647 h 412"/>
                      <a:gd name="T38" fmla="*/ 2147483647 w 255"/>
                      <a:gd name="T39" fmla="*/ 2147483647 h 412"/>
                      <a:gd name="T40" fmla="*/ 2147483647 w 255"/>
                      <a:gd name="T41" fmla="*/ 2147483647 h 412"/>
                      <a:gd name="T42" fmla="*/ 2147483647 w 255"/>
                      <a:gd name="T43" fmla="*/ 2147483647 h 412"/>
                      <a:gd name="T44" fmla="*/ 2147483647 w 255"/>
                      <a:gd name="T45" fmla="*/ 2147483647 h 412"/>
                      <a:gd name="T46" fmla="*/ 2147483647 w 255"/>
                      <a:gd name="T47" fmla="*/ 2147483647 h 412"/>
                      <a:gd name="T48" fmla="*/ 2147483647 w 255"/>
                      <a:gd name="T49" fmla="*/ 2147483647 h 412"/>
                      <a:gd name="T50" fmla="*/ 2147483647 w 255"/>
                      <a:gd name="T51" fmla="*/ 2147483647 h 412"/>
                      <a:gd name="T52" fmla="*/ 2147483647 w 255"/>
                      <a:gd name="T53" fmla="*/ 2147483647 h 412"/>
                      <a:gd name="T54" fmla="*/ 2147483647 w 255"/>
                      <a:gd name="T55" fmla="*/ 2147483647 h 412"/>
                      <a:gd name="T56" fmla="*/ 2147483647 w 255"/>
                      <a:gd name="T57" fmla="*/ 2147483647 h 412"/>
                      <a:gd name="T58" fmla="*/ 2147483647 w 255"/>
                      <a:gd name="T59" fmla="*/ 2147483647 h 412"/>
                      <a:gd name="T60" fmla="*/ 2147483647 w 255"/>
                      <a:gd name="T61" fmla="*/ 2147483647 h 412"/>
                      <a:gd name="T62" fmla="*/ 2147483647 w 255"/>
                      <a:gd name="T63" fmla="*/ 2147483647 h 412"/>
                      <a:gd name="T64" fmla="*/ 2147483647 w 255"/>
                      <a:gd name="T65" fmla="*/ 2147483647 h 412"/>
                      <a:gd name="T66" fmla="*/ 2147483647 w 255"/>
                      <a:gd name="T67" fmla="*/ 2147483647 h 412"/>
                      <a:gd name="T68" fmla="*/ 2147483647 w 255"/>
                      <a:gd name="T69" fmla="*/ 2147483647 h 412"/>
                      <a:gd name="T70" fmla="*/ 2147483647 w 255"/>
                      <a:gd name="T71" fmla="*/ 2147483647 h 412"/>
                      <a:gd name="T72" fmla="*/ 2147483647 w 255"/>
                      <a:gd name="T73" fmla="*/ 2147483647 h 412"/>
                      <a:gd name="T74" fmla="*/ 2147483647 w 255"/>
                      <a:gd name="T75" fmla="*/ 2147483647 h 412"/>
                      <a:gd name="T76" fmla="*/ 2147483647 w 255"/>
                      <a:gd name="T77" fmla="*/ 2147483647 h 412"/>
                      <a:gd name="T78" fmla="*/ 2147483647 w 255"/>
                      <a:gd name="T79" fmla="*/ 2147483647 h 412"/>
                      <a:gd name="T80" fmla="*/ 2147483647 w 255"/>
                      <a:gd name="T81" fmla="*/ 2147483647 h 412"/>
                      <a:gd name="T82" fmla="*/ 2147483647 w 255"/>
                      <a:gd name="T83" fmla="*/ 2147483647 h 412"/>
                      <a:gd name="T84" fmla="*/ 2147483647 w 255"/>
                      <a:gd name="T85" fmla="*/ 2147483647 h 412"/>
                      <a:gd name="T86" fmla="*/ 2147483647 w 255"/>
                      <a:gd name="T87" fmla="*/ 2147483647 h 412"/>
                      <a:gd name="T88" fmla="*/ 2147483647 w 255"/>
                      <a:gd name="T89" fmla="*/ 2147483647 h 412"/>
                      <a:gd name="T90" fmla="*/ 2147483647 w 255"/>
                      <a:gd name="T91" fmla="*/ 2147483647 h 412"/>
                      <a:gd name="T92" fmla="*/ 2147483647 w 255"/>
                      <a:gd name="T93" fmla="*/ 2147483647 h 412"/>
                      <a:gd name="T94" fmla="*/ 2147483647 w 255"/>
                      <a:gd name="T95" fmla="*/ 2147483647 h 412"/>
                      <a:gd name="T96" fmla="*/ 2147483647 w 255"/>
                      <a:gd name="T97" fmla="*/ 2147483647 h 412"/>
                      <a:gd name="T98" fmla="*/ 2147483647 w 255"/>
                      <a:gd name="T99" fmla="*/ 2147483647 h 412"/>
                      <a:gd name="T100" fmla="*/ 0 w 255"/>
                      <a:gd name="T101" fmla="*/ 2147483647 h 412"/>
                      <a:gd name="T102" fmla="*/ 2147483647 w 255"/>
                      <a:gd name="T103" fmla="*/ 2147483647 h 412"/>
                      <a:gd name="T104" fmla="*/ 2147483647 w 255"/>
                      <a:gd name="T105" fmla="*/ 2147483647 h 412"/>
                      <a:gd name="T106" fmla="*/ 2147483647 w 255"/>
                      <a:gd name="T107" fmla="*/ 2147483647 h 412"/>
                      <a:gd name="T108" fmla="*/ 2147483647 w 255"/>
                      <a:gd name="T109" fmla="*/ 2147483647 h 412"/>
                      <a:gd name="T110" fmla="*/ 2147483647 w 255"/>
                      <a:gd name="T111" fmla="*/ 2147483647 h 412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w 255"/>
                      <a:gd name="T169" fmla="*/ 0 h 412"/>
                      <a:gd name="T170" fmla="*/ 255 w 255"/>
                      <a:gd name="T171" fmla="*/ 412 h 412"/>
                    </a:gdLst>
                    <a:ahLst/>
                    <a:cxnLst>
                      <a:cxn ang="T112">
                        <a:pos x="T0" y="T1"/>
                      </a:cxn>
                      <a:cxn ang="T113">
                        <a:pos x="T2" y="T3"/>
                      </a:cxn>
                      <a:cxn ang="T114">
                        <a:pos x="T4" y="T5"/>
                      </a:cxn>
                      <a:cxn ang="T115">
                        <a:pos x="T6" y="T7"/>
                      </a:cxn>
                      <a:cxn ang="T116">
                        <a:pos x="T8" y="T9"/>
                      </a:cxn>
                      <a:cxn ang="T117">
                        <a:pos x="T10" y="T11"/>
                      </a:cxn>
                      <a:cxn ang="T118">
                        <a:pos x="T12" y="T13"/>
                      </a:cxn>
                      <a:cxn ang="T119">
                        <a:pos x="T14" y="T15"/>
                      </a:cxn>
                      <a:cxn ang="T120">
                        <a:pos x="T16" y="T17"/>
                      </a:cxn>
                      <a:cxn ang="T121">
                        <a:pos x="T18" y="T19"/>
                      </a:cxn>
                      <a:cxn ang="T122">
                        <a:pos x="T20" y="T21"/>
                      </a:cxn>
                      <a:cxn ang="T123">
                        <a:pos x="T22" y="T23"/>
                      </a:cxn>
                      <a:cxn ang="T124">
                        <a:pos x="T24" y="T25"/>
                      </a:cxn>
                      <a:cxn ang="T125">
                        <a:pos x="T26" y="T27"/>
                      </a:cxn>
                      <a:cxn ang="T126">
                        <a:pos x="T28" y="T29"/>
                      </a:cxn>
                      <a:cxn ang="T127">
                        <a:pos x="T30" y="T31"/>
                      </a:cxn>
                      <a:cxn ang="T128">
                        <a:pos x="T32" y="T33"/>
                      </a:cxn>
                      <a:cxn ang="T129">
                        <a:pos x="T34" y="T35"/>
                      </a:cxn>
                      <a:cxn ang="T130">
                        <a:pos x="T36" y="T37"/>
                      </a:cxn>
                      <a:cxn ang="T131">
                        <a:pos x="T38" y="T39"/>
                      </a:cxn>
                      <a:cxn ang="T132">
                        <a:pos x="T40" y="T41"/>
                      </a:cxn>
                      <a:cxn ang="T133">
                        <a:pos x="T42" y="T43"/>
                      </a:cxn>
                      <a:cxn ang="T134">
                        <a:pos x="T44" y="T45"/>
                      </a:cxn>
                      <a:cxn ang="T135">
                        <a:pos x="T46" y="T47"/>
                      </a:cxn>
                      <a:cxn ang="T136">
                        <a:pos x="T48" y="T49"/>
                      </a:cxn>
                      <a:cxn ang="T137">
                        <a:pos x="T50" y="T51"/>
                      </a:cxn>
                      <a:cxn ang="T138">
                        <a:pos x="T52" y="T53"/>
                      </a:cxn>
                      <a:cxn ang="T139">
                        <a:pos x="T54" y="T55"/>
                      </a:cxn>
                      <a:cxn ang="T140">
                        <a:pos x="T56" y="T57"/>
                      </a:cxn>
                      <a:cxn ang="T141">
                        <a:pos x="T58" y="T59"/>
                      </a:cxn>
                      <a:cxn ang="T142">
                        <a:pos x="T60" y="T61"/>
                      </a:cxn>
                      <a:cxn ang="T143">
                        <a:pos x="T62" y="T63"/>
                      </a:cxn>
                      <a:cxn ang="T144">
                        <a:pos x="T64" y="T65"/>
                      </a:cxn>
                      <a:cxn ang="T145">
                        <a:pos x="T66" y="T67"/>
                      </a:cxn>
                      <a:cxn ang="T146">
                        <a:pos x="T68" y="T69"/>
                      </a:cxn>
                      <a:cxn ang="T147">
                        <a:pos x="T70" y="T71"/>
                      </a:cxn>
                      <a:cxn ang="T148">
                        <a:pos x="T72" y="T73"/>
                      </a:cxn>
                      <a:cxn ang="T149">
                        <a:pos x="T74" y="T75"/>
                      </a:cxn>
                      <a:cxn ang="T150">
                        <a:pos x="T76" y="T77"/>
                      </a:cxn>
                      <a:cxn ang="T151">
                        <a:pos x="T78" y="T79"/>
                      </a:cxn>
                      <a:cxn ang="T152">
                        <a:pos x="T80" y="T81"/>
                      </a:cxn>
                      <a:cxn ang="T153">
                        <a:pos x="T82" y="T83"/>
                      </a:cxn>
                      <a:cxn ang="T154">
                        <a:pos x="T84" y="T85"/>
                      </a:cxn>
                      <a:cxn ang="T155">
                        <a:pos x="T86" y="T87"/>
                      </a:cxn>
                      <a:cxn ang="T156">
                        <a:pos x="T88" y="T89"/>
                      </a:cxn>
                      <a:cxn ang="T157">
                        <a:pos x="T90" y="T91"/>
                      </a:cxn>
                      <a:cxn ang="T158">
                        <a:pos x="T92" y="T93"/>
                      </a:cxn>
                      <a:cxn ang="T159">
                        <a:pos x="T94" y="T95"/>
                      </a:cxn>
                      <a:cxn ang="T160">
                        <a:pos x="T96" y="T97"/>
                      </a:cxn>
                      <a:cxn ang="T161">
                        <a:pos x="T98" y="T99"/>
                      </a:cxn>
                      <a:cxn ang="T162">
                        <a:pos x="T100" y="T101"/>
                      </a:cxn>
                      <a:cxn ang="T163">
                        <a:pos x="T102" y="T103"/>
                      </a:cxn>
                      <a:cxn ang="T164">
                        <a:pos x="T104" y="T105"/>
                      </a:cxn>
                      <a:cxn ang="T165">
                        <a:pos x="T106" y="T107"/>
                      </a:cxn>
                      <a:cxn ang="T166">
                        <a:pos x="T108" y="T109"/>
                      </a:cxn>
                      <a:cxn ang="T167">
                        <a:pos x="T110" y="T111"/>
                      </a:cxn>
                    </a:cxnLst>
                    <a:rect l="T168" t="T169" r="T170" b="T171"/>
                    <a:pathLst>
                      <a:path w="255" h="412">
                        <a:moveTo>
                          <a:pt x="169" y="344"/>
                        </a:moveTo>
                        <a:cubicBezTo>
                          <a:pt x="45" y="344"/>
                          <a:pt x="45" y="344"/>
                          <a:pt x="45" y="344"/>
                        </a:cubicBezTo>
                        <a:cubicBezTo>
                          <a:pt x="37" y="344"/>
                          <a:pt x="30" y="349"/>
                          <a:pt x="29" y="358"/>
                        </a:cubicBezTo>
                        <a:cubicBezTo>
                          <a:pt x="29" y="370"/>
                          <a:pt x="29" y="370"/>
                          <a:pt x="29" y="370"/>
                        </a:cubicBezTo>
                        <a:cubicBezTo>
                          <a:pt x="30" y="380"/>
                          <a:pt x="37" y="385"/>
                          <a:pt x="45" y="385"/>
                        </a:cubicBezTo>
                        <a:cubicBezTo>
                          <a:pt x="169" y="385"/>
                          <a:pt x="169" y="385"/>
                          <a:pt x="169" y="385"/>
                        </a:cubicBezTo>
                        <a:cubicBezTo>
                          <a:pt x="177" y="385"/>
                          <a:pt x="185" y="380"/>
                          <a:pt x="185" y="370"/>
                        </a:cubicBezTo>
                        <a:cubicBezTo>
                          <a:pt x="185" y="358"/>
                          <a:pt x="185" y="358"/>
                          <a:pt x="185" y="358"/>
                        </a:cubicBezTo>
                        <a:cubicBezTo>
                          <a:pt x="184" y="349"/>
                          <a:pt x="177" y="344"/>
                          <a:pt x="169" y="344"/>
                        </a:cubicBezTo>
                        <a:close/>
                        <a:moveTo>
                          <a:pt x="169" y="369"/>
                        </a:moveTo>
                        <a:cubicBezTo>
                          <a:pt x="45" y="369"/>
                          <a:pt x="45" y="369"/>
                          <a:pt x="45" y="369"/>
                        </a:cubicBezTo>
                        <a:cubicBezTo>
                          <a:pt x="45" y="369"/>
                          <a:pt x="45" y="369"/>
                          <a:pt x="45" y="369"/>
                        </a:cubicBezTo>
                        <a:cubicBezTo>
                          <a:pt x="45" y="360"/>
                          <a:pt x="45" y="360"/>
                          <a:pt x="45" y="360"/>
                        </a:cubicBezTo>
                        <a:cubicBezTo>
                          <a:pt x="45" y="360"/>
                          <a:pt x="45" y="360"/>
                          <a:pt x="45" y="360"/>
                        </a:cubicBezTo>
                        <a:cubicBezTo>
                          <a:pt x="169" y="360"/>
                          <a:pt x="169" y="360"/>
                          <a:pt x="169" y="360"/>
                        </a:cubicBezTo>
                        <a:lnTo>
                          <a:pt x="169" y="369"/>
                        </a:lnTo>
                        <a:close/>
                        <a:moveTo>
                          <a:pt x="185" y="306"/>
                        </a:moveTo>
                        <a:cubicBezTo>
                          <a:pt x="185" y="297"/>
                          <a:pt x="177" y="291"/>
                          <a:pt x="169" y="291"/>
                        </a:cubicBezTo>
                        <a:cubicBezTo>
                          <a:pt x="45" y="291"/>
                          <a:pt x="45" y="291"/>
                          <a:pt x="45" y="291"/>
                        </a:cubicBezTo>
                        <a:cubicBezTo>
                          <a:pt x="37" y="291"/>
                          <a:pt x="30" y="297"/>
                          <a:pt x="29" y="306"/>
                        </a:cubicBezTo>
                        <a:cubicBezTo>
                          <a:pt x="29" y="318"/>
                          <a:pt x="29" y="318"/>
                          <a:pt x="29" y="318"/>
                        </a:cubicBezTo>
                        <a:cubicBezTo>
                          <a:pt x="30" y="327"/>
                          <a:pt x="37" y="333"/>
                          <a:pt x="45" y="333"/>
                        </a:cubicBezTo>
                        <a:cubicBezTo>
                          <a:pt x="169" y="333"/>
                          <a:pt x="169" y="333"/>
                          <a:pt x="169" y="333"/>
                        </a:cubicBezTo>
                        <a:cubicBezTo>
                          <a:pt x="177" y="333"/>
                          <a:pt x="184" y="327"/>
                          <a:pt x="185" y="318"/>
                        </a:cubicBezTo>
                        <a:lnTo>
                          <a:pt x="185" y="306"/>
                        </a:lnTo>
                        <a:close/>
                        <a:moveTo>
                          <a:pt x="169" y="317"/>
                        </a:moveTo>
                        <a:cubicBezTo>
                          <a:pt x="45" y="317"/>
                          <a:pt x="45" y="317"/>
                          <a:pt x="45" y="317"/>
                        </a:cubicBezTo>
                        <a:cubicBezTo>
                          <a:pt x="45" y="317"/>
                          <a:pt x="45" y="317"/>
                          <a:pt x="45" y="317"/>
                        </a:cubicBezTo>
                        <a:cubicBezTo>
                          <a:pt x="45" y="307"/>
                          <a:pt x="45" y="307"/>
                          <a:pt x="45" y="307"/>
                        </a:cubicBezTo>
                        <a:cubicBezTo>
                          <a:pt x="45" y="307"/>
                          <a:pt x="45" y="307"/>
                          <a:pt x="45" y="307"/>
                        </a:cubicBezTo>
                        <a:cubicBezTo>
                          <a:pt x="169" y="307"/>
                          <a:pt x="169" y="307"/>
                          <a:pt x="169" y="307"/>
                        </a:cubicBezTo>
                        <a:lnTo>
                          <a:pt x="169" y="317"/>
                        </a:lnTo>
                        <a:close/>
                        <a:moveTo>
                          <a:pt x="185" y="253"/>
                        </a:moveTo>
                        <a:cubicBezTo>
                          <a:pt x="184" y="244"/>
                          <a:pt x="177" y="239"/>
                          <a:pt x="169" y="239"/>
                        </a:cubicBezTo>
                        <a:cubicBezTo>
                          <a:pt x="45" y="239"/>
                          <a:pt x="45" y="239"/>
                          <a:pt x="45" y="239"/>
                        </a:cubicBezTo>
                        <a:cubicBezTo>
                          <a:pt x="37" y="239"/>
                          <a:pt x="30" y="244"/>
                          <a:pt x="29" y="253"/>
                        </a:cubicBezTo>
                        <a:cubicBezTo>
                          <a:pt x="29" y="265"/>
                          <a:pt x="29" y="265"/>
                          <a:pt x="29" y="265"/>
                        </a:cubicBezTo>
                        <a:cubicBezTo>
                          <a:pt x="30" y="275"/>
                          <a:pt x="37" y="280"/>
                          <a:pt x="45" y="280"/>
                        </a:cubicBezTo>
                        <a:cubicBezTo>
                          <a:pt x="169" y="280"/>
                          <a:pt x="169" y="280"/>
                          <a:pt x="169" y="280"/>
                        </a:cubicBezTo>
                        <a:cubicBezTo>
                          <a:pt x="177" y="280"/>
                          <a:pt x="185" y="275"/>
                          <a:pt x="185" y="265"/>
                        </a:cubicBezTo>
                        <a:lnTo>
                          <a:pt x="185" y="253"/>
                        </a:lnTo>
                        <a:close/>
                        <a:moveTo>
                          <a:pt x="169" y="264"/>
                        </a:moveTo>
                        <a:cubicBezTo>
                          <a:pt x="45" y="264"/>
                          <a:pt x="45" y="264"/>
                          <a:pt x="45" y="264"/>
                        </a:cubicBezTo>
                        <a:cubicBezTo>
                          <a:pt x="45" y="264"/>
                          <a:pt x="45" y="264"/>
                          <a:pt x="45" y="264"/>
                        </a:cubicBezTo>
                        <a:cubicBezTo>
                          <a:pt x="45" y="255"/>
                          <a:pt x="45" y="255"/>
                          <a:pt x="45" y="255"/>
                        </a:cubicBezTo>
                        <a:cubicBezTo>
                          <a:pt x="45" y="255"/>
                          <a:pt x="45" y="255"/>
                          <a:pt x="45" y="255"/>
                        </a:cubicBezTo>
                        <a:cubicBezTo>
                          <a:pt x="169" y="255"/>
                          <a:pt x="169" y="255"/>
                          <a:pt x="169" y="255"/>
                        </a:cubicBezTo>
                        <a:lnTo>
                          <a:pt x="169" y="264"/>
                        </a:lnTo>
                        <a:close/>
                        <a:moveTo>
                          <a:pt x="185" y="201"/>
                        </a:moveTo>
                        <a:cubicBezTo>
                          <a:pt x="185" y="192"/>
                          <a:pt x="177" y="186"/>
                          <a:pt x="169" y="186"/>
                        </a:cubicBezTo>
                        <a:cubicBezTo>
                          <a:pt x="45" y="186"/>
                          <a:pt x="45" y="186"/>
                          <a:pt x="45" y="186"/>
                        </a:cubicBezTo>
                        <a:cubicBezTo>
                          <a:pt x="37" y="186"/>
                          <a:pt x="30" y="192"/>
                          <a:pt x="29" y="201"/>
                        </a:cubicBezTo>
                        <a:cubicBezTo>
                          <a:pt x="29" y="213"/>
                          <a:pt x="29" y="213"/>
                          <a:pt x="29" y="213"/>
                        </a:cubicBezTo>
                        <a:cubicBezTo>
                          <a:pt x="30" y="222"/>
                          <a:pt x="37" y="228"/>
                          <a:pt x="45" y="228"/>
                        </a:cubicBezTo>
                        <a:cubicBezTo>
                          <a:pt x="169" y="228"/>
                          <a:pt x="169" y="228"/>
                          <a:pt x="169" y="228"/>
                        </a:cubicBezTo>
                        <a:cubicBezTo>
                          <a:pt x="177" y="228"/>
                          <a:pt x="184" y="222"/>
                          <a:pt x="185" y="213"/>
                        </a:cubicBezTo>
                        <a:lnTo>
                          <a:pt x="185" y="201"/>
                        </a:lnTo>
                        <a:close/>
                        <a:moveTo>
                          <a:pt x="169" y="212"/>
                        </a:moveTo>
                        <a:cubicBezTo>
                          <a:pt x="45" y="212"/>
                          <a:pt x="45" y="212"/>
                          <a:pt x="45" y="212"/>
                        </a:cubicBezTo>
                        <a:cubicBezTo>
                          <a:pt x="45" y="212"/>
                          <a:pt x="45" y="212"/>
                          <a:pt x="45" y="212"/>
                        </a:cubicBezTo>
                        <a:cubicBezTo>
                          <a:pt x="45" y="202"/>
                          <a:pt x="45" y="202"/>
                          <a:pt x="45" y="202"/>
                        </a:cubicBezTo>
                        <a:cubicBezTo>
                          <a:pt x="45" y="202"/>
                          <a:pt x="45" y="202"/>
                          <a:pt x="45" y="202"/>
                        </a:cubicBezTo>
                        <a:cubicBezTo>
                          <a:pt x="169" y="202"/>
                          <a:pt x="169" y="202"/>
                          <a:pt x="169" y="202"/>
                        </a:cubicBezTo>
                        <a:lnTo>
                          <a:pt x="169" y="212"/>
                        </a:lnTo>
                        <a:close/>
                        <a:moveTo>
                          <a:pt x="185" y="148"/>
                        </a:moveTo>
                        <a:cubicBezTo>
                          <a:pt x="184" y="139"/>
                          <a:pt x="177" y="134"/>
                          <a:pt x="169" y="134"/>
                        </a:cubicBezTo>
                        <a:cubicBezTo>
                          <a:pt x="45" y="134"/>
                          <a:pt x="45" y="134"/>
                          <a:pt x="45" y="134"/>
                        </a:cubicBezTo>
                        <a:cubicBezTo>
                          <a:pt x="37" y="134"/>
                          <a:pt x="30" y="139"/>
                          <a:pt x="29" y="148"/>
                        </a:cubicBezTo>
                        <a:cubicBezTo>
                          <a:pt x="29" y="161"/>
                          <a:pt x="29" y="161"/>
                          <a:pt x="29" y="161"/>
                        </a:cubicBezTo>
                        <a:cubicBezTo>
                          <a:pt x="30" y="170"/>
                          <a:pt x="37" y="175"/>
                          <a:pt x="45" y="175"/>
                        </a:cubicBezTo>
                        <a:cubicBezTo>
                          <a:pt x="169" y="175"/>
                          <a:pt x="169" y="175"/>
                          <a:pt x="169" y="175"/>
                        </a:cubicBezTo>
                        <a:cubicBezTo>
                          <a:pt x="177" y="175"/>
                          <a:pt x="185" y="170"/>
                          <a:pt x="185" y="161"/>
                        </a:cubicBezTo>
                        <a:lnTo>
                          <a:pt x="185" y="148"/>
                        </a:lnTo>
                        <a:close/>
                        <a:moveTo>
                          <a:pt x="169" y="159"/>
                        </a:moveTo>
                        <a:cubicBezTo>
                          <a:pt x="45" y="159"/>
                          <a:pt x="45" y="159"/>
                          <a:pt x="45" y="159"/>
                        </a:cubicBezTo>
                        <a:cubicBezTo>
                          <a:pt x="45" y="159"/>
                          <a:pt x="45" y="159"/>
                          <a:pt x="45" y="159"/>
                        </a:cubicBezTo>
                        <a:cubicBezTo>
                          <a:pt x="45" y="150"/>
                          <a:pt x="45" y="150"/>
                          <a:pt x="45" y="150"/>
                        </a:cubicBezTo>
                        <a:cubicBezTo>
                          <a:pt x="45" y="150"/>
                          <a:pt x="45" y="150"/>
                          <a:pt x="45" y="150"/>
                        </a:cubicBezTo>
                        <a:cubicBezTo>
                          <a:pt x="169" y="150"/>
                          <a:pt x="169" y="150"/>
                          <a:pt x="169" y="150"/>
                        </a:cubicBezTo>
                        <a:lnTo>
                          <a:pt x="169" y="159"/>
                        </a:lnTo>
                        <a:close/>
                        <a:moveTo>
                          <a:pt x="185" y="96"/>
                        </a:moveTo>
                        <a:cubicBezTo>
                          <a:pt x="185" y="87"/>
                          <a:pt x="177" y="81"/>
                          <a:pt x="169" y="81"/>
                        </a:cubicBezTo>
                        <a:cubicBezTo>
                          <a:pt x="45" y="81"/>
                          <a:pt x="45" y="81"/>
                          <a:pt x="45" y="81"/>
                        </a:cubicBezTo>
                        <a:cubicBezTo>
                          <a:pt x="37" y="81"/>
                          <a:pt x="30" y="87"/>
                          <a:pt x="29" y="96"/>
                        </a:cubicBezTo>
                        <a:cubicBezTo>
                          <a:pt x="29" y="108"/>
                          <a:pt x="29" y="108"/>
                          <a:pt x="29" y="108"/>
                        </a:cubicBezTo>
                        <a:cubicBezTo>
                          <a:pt x="30" y="117"/>
                          <a:pt x="37" y="123"/>
                          <a:pt x="45" y="123"/>
                        </a:cubicBezTo>
                        <a:cubicBezTo>
                          <a:pt x="169" y="123"/>
                          <a:pt x="169" y="123"/>
                          <a:pt x="169" y="123"/>
                        </a:cubicBezTo>
                        <a:cubicBezTo>
                          <a:pt x="177" y="123"/>
                          <a:pt x="184" y="117"/>
                          <a:pt x="185" y="108"/>
                        </a:cubicBezTo>
                        <a:lnTo>
                          <a:pt x="185" y="96"/>
                        </a:lnTo>
                        <a:close/>
                        <a:moveTo>
                          <a:pt x="169" y="107"/>
                        </a:moveTo>
                        <a:cubicBezTo>
                          <a:pt x="45" y="107"/>
                          <a:pt x="45" y="107"/>
                          <a:pt x="45" y="107"/>
                        </a:cubicBezTo>
                        <a:cubicBezTo>
                          <a:pt x="45" y="107"/>
                          <a:pt x="45" y="107"/>
                          <a:pt x="45" y="107"/>
                        </a:cubicBezTo>
                        <a:cubicBezTo>
                          <a:pt x="45" y="97"/>
                          <a:pt x="45" y="97"/>
                          <a:pt x="45" y="97"/>
                        </a:cubicBezTo>
                        <a:cubicBezTo>
                          <a:pt x="45" y="97"/>
                          <a:pt x="45" y="97"/>
                          <a:pt x="45" y="97"/>
                        </a:cubicBezTo>
                        <a:cubicBezTo>
                          <a:pt x="169" y="97"/>
                          <a:pt x="169" y="97"/>
                          <a:pt x="169" y="97"/>
                        </a:cubicBezTo>
                        <a:lnTo>
                          <a:pt x="169" y="107"/>
                        </a:lnTo>
                        <a:close/>
                        <a:moveTo>
                          <a:pt x="185" y="44"/>
                        </a:moveTo>
                        <a:cubicBezTo>
                          <a:pt x="184" y="34"/>
                          <a:pt x="177" y="29"/>
                          <a:pt x="169" y="29"/>
                        </a:cubicBezTo>
                        <a:cubicBezTo>
                          <a:pt x="45" y="29"/>
                          <a:pt x="45" y="29"/>
                          <a:pt x="45" y="29"/>
                        </a:cubicBezTo>
                        <a:cubicBezTo>
                          <a:pt x="37" y="29"/>
                          <a:pt x="30" y="34"/>
                          <a:pt x="29" y="44"/>
                        </a:cubicBezTo>
                        <a:cubicBezTo>
                          <a:pt x="29" y="56"/>
                          <a:pt x="29" y="56"/>
                          <a:pt x="29" y="56"/>
                        </a:cubicBezTo>
                        <a:cubicBezTo>
                          <a:pt x="30" y="65"/>
                          <a:pt x="37" y="70"/>
                          <a:pt x="45" y="70"/>
                        </a:cubicBezTo>
                        <a:cubicBezTo>
                          <a:pt x="169" y="70"/>
                          <a:pt x="169" y="70"/>
                          <a:pt x="169" y="70"/>
                        </a:cubicBezTo>
                        <a:cubicBezTo>
                          <a:pt x="177" y="70"/>
                          <a:pt x="185" y="65"/>
                          <a:pt x="185" y="56"/>
                        </a:cubicBezTo>
                        <a:lnTo>
                          <a:pt x="185" y="44"/>
                        </a:lnTo>
                        <a:close/>
                        <a:moveTo>
                          <a:pt x="169" y="54"/>
                        </a:moveTo>
                        <a:cubicBezTo>
                          <a:pt x="45" y="54"/>
                          <a:pt x="45" y="54"/>
                          <a:pt x="45" y="54"/>
                        </a:cubicBezTo>
                        <a:cubicBezTo>
                          <a:pt x="45" y="54"/>
                          <a:pt x="45" y="54"/>
                          <a:pt x="45" y="54"/>
                        </a:cubicBezTo>
                        <a:cubicBezTo>
                          <a:pt x="45" y="45"/>
                          <a:pt x="45" y="45"/>
                          <a:pt x="45" y="45"/>
                        </a:cubicBezTo>
                        <a:cubicBezTo>
                          <a:pt x="45" y="45"/>
                          <a:pt x="45" y="45"/>
                          <a:pt x="45" y="45"/>
                        </a:cubicBezTo>
                        <a:cubicBezTo>
                          <a:pt x="169" y="45"/>
                          <a:pt x="169" y="45"/>
                          <a:pt x="169" y="45"/>
                        </a:cubicBezTo>
                        <a:lnTo>
                          <a:pt x="169" y="54"/>
                        </a:lnTo>
                        <a:close/>
                        <a:moveTo>
                          <a:pt x="212" y="88"/>
                        </a:moveTo>
                        <a:cubicBezTo>
                          <a:pt x="204" y="88"/>
                          <a:pt x="198" y="94"/>
                          <a:pt x="198" y="102"/>
                        </a:cubicBezTo>
                        <a:cubicBezTo>
                          <a:pt x="198" y="110"/>
                          <a:pt x="204" y="116"/>
                          <a:pt x="212" y="116"/>
                        </a:cubicBezTo>
                        <a:cubicBezTo>
                          <a:pt x="220" y="116"/>
                          <a:pt x="226" y="110"/>
                          <a:pt x="226" y="102"/>
                        </a:cubicBezTo>
                        <a:cubicBezTo>
                          <a:pt x="226" y="94"/>
                          <a:pt x="220" y="88"/>
                          <a:pt x="212" y="88"/>
                        </a:cubicBezTo>
                        <a:close/>
                        <a:moveTo>
                          <a:pt x="212" y="35"/>
                        </a:moveTo>
                        <a:cubicBezTo>
                          <a:pt x="204" y="35"/>
                          <a:pt x="198" y="42"/>
                          <a:pt x="198" y="50"/>
                        </a:cubicBezTo>
                        <a:cubicBezTo>
                          <a:pt x="198" y="57"/>
                          <a:pt x="204" y="64"/>
                          <a:pt x="212" y="64"/>
                        </a:cubicBezTo>
                        <a:cubicBezTo>
                          <a:pt x="220" y="64"/>
                          <a:pt x="226" y="57"/>
                          <a:pt x="226" y="50"/>
                        </a:cubicBezTo>
                        <a:cubicBezTo>
                          <a:pt x="226" y="42"/>
                          <a:pt x="220" y="35"/>
                          <a:pt x="212" y="35"/>
                        </a:cubicBezTo>
                        <a:close/>
                        <a:moveTo>
                          <a:pt x="212" y="140"/>
                        </a:moveTo>
                        <a:cubicBezTo>
                          <a:pt x="204" y="140"/>
                          <a:pt x="198" y="147"/>
                          <a:pt x="198" y="155"/>
                        </a:cubicBezTo>
                        <a:cubicBezTo>
                          <a:pt x="198" y="162"/>
                          <a:pt x="204" y="169"/>
                          <a:pt x="212" y="169"/>
                        </a:cubicBezTo>
                        <a:cubicBezTo>
                          <a:pt x="220" y="169"/>
                          <a:pt x="226" y="162"/>
                          <a:pt x="226" y="155"/>
                        </a:cubicBezTo>
                        <a:cubicBezTo>
                          <a:pt x="226" y="147"/>
                          <a:pt x="220" y="140"/>
                          <a:pt x="212" y="140"/>
                        </a:cubicBezTo>
                        <a:close/>
                        <a:moveTo>
                          <a:pt x="212" y="193"/>
                        </a:moveTo>
                        <a:cubicBezTo>
                          <a:pt x="204" y="193"/>
                          <a:pt x="198" y="199"/>
                          <a:pt x="198" y="207"/>
                        </a:cubicBezTo>
                        <a:cubicBezTo>
                          <a:pt x="198" y="215"/>
                          <a:pt x="204" y="221"/>
                          <a:pt x="212" y="221"/>
                        </a:cubicBezTo>
                        <a:cubicBezTo>
                          <a:pt x="220" y="221"/>
                          <a:pt x="226" y="215"/>
                          <a:pt x="226" y="207"/>
                        </a:cubicBezTo>
                        <a:cubicBezTo>
                          <a:pt x="226" y="199"/>
                          <a:pt x="220" y="193"/>
                          <a:pt x="212" y="193"/>
                        </a:cubicBezTo>
                        <a:close/>
                        <a:moveTo>
                          <a:pt x="212" y="245"/>
                        </a:moveTo>
                        <a:cubicBezTo>
                          <a:pt x="204" y="245"/>
                          <a:pt x="198" y="252"/>
                          <a:pt x="198" y="259"/>
                        </a:cubicBezTo>
                        <a:cubicBezTo>
                          <a:pt x="198" y="267"/>
                          <a:pt x="204" y="274"/>
                          <a:pt x="212" y="274"/>
                        </a:cubicBezTo>
                        <a:cubicBezTo>
                          <a:pt x="220" y="274"/>
                          <a:pt x="226" y="267"/>
                          <a:pt x="226" y="259"/>
                        </a:cubicBezTo>
                        <a:cubicBezTo>
                          <a:pt x="226" y="252"/>
                          <a:pt x="220" y="245"/>
                          <a:pt x="212" y="245"/>
                        </a:cubicBezTo>
                        <a:close/>
                        <a:moveTo>
                          <a:pt x="212" y="298"/>
                        </a:moveTo>
                        <a:cubicBezTo>
                          <a:pt x="204" y="298"/>
                          <a:pt x="198" y="304"/>
                          <a:pt x="198" y="312"/>
                        </a:cubicBezTo>
                        <a:cubicBezTo>
                          <a:pt x="198" y="320"/>
                          <a:pt x="204" y="326"/>
                          <a:pt x="212" y="326"/>
                        </a:cubicBezTo>
                        <a:cubicBezTo>
                          <a:pt x="220" y="326"/>
                          <a:pt x="226" y="320"/>
                          <a:pt x="226" y="312"/>
                        </a:cubicBezTo>
                        <a:cubicBezTo>
                          <a:pt x="226" y="304"/>
                          <a:pt x="220" y="298"/>
                          <a:pt x="212" y="298"/>
                        </a:cubicBezTo>
                        <a:close/>
                        <a:moveTo>
                          <a:pt x="212" y="350"/>
                        </a:moveTo>
                        <a:cubicBezTo>
                          <a:pt x="204" y="350"/>
                          <a:pt x="198" y="356"/>
                          <a:pt x="198" y="364"/>
                        </a:cubicBezTo>
                        <a:cubicBezTo>
                          <a:pt x="198" y="372"/>
                          <a:pt x="204" y="379"/>
                          <a:pt x="212" y="379"/>
                        </a:cubicBezTo>
                        <a:cubicBezTo>
                          <a:pt x="220" y="379"/>
                          <a:pt x="226" y="372"/>
                          <a:pt x="226" y="364"/>
                        </a:cubicBezTo>
                        <a:cubicBezTo>
                          <a:pt x="226" y="356"/>
                          <a:pt x="220" y="350"/>
                          <a:pt x="212" y="350"/>
                        </a:cubicBezTo>
                        <a:close/>
                        <a:moveTo>
                          <a:pt x="247" y="44"/>
                        </a:moveTo>
                        <a:cubicBezTo>
                          <a:pt x="251" y="44"/>
                          <a:pt x="255" y="41"/>
                          <a:pt x="255" y="36"/>
                        </a:cubicBezTo>
                        <a:cubicBezTo>
                          <a:pt x="255" y="16"/>
                          <a:pt x="255" y="16"/>
                          <a:pt x="255" y="16"/>
                        </a:cubicBezTo>
                        <a:cubicBezTo>
                          <a:pt x="255" y="7"/>
                          <a:pt x="248" y="0"/>
                          <a:pt x="239" y="0"/>
                        </a:cubicBezTo>
                        <a:cubicBezTo>
                          <a:pt x="16" y="0"/>
                          <a:pt x="16" y="0"/>
                          <a:pt x="16" y="0"/>
                        </a:cubicBezTo>
                        <a:cubicBezTo>
                          <a:pt x="7" y="0"/>
                          <a:pt x="0" y="7"/>
                          <a:pt x="0" y="16"/>
                        </a:cubicBezTo>
                        <a:cubicBezTo>
                          <a:pt x="0" y="396"/>
                          <a:pt x="0" y="396"/>
                          <a:pt x="0" y="396"/>
                        </a:cubicBezTo>
                        <a:cubicBezTo>
                          <a:pt x="0" y="405"/>
                          <a:pt x="7" y="412"/>
                          <a:pt x="16" y="412"/>
                        </a:cubicBezTo>
                        <a:cubicBezTo>
                          <a:pt x="239" y="412"/>
                          <a:pt x="239" y="412"/>
                          <a:pt x="239" y="412"/>
                        </a:cubicBezTo>
                        <a:cubicBezTo>
                          <a:pt x="248" y="412"/>
                          <a:pt x="255" y="405"/>
                          <a:pt x="255" y="396"/>
                        </a:cubicBezTo>
                        <a:cubicBezTo>
                          <a:pt x="255" y="60"/>
                          <a:pt x="255" y="60"/>
                          <a:pt x="255" y="60"/>
                        </a:cubicBezTo>
                        <a:cubicBezTo>
                          <a:pt x="255" y="56"/>
                          <a:pt x="251" y="52"/>
                          <a:pt x="247" y="52"/>
                        </a:cubicBezTo>
                        <a:cubicBezTo>
                          <a:pt x="242" y="52"/>
                          <a:pt x="239" y="56"/>
                          <a:pt x="239" y="60"/>
                        </a:cubicBezTo>
                        <a:cubicBezTo>
                          <a:pt x="239" y="396"/>
                          <a:pt x="239" y="396"/>
                          <a:pt x="239" y="396"/>
                        </a:cubicBezTo>
                        <a:cubicBezTo>
                          <a:pt x="16" y="396"/>
                          <a:pt x="16" y="396"/>
                          <a:pt x="16" y="396"/>
                        </a:cubicBezTo>
                        <a:cubicBezTo>
                          <a:pt x="16" y="396"/>
                          <a:pt x="16" y="396"/>
                          <a:pt x="16" y="396"/>
                        </a:cubicBezTo>
                        <a:cubicBezTo>
                          <a:pt x="16" y="16"/>
                          <a:pt x="16" y="16"/>
                          <a:pt x="16" y="16"/>
                        </a:cubicBezTo>
                        <a:cubicBezTo>
                          <a:pt x="16" y="16"/>
                          <a:pt x="16" y="16"/>
                          <a:pt x="16" y="16"/>
                        </a:cubicBezTo>
                        <a:cubicBezTo>
                          <a:pt x="239" y="16"/>
                          <a:pt x="239" y="16"/>
                          <a:pt x="239" y="16"/>
                        </a:cubicBezTo>
                        <a:cubicBezTo>
                          <a:pt x="239" y="36"/>
                          <a:pt x="239" y="36"/>
                          <a:pt x="239" y="36"/>
                        </a:cubicBezTo>
                        <a:cubicBezTo>
                          <a:pt x="239" y="41"/>
                          <a:pt x="242" y="44"/>
                          <a:pt x="247" y="44"/>
                        </a:cubicBezTo>
                        <a:close/>
                      </a:path>
                    </a:pathLst>
                  </a:custGeom>
                  <a:solidFill>
                    <a:srgbClr val="58585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</p:grpSp>
        </p:grpSp>
      </p:grpSp>
      <p:sp>
        <p:nvSpPr>
          <p:cNvPr id="74" name="Rounded Rectangle 73"/>
          <p:cNvSpPr>
            <a:spLocks noChangeArrowheads="1"/>
          </p:cNvSpPr>
          <p:nvPr/>
        </p:nvSpPr>
        <p:spPr bwMode="auto">
          <a:xfrm>
            <a:off x="376252" y="1447800"/>
            <a:ext cx="1430337" cy="533400"/>
          </a:xfrm>
          <a:prstGeom prst="roundRect">
            <a:avLst>
              <a:gd name="adj" fmla="val 16667"/>
            </a:avLst>
          </a:prstGeom>
          <a:blipFill dpi="0" rotWithShape="1">
            <a:blip r:embed="rId3"/>
            <a:srcRect/>
            <a:stretch>
              <a:fillRect/>
            </a:stretch>
          </a:blipFill>
          <a:ln w="25400">
            <a:solidFill>
              <a:srgbClr val="FFFFFF"/>
            </a:solidFill>
            <a:round/>
            <a:headEnd/>
            <a:tailEnd/>
          </a:ln>
        </p:spPr>
        <p:txBody>
          <a:bodyPr wrap="none" lIns="72000" rIns="72000" bIns="0" anchor="ctr"/>
          <a:lstStyle/>
          <a:p>
            <a:pPr algn="ctr">
              <a:spcBef>
                <a:spcPct val="50000"/>
              </a:spcBef>
              <a:defRPr/>
            </a:pPr>
            <a:r>
              <a:rPr lang="en-AU" sz="1000" b="1" i="1" dirty="0">
                <a:solidFill>
                  <a:srgbClr val="FFFFFF"/>
                </a:solidFill>
                <a:latin typeface="+mn-lt"/>
                <a:ea typeface="+mn-ea"/>
              </a:rPr>
              <a:t>CTO</a:t>
            </a:r>
          </a:p>
        </p:txBody>
      </p:sp>
      <p:grpSp>
        <p:nvGrpSpPr>
          <p:cNvPr id="123001" name="Group 121"/>
          <p:cNvGrpSpPr>
            <a:grpSpLocks/>
          </p:cNvGrpSpPr>
          <p:nvPr/>
        </p:nvGrpSpPr>
        <p:grpSpPr bwMode="auto">
          <a:xfrm>
            <a:off x="3598865" y="1401763"/>
            <a:ext cx="3089275" cy="5141912"/>
            <a:chOff x="2258" y="883"/>
            <a:chExt cx="1946" cy="3239"/>
          </a:xfrm>
        </p:grpSpPr>
        <p:sp>
          <p:nvSpPr>
            <p:cNvPr id="85" name="Rounded Rectangle 84"/>
            <p:cNvSpPr>
              <a:spLocks noChangeArrowheads="1"/>
            </p:cNvSpPr>
            <p:nvPr/>
          </p:nvSpPr>
          <p:spPr bwMode="auto">
            <a:xfrm>
              <a:off x="2258" y="883"/>
              <a:ext cx="1946" cy="1847"/>
            </a:xfrm>
            <a:prstGeom prst="roundRect">
              <a:avLst>
                <a:gd name="adj" fmla="val 1356"/>
              </a:avLst>
            </a:prstGeom>
            <a:blipFill dpi="0" rotWithShape="1">
              <a:blip r:embed="rId4"/>
              <a:srcRect/>
              <a:stretch>
                <a:fillRect/>
              </a:stretch>
            </a:blip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lIns="72000" tIns="72000" rIns="72000" bIns="0"/>
            <a:lstStyle/>
            <a:p>
              <a:pPr marL="3175" algn="ctr" eaLnBrk="0" hangingPunct="0">
                <a:spcBef>
                  <a:spcPct val="50000"/>
                </a:spcBef>
              </a:pPr>
              <a:endParaRPr lang="en-AU" sz="1600" b="1" i="1">
                <a:solidFill>
                  <a:srgbClr val="FFFFFF"/>
                </a:solidFill>
              </a:endParaRPr>
            </a:p>
          </p:txBody>
        </p:sp>
        <p:grpSp>
          <p:nvGrpSpPr>
            <p:cNvPr id="122982" name="Group 102"/>
            <p:cNvGrpSpPr>
              <a:grpSpLocks/>
            </p:cNvGrpSpPr>
            <p:nvPr/>
          </p:nvGrpSpPr>
          <p:grpSpPr bwMode="auto">
            <a:xfrm>
              <a:off x="2304" y="1338"/>
              <a:ext cx="1792" cy="2784"/>
              <a:chOff x="2304" y="1338"/>
              <a:chExt cx="1792" cy="2784"/>
            </a:xfrm>
          </p:grpSpPr>
          <p:sp>
            <p:nvSpPr>
              <p:cNvPr id="84" name="Rounded Rectangle 83"/>
              <p:cNvSpPr/>
              <p:nvPr/>
            </p:nvSpPr>
            <p:spPr bwMode="auto">
              <a:xfrm>
                <a:off x="2304" y="3212"/>
                <a:ext cx="1792" cy="910"/>
              </a:xfrm>
              <a:prstGeom prst="roundRect">
                <a:avLst>
                  <a:gd name="adj" fmla="val 6012"/>
                </a:avLst>
              </a:prstGeom>
              <a:ln w="25400" cap="flat" cmpd="sng" algn="ctr">
                <a:solidFill>
                  <a:srgbClr val="00285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lIns="36000" tIns="108000" rIns="36000" anchor="ctr"/>
              <a:lstStyle/>
              <a:p>
                <a:pPr algn="ctr">
                  <a:spcBef>
                    <a:spcPct val="50000"/>
                  </a:spcBef>
                  <a:spcAft>
                    <a:spcPts val="300"/>
                  </a:spcAft>
                </a:pPr>
                <a:r>
                  <a:rPr lang="en-AU" b="1" dirty="0">
                    <a:solidFill>
                      <a:srgbClr val="00A9D4"/>
                    </a:solidFill>
                    <a:ea typeface="MS PGothic" pitchFamily="34" charset="-128"/>
                    <a:cs typeface="Arial" pitchFamily="34" charset="0"/>
                  </a:rPr>
                  <a:t>Evolving </a:t>
                </a:r>
                <a:r>
                  <a:rPr lang="en-AU" b="1" dirty="0" smtClean="0">
                    <a:solidFill>
                      <a:srgbClr val="00A9D4"/>
                    </a:solidFill>
                    <a:ea typeface="MS PGothic" pitchFamily="34" charset="-128"/>
                    <a:cs typeface="Arial" pitchFamily="34" charset="0"/>
                  </a:rPr>
                  <a:t>internal </a:t>
                </a:r>
                <a:r>
                  <a:rPr lang="en-AU" b="1" dirty="0">
                    <a:solidFill>
                      <a:srgbClr val="00A9D4"/>
                    </a:solidFill>
                    <a:ea typeface="MS PGothic" pitchFamily="34" charset="-128"/>
                    <a:cs typeface="Arial" pitchFamily="34" charset="0"/>
                  </a:rPr>
                  <a:t>OSS/BSS environments to leverage Cloud</a:t>
                </a:r>
              </a:p>
            </p:txBody>
          </p:sp>
          <p:grpSp>
            <p:nvGrpSpPr>
              <p:cNvPr id="122979" name="Group 99"/>
              <p:cNvGrpSpPr>
                <a:grpSpLocks/>
              </p:cNvGrpSpPr>
              <p:nvPr/>
            </p:nvGrpSpPr>
            <p:grpSpPr bwMode="auto">
              <a:xfrm>
                <a:off x="2340" y="1338"/>
                <a:ext cx="1728" cy="912"/>
                <a:chOff x="2322" y="1338"/>
                <a:chExt cx="1728" cy="912"/>
              </a:xfrm>
            </p:grpSpPr>
            <p:sp>
              <p:nvSpPr>
                <p:cNvPr id="87" name="Rounded Rectangle 86"/>
                <p:cNvSpPr/>
                <p:nvPr/>
              </p:nvSpPr>
              <p:spPr bwMode="auto">
                <a:xfrm>
                  <a:off x="2322" y="1338"/>
                  <a:ext cx="1728" cy="912"/>
                </a:xfrm>
                <a:prstGeom prst="roundRect">
                  <a:avLst>
                    <a:gd name="adj" fmla="val 3718"/>
                  </a:avLst>
                </a:prstGeom>
                <a:solidFill>
                  <a:srgbClr val="FFFFFF"/>
                </a:solidFill>
                <a:ln w="25400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style>
                <a:lnRef idx="2">
                  <a:schemeClr val="accent4"/>
                </a:lnRef>
                <a:fillRef idx="1">
                  <a:schemeClr val="lt1"/>
                </a:fillRef>
                <a:effectRef idx="0">
                  <a:schemeClr val="accent4"/>
                </a:effectRef>
                <a:fontRef idx="minor">
                  <a:schemeClr val="dk1"/>
                </a:fontRef>
              </p:style>
              <p:txBody>
                <a:bodyPr lIns="72000" rIns="72000" bIns="0" anchor="b"/>
                <a:lstStyle/>
                <a:p>
                  <a:pPr algn="ctr">
                    <a:spcBef>
                      <a:spcPct val="50000"/>
                    </a:spcBef>
                    <a:defRPr/>
                  </a:pPr>
                  <a:r>
                    <a:rPr lang="en-AU" sz="1050" b="1" i="1" dirty="0">
                      <a:solidFill>
                        <a:srgbClr val="000000"/>
                      </a:solidFill>
                    </a:rPr>
                    <a:t>Operator Business Support Systems</a:t>
                  </a:r>
                </a:p>
              </p:txBody>
            </p:sp>
            <p:grpSp>
              <p:nvGrpSpPr>
                <p:cNvPr id="10267" name="Group 2"/>
                <p:cNvGrpSpPr>
                  <a:grpSpLocks/>
                </p:cNvGrpSpPr>
                <p:nvPr/>
              </p:nvGrpSpPr>
              <p:grpSpPr bwMode="auto">
                <a:xfrm>
                  <a:off x="2415" y="1434"/>
                  <a:ext cx="1172" cy="528"/>
                  <a:chOff x="-2133600" y="1295400"/>
                  <a:chExt cx="1447799" cy="837662"/>
                </a:xfrm>
                <a:solidFill>
                  <a:schemeClr val="accent2"/>
                </a:solidFill>
              </p:grpSpPr>
              <p:sp>
                <p:nvSpPr>
                  <p:cNvPr id="4" name="L-Shape 3"/>
                  <p:cNvSpPr>
                    <a:spLocks/>
                  </p:cNvSpPr>
                  <p:nvPr/>
                </p:nvSpPr>
                <p:spPr bwMode="auto">
                  <a:xfrm>
                    <a:off x="-2134308" y="1295400"/>
                    <a:ext cx="1437216" cy="838200"/>
                  </a:xfrm>
                  <a:custGeom>
                    <a:avLst/>
                    <a:gdLst>
                      <a:gd name="T0" fmla="*/ 0 w 1437216"/>
                      <a:gd name="T1" fmla="*/ 0 h 838200"/>
                      <a:gd name="T2" fmla="*/ 400064 w 1437216"/>
                      <a:gd name="T3" fmla="*/ 0 h 838200"/>
                      <a:gd name="T4" fmla="*/ 400064 w 1437216"/>
                      <a:gd name="T5" fmla="*/ 454170 h 838200"/>
                      <a:gd name="T6" fmla="*/ 1437216 w 1437216"/>
                      <a:gd name="T7" fmla="*/ 454170 h 838200"/>
                      <a:gd name="T8" fmla="*/ 1437216 w 1437216"/>
                      <a:gd name="T9" fmla="*/ 838200 h 838200"/>
                      <a:gd name="T10" fmla="*/ 0 w 1437216"/>
                      <a:gd name="T11" fmla="*/ 838200 h 838200"/>
                      <a:gd name="T12" fmla="*/ 0 w 1437216"/>
                      <a:gd name="T13" fmla="*/ 0 h 838200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0" t="0" r="r" b="b"/>
                    <a:pathLst>
                      <a:path w="1437216" h="838200">
                        <a:moveTo>
                          <a:pt x="0" y="0"/>
                        </a:moveTo>
                        <a:lnTo>
                          <a:pt x="400064" y="0"/>
                        </a:lnTo>
                        <a:lnTo>
                          <a:pt x="400064" y="454170"/>
                        </a:lnTo>
                        <a:lnTo>
                          <a:pt x="1437216" y="454170"/>
                        </a:lnTo>
                        <a:lnTo>
                          <a:pt x="1437216" y="838200"/>
                        </a:lnTo>
                        <a:lnTo>
                          <a:pt x="0" y="83820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>
                    <a:outerShdw blurRad="40000" dist="20000" dir="5400000" rotWithShape="0">
                      <a:srgbClr val="000000">
                        <a:alpha val="37999"/>
                      </a:srgbClr>
                    </a:outerShdw>
                  </a:effectLst>
                  <a:extLst>
                    <a:ext uri="{91240B29-F687-4F45-9708-019B960494DF}">
                      <a14:hiddenLine xmlns:a14="http://schemas.microsoft.com/office/drawing/2010/main" w="9525" cap="flat" cmpd="sng" algn="ctr">
                        <a:solidFill>
                          <a:prstClr val="black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14:hiddenLine>
                    </a:ext>
                  </a:extLst>
                </p:spPr>
                <p:txBody>
                  <a:bodyPr wrap="none" lIns="72000" rIns="72000" anchor="ctr"/>
                  <a:lstStyle/>
                  <a:p>
                    <a:pPr algn="ctr">
                      <a:spcBef>
                        <a:spcPct val="50000"/>
                      </a:spcBef>
                      <a:defRPr/>
                    </a:pPr>
                    <a:endParaRPr lang="en-AU" sz="1000" b="1" i="1">
                      <a:solidFill>
                        <a:srgbClr val="000000"/>
                      </a:solidFill>
                      <a:ea typeface="+mn-ea"/>
                    </a:endParaRPr>
                  </a:p>
                </p:txBody>
              </p:sp>
              <p:sp>
                <p:nvSpPr>
                  <p:cNvPr id="10278" name="TextBox 6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-1828800" y="1752600"/>
                    <a:ext cx="1142999" cy="338554"/>
                  </a:xfrm>
                  <a:prstGeom prst="rect">
                    <a:avLst/>
                  </a:prstGeom>
                  <a:grpFill/>
                  <a:ln w="9525" cap="flat" cmpd="sng" algn="ctr">
                    <a:noFill/>
                    <a:prstDash val="solid"/>
                    <a:miter lim="800000"/>
                    <a:headEnd type="none" w="med" len="med"/>
                    <a:tailEnd type="none" w="med" len="med"/>
                  </a:ln>
                  <a:extLst>
                    <a:ext uri="{91240B29-F687-4F45-9708-019B960494DF}">
                      <a14:hiddenLine xmlns:a14="http://schemas.microsoft.com/office/drawing/2010/main" w="9525" cap="flat" cmpd="sng" algn="ctr">
                        <a:solidFill>
                          <a:srgbClr val="FFFFFF"/>
                        </a:solidFill>
                        <a:prstDash val="solid"/>
                        <a:miter lim="800000"/>
                        <a:headEnd type="none" w="med" len="med"/>
                        <a:tailEnd type="none" w="med" len="med"/>
                      </a14:hiddenLine>
                    </a:ext>
                  </a:extLst>
                </p:spPr>
                <p:txBody>
                  <a:bodyPr anchor="ctr">
                    <a:spAutoFit/>
                  </a:bodyPr>
                  <a:lstStyle>
                    <a:lvl1pPr eaLnBrk="0" hangingPunct="0">
                      <a:spcBef>
                        <a:spcPct val="50000"/>
                      </a:spcBef>
                      <a:defRPr sz="20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spcBef>
                        <a:spcPct val="50000"/>
                      </a:spcBef>
                      <a:defRPr sz="20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spcBef>
                        <a:spcPct val="50000"/>
                      </a:spcBef>
                      <a:defRPr sz="20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spcBef>
                        <a:spcPct val="50000"/>
                      </a:spcBef>
                      <a:defRPr sz="20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spcBef>
                        <a:spcPct val="50000"/>
                      </a:spcBef>
                      <a:defRPr sz="20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  <a:defRPr sz="20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  <a:defRPr sz="20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  <a:defRPr sz="20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  <a:defRPr sz="20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pPr algn="ctr" eaLnBrk="1" hangingPunct="1">
                      <a:defRPr/>
                    </a:pPr>
                    <a:r>
                      <a:rPr lang="en-AU" sz="1600" b="1" i="1" dirty="0">
                        <a:solidFill>
                          <a:srgbClr val="000000"/>
                        </a:solidFill>
                        <a:ea typeface="ＭＳ Ｐゴシック" pitchFamily="34" charset="-128"/>
                      </a:rPr>
                      <a:t>OSS</a:t>
                    </a:r>
                  </a:p>
                </p:txBody>
              </p:sp>
            </p:grpSp>
            <p:grpSp>
              <p:nvGrpSpPr>
                <p:cNvPr id="122923" name="Group 6"/>
                <p:cNvGrpSpPr>
                  <a:grpSpLocks/>
                </p:cNvGrpSpPr>
                <p:nvPr/>
              </p:nvGrpSpPr>
              <p:grpSpPr bwMode="auto">
                <a:xfrm>
                  <a:off x="2477" y="1770"/>
                  <a:ext cx="301" cy="140"/>
                  <a:chOff x="4881801" y="4742270"/>
                  <a:chExt cx="458561" cy="288060"/>
                </a:xfrm>
              </p:grpSpPr>
              <p:sp>
                <p:nvSpPr>
                  <p:cNvPr id="122924" name="Freeform 8"/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5131104" y="4742378"/>
                    <a:ext cx="209258" cy="287952"/>
                  </a:xfrm>
                  <a:custGeom>
                    <a:avLst/>
                    <a:gdLst>
                      <a:gd name="T0" fmla="*/ 2147483647 w 255"/>
                      <a:gd name="T1" fmla="*/ 2147483647 h 412"/>
                      <a:gd name="T2" fmla="*/ 2147483647 w 255"/>
                      <a:gd name="T3" fmla="*/ 2147483647 h 412"/>
                      <a:gd name="T4" fmla="*/ 2147483647 w 255"/>
                      <a:gd name="T5" fmla="*/ 2147483647 h 412"/>
                      <a:gd name="T6" fmla="*/ 2147483647 w 255"/>
                      <a:gd name="T7" fmla="*/ 2147483647 h 412"/>
                      <a:gd name="T8" fmla="*/ 2147483647 w 255"/>
                      <a:gd name="T9" fmla="*/ 2147483647 h 412"/>
                      <a:gd name="T10" fmla="*/ 2147483647 w 255"/>
                      <a:gd name="T11" fmla="*/ 2147483647 h 412"/>
                      <a:gd name="T12" fmla="*/ 2147483647 w 255"/>
                      <a:gd name="T13" fmla="*/ 2147483647 h 412"/>
                      <a:gd name="T14" fmla="*/ 2147483647 w 255"/>
                      <a:gd name="T15" fmla="*/ 2147483647 h 412"/>
                      <a:gd name="T16" fmla="*/ 2147483647 w 255"/>
                      <a:gd name="T17" fmla="*/ 2147483647 h 412"/>
                      <a:gd name="T18" fmla="*/ 2147483647 w 255"/>
                      <a:gd name="T19" fmla="*/ 2147483647 h 412"/>
                      <a:gd name="T20" fmla="*/ 2147483647 w 255"/>
                      <a:gd name="T21" fmla="*/ 2147483647 h 412"/>
                      <a:gd name="T22" fmla="*/ 2147483647 w 255"/>
                      <a:gd name="T23" fmla="*/ 2147483647 h 412"/>
                      <a:gd name="T24" fmla="*/ 2147483647 w 255"/>
                      <a:gd name="T25" fmla="*/ 2147483647 h 412"/>
                      <a:gd name="T26" fmla="*/ 2147483647 w 255"/>
                      <a:gd name="T27" fmla="*/ 2147483647 h 412"/>
                      <a:gd name="T28" fmla="*/ 2147483647 w 255"/>
                      <a:gd name="T29" fmla="*/ 2147483647 h 412"/>
                      <a:gd name="T30" fmla="*/ 2147483647 w 255"/>
                      <a:gd name="T31" fmla="*/ 2147483647 h 412"/>
                      <a:gd name="T32" fmla="*/ 2147483647 w 255"/>
                      <a:gd name="T33" fmla="*/ 2147483647 h 412"/>
                      <a:gd name="T34" fmla="*/ 2147483647 w 255"/>
                      <a:gd name="T35" fmla="*/ 2147483647 h 412"/>
                      <a:gd name="T36" fmla="*/ 2147483647 w 255"/>
                      <a:gd name="T37" fmla="*/ 2147483647 h 412"/>
                      <a:gd name="T38" fmla="*/ 2147483647 w 255"/>
                      <a:gd name="T39" fmla="*/ 2147483647 h 412"/>
                      <a:gd name="T40" fmla="*/ 2147483647 w 255"/>
                      <a:gd name="T41" fmla="*/ 2147483647 h 412"/>
                      <a:gd name="T42" fmla="*/ 2147483647 w 255"/>
                      <a:gd name="T43" fmla="*/ 2147483647 h 412"/>
                      <a:gd name="T44" fmla="*/ 2147483647 w 255"/>
                      <a:gd name="T45" fmla="*/ 2147483647 h 412"/>
                      <a:gd name="T46" fmla="*/ 2147483647 w 255"/>
                      <a:gd name="T47" fmla="*/ 2147483647 h 412"/>
                      <a:gd name="T48" fmla="*/ 2147483647 w 255"/>
                      <a:gd name="T49" fmla="*/ 2147483647 h 412"/>
                      <a:gd name="T50" fmla="*/ 2147483647 w 255"/>
                      <a:gd name="T51" fmla="*/ 2147483647 h 412"/>
                      <a:gd name="T52" fmla="*/ 2147483647 w 255"/>
                      <a:gd name="T53" fmla="*/ 2147483647 h 412"/>
                      <a:gd name="T54" fmla="*/ 2147483647 w 255"/>
                      <a:gd name="T55" fmla="*/ 2147483647 h 412"/>
                      <a:gd name="T56" fmla="*/ 2147483647 w 255"/>
                      <a:gd name="T57" fmla="*/ 2147483647 h 412"/>
                      <a:gd name="T58" fmla="*/ 2147483647 w 255"/>
                      <a:gd name="T59" fmla="*/ 2147483647 h 412"/>
                      <a:gd name="T60" fmla="*/ 2147483647 w 255"/>
                      <a:gd name="T61" fmla="*/ 2147483647 h 412"/>
                      <a:gd name="T62" fmla="*/ 2147483647 w 255"/>
                      <a:gd name="T63" fmla="*/ 2147483647 h 412"/>
                      <a:gd name="T64" fmla="*/ 2147483647 w 255"/>
                      <a:gd name="T65" fmla="*/ 2147483647 h 412"/>
                      <a:gd name="T66" fmla="*/ 2147483647 w 255"/>
                      <a:gd name="T67" fmla="*/ 2147483647 h 412"/>
                      <a:gd name="T68" fmla="*/ 2147483647 w 255"/>
                      <a:gd name="T69" fmla="*/ 2147483647 h 412"/>
                      <a:gd name="T70" fmla="*/ 2147483647 w 255"/>
                      <a:gd name="T71" fmla="*/ 2147483647 h 412"/>
                      <a:gd name="T72" fmla="*/ 2147483647 w 255"/>
                      <a:gd name="T73" fmla="*/ 2147483647 h 412"/>
                      <a:gd name="T74" fmla="*/ 2147483647 w 255"/>
                      <a:gd name="T75" fmla="*/ 2147483647 h 412"/>
                      <a:gd name="T76" fmla="*/ 2147483647 w 255"/>
                      <a:gd name="T77" fmla="*/ 2147483647 h 412"/>
                      <a:gd name="T78" fmla="*/ 2147483647 w 255"/>
                      <a:gd name="T79" fmla="*/ 2147483647 h 412"/>
                      <a:gd name="T80" fmla="*/ 2147483647 w 255"/>
                      <a:gd name="T81" fmla="*/ 2147483647 h 412"/>
                      <a:gd name="T82" fmla="*/ 2147483647 w 255"/>
                      <a:gd name="T83" fmla="*/ 2147483647 h 412"/>
                      <a:gd name="T84" fmla="*/ 2147483647 w 255"/>
                      <a:gd name="T85" fmla="*/ 2147483647 h 412"/>
                      <a:gd name="T86" fmla="*/ 2147483647 w 255"/>
                      <a:gd name="T87" fmla="*/ 2147483647 h 412"/>
                      <a:gd name="T88" fmla="*/ 2147483647 w 255"/>
                      <a:gd name="T89" fmla="*/ 2147483647 h 412"/>
                      <a:gd name="T90" fmla="*/ 2147483647 w 255"/>
                      <a:gd name="T91" fmla="*/ 2147483647 h 412"/>
                      <a:gd name="T92" fmla="*/ 2147483647 w 255"/>
                      <a:gd name="T93" fmla="*/ 2147483647 h 412"/>
                      <a:gd name="T94" fmla="*/ 2147483647 w 255"/>
                      <a:gd name="T95" fmla="*/ 2147483647 h 412"/>
                      <a:gd name="T96" fmla="*/ 2147483647 w 255"/>
                      <a:gd name="T97" fmla="*/ 2147483647 h 412"/>
                      <a:gd name="T98" fmla="*/ 2147483647 w 255"/>
                      <a:gd name="T99" fmla="*/ 2147483647 h 412"/>
                      <a:gd name="T100" fmla="*/ 0 w 255"/>
                      <a:gd name="T101" fmla="*/ 2147483647 h 412"/>
                      <a:gd name="T102" fmla="*/ 2147483647 w 255"/>
                      <a:gd name="T103" fmla="*/ 2147483647 h 412"/>
                      <a:gd name="T104" fmla="*/ 2147483647 w 255"/>
                      <a:gd name="T105" fmla="*/ 2147483647 h 412"/>
                      <a:gd name="T106" fmla="*/ 2147483647 w 255"/>
                      <a:gd name="T107" fmla="*/ 2147483647 h 412"/>
                      <a:gd name="T108" fmla="*/ 2147483647 w 255"/>
                      <a:gd name="T109" fmla="*/ 2147483647 h 412"/>
                      <a:gd name="T110" fmla="*/ 2147483647 w 255"/>
                      <a:gd name="T111" fmla="*/ 2147483647 h 412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w 255"/>
                      <a:gd name="T169" fmla="*/ 0 h 412"/>
                      <a:gd name="T170" fmla="*/ 255 w 255"/>
                      <a:gd name="T171" fmla="*/ 412 h 412"/>
                    </a:gdLst>
                    <a:ahLst/>
                    <a:cxnLst>
                      <a:cxn ang="T112">
                        <a:pos x="T0" y="T1"/>
                      </a:cxn>
                      <a:cxn ang="T113">
                        <a:pos x="T2" y="T3"/>
                      </a:cxn>
                      <a:cxn ang="T114">
                        <a:pos x="T4" y="T5"/>
                      </a:cxn>
                      <a:cxn ang="T115">
                        <a:pos x="T6" y="T7"/>
                      </a:cxn>
                      <a:cxn ang="T116">
                        <a:pos x="T8" y="T9"/>
                      </a:cxn>
                      <a:cxn ang="T117">
                        <a:pos x="T10" y="T11"/>
                      </a:cxn>
                      <a:cxn ang="T118">
                        <a:pos x="T12" y="T13"/>
                      </a:cxn>
                      <a:cxn ang="T119">
                        <a:pos x="T14" y="T15"/>
                      </a:cxn>
                      <a:cxn ang="T120">
                        <a:pos x="T16" y="T17"/>
                      </a:cxn>
                      <a:cxn ang="T121">
                        <a:pos x="T18" y="T19"/>
                      </a:cxn>
                      <a:cxn ang="T122">
                        <a:pos x="T20" y="T21"/>
                      </a:cxn>
                      <a:cxn ang="T123">
                        <a:pos x="T22" y="T23"/>
                      </a:cxn>
                      <a:cxn ang="T124">
                        <a:pos x="T24" y="T25"/>
                      </a:cxn>
                      <a:cxn ang="T125">
                        <a:pos x="T26" y="T27"/>
                      </a:cxn>
                      <a:cxn ang="T126">
                        <a:pos x="T28" y="T29"/>
                      </a:cxn>
                      <a:cxn ang="T127">
                        <a:pos x="T30" y="T31"/>
                      </a:cxn>
                      <a:cxn ang="T128">
                        <a:pos x="T32" y="T33"/>
                      </a:cxn>
                      <a:cxn ang="T129">
                        <a:pos x="T34" y="T35"/>
                      </a:cxn>
                      <a:cxn ang="T130">
                        <a:pos x="T36" y="T37"/>
                      </a:cxn>
                      <a:cxn ang="T131">
                        <a:pos x="T38" y="T39"/>
                      </a:cxn>
                      <a:cxn ang="T132">
                        <a:pos x="T40" y="T41"/>
                      </a:cxn>
                      <a:cxn ang="T133">
                        <a:pos x="T42" y="T43"/>
                      </a:cxn>
                      <a:cxn ang="T134">
                        <a:pos x="T44" y="T45"/>
                      </a:cxn>
                      <a:cxn ang="T135">
                        <a:pos x="T46" y="T47"/>
                      </a:cxn>
                      <a:cxn ang="T136">
                        <a:pos x="T48" y="T49"/>
                      </a:cxn>
                      <a:cxn ang="T137">
                        <a:pos x="T50" y="T51"/>
                      </a:cxn>
                      <a:cxn ang="T138">
                        <a:pos x="T52" y="T53"/>
                      </a:cxn>
                      <a:cxn ang="T139">
                        <a:pos x="T54" y="T55"/>
                      </a:cxn>
                      <a:cxn ang="T140">
                        <a:pos x="T56" y="T57"/>
                      </a:cxn>
                      <a:cxn ang="T141">
                        <a:pos x="T58" y="T59"/>
                      </a:cxn>
                      <a:cxn ang="T142">
                        <a:pos x="T60" y="T61"/>
                      </a:cxn>
                      <a:cxn ang="T143">
                        <a:pos x="T62" y="T63"/>
                      </a:cxn>
                      <a:cxn ang="T144">
                        <a:pos x="T64" y="T65"/>
                      </a:cxn>
                      <a:cxn ang="T145">
                        <a:pos x="T66" y="T67"/>
                      </a:cxn>
                      <a:cxn ang="T146">
                        <a:pos x="T68" y="T69"/>
                      </a:cxn>
                      <a:cxn ang="T147">
                        <a:pos x="T70" y="T71"/>
                      </a:cxn>
                      <a:cxn ang="T148">
                        <a:pos x="T72" y="T73"/>
                      </a:cxn>
                      <a:cxn ang="T149">
                        <a:pos x="T74" y="T75"/>
                      </a:cxn>
                      <a:cxn ang="T150">
                        <a:pos x="T76" y="T77"/>
                      </a:cxn>
                      <a:cxn ang="T151">
                        <a:pos x="T78" y="T79"/>
                      </a:cxn>
                      <a:cxn ang="T152">
                        <a:pos x="T80" y="T81"/>
                      </a:cxn>
                      <a:cxn ang="T153">
                        <a:pos x="T82" y="T83"/>
                      </a:cxn>
                      <a:cxn ang="T154">
                        <a:pos x="T84" y="T85"/>
                      </a:cxn>
                      <a:cxn ang="T155">
                        <a:pos x="T86" y="T87"/>
                      </a:cxn>
                      <a:cxn ang="T156">
                        <a:pos x="T88" y="T89"/>
                      </a:cxn>
                      <a:cxn ang="T157">
                        <a:pos x="T90" y="T91"/>
                      </a:cxn>
                      <a:cxn ang="T158">
                        <a:pos x="T92" y="T93"/>
                      </a:cxn>
                      <a:cxn ang="T159">
                        <a:pos x="T94" y="T95"/>
                      </a:cxn>
                      <a:cxn ang="T160">
                        <a:pos x="T96" y="T97"/>
                      </a:cxn>
                      <a:cxn ang="T161">
                        <a:pos x="T98" y="T99"/>
                      </a:cxn>
                      <a:cxn ang="T162">
                        <a:pos x="T100" y="T101"/>
                      </a:cxn>
                      <a:cxn ang="T163">
                        <a:pos x="T102" y="T103"/>
                      </a:cxn>
                      <a:cxn ang="T164">
                        <a:pos x="T104" y="T105"/>
                      </a:cxn>
                      <a:cxn ang="T165">
                        <a:pos x="T106" y="T107"/>
                      </a:cxn>
                      <a:cxn ang="T166">
                        <a:pos x="T108" y="T109"/>
                      </a:cxn>
                      <a:cxn ang="T167">
                        <a:pos x="T110" y="T111"/>
                      </a:cxn>
                    </a:cxnLst>
                    <a:rect l="T168" t="T169" r="T170" b="T171"/>
                    <a:pathLst>
                      <a:path w="255" h="412">
                        <a:moveTo>
                          <a:pt x="169" y="344"/>
                        </a:moveTo>
                        <a:cubicBezTo>
                          <a:pt x="45" y="344"/>
                          <a:pt x="45" y="344"/>
                          <a:pt x="45" y="344"/>
                        </a:cubicBezTo>
                        <a:cubicBezTo>
                          <a:pt x="37" y="344"/>
                          <a:pt x="30" y="349"/>
                          <a:pt x="29" y="358"/>
                        </a:cubicBezTo>
                        <a:cubicBezTo>
                          <a:pt x="29" y="370"/>
                          <a:pt x="29" y="370"/>
                          <a:pt x="29" y="370"/>
                        </a:cubicBezTo>
                        <a:cubicBezTo>
                          <a:pt x="30" y="380"/>
                          <a:pt x="37" y="385"/>
                          <a:pt x="45" y="385"/>
                        </a:cubicBezTo>
                        <a:cubicBezTo>
                          <a:pt x="169" y="385"/>
                          <a:pt x="169" y="385"/>
                          <a:pt x="169" y="385"/>
                        </a:cubicBezTo>
                        <a:cubicBezTo>
                          <a:pt x="177" y="385"/>
                          <a:pt x="185" y="380"/>
                          <a:pt x="185" y="370"/>
                        </a:cubicBezTo>
                        <a:cubicBezTo>
                          <a:pt x="185" y="358"/>
                          <a:pt x="185" y="358"/>
                          <a:pt x="185" y="358"/>
                        </a:cubicBezTo>
                        <a:cubicBezTo>
                          <a:pt x="184" y="349"/>
                          <a:pt x="177" y="344"/>
                          <a:pt x="169" y="344"/>
                        </a:cubicBezTo>
                        <a:close/>
                        <a:moveTo>
                          <a:pt x="169" y="369"/>
                        </a:moveTo>
                        <a:cubicBezTo>
                          <a:pt x="45" y="369"/>
                          <a:pt x="45" y="369"/>
                          <a:pt x="45" y="369"/>
                        </a:cubicBezTo>
                        <a:cubicBezTo>
                          <a:pt x="45" y="369"/>
                          <a:pt x="45" y="369"/>
                          <a:pt x="45" y="369"/>
                        </a:cubicBezTo>
                        <a:cubicBezTo>
                          <a:pt x="45" y="360"/>
                          <a:pt x="45" y="360"/>
                          <a:pt x="45" y="360"/>
                        </a:cubicBezTo>
                        <a:cubicBezTo>
                          <a:pt x="45" y="360"/>
                          <a:pt x="45" y="360"/>
                          <a:pt x="45" y="360"/>
                        </a:cubicBezTo>
                        <a:cubicBezTo>
                          <a:pt x="169" y="360"/>
                          <a:pt x="169" y="360"/>
                          <a:pt x="169" y="360"/>
                        </a:cubicBezTo>
                        <a:lnTo>
                          <a:pt x="169" y="369"/>
                        </a:lnTo>
                        <a:close/>
                        <a:moveTo>
                          <a:pt x="185" y="306"/>
                        </a:moveTo>
                        <a:cubicBezTo>
                          <a:pt x="185" y="297"/>
                          <a:pt x="177" y="291"/>
                          <a:pt x="169" y="291"/>
                        </a:cubicBezTo>
                        <a:cubicBezTo>
                          <a:pt x="45" y="291"/>
                          <a:pt x="45" y="291"/>
                          <a:pt x="45" y="291"/>
                        </a:cubicBezTo>
                        <a:cubicBezTo>
                          <a:pt x="37" y="291"/>
                          <a:pt x="30" y="297"/>
                          <a:pt x="29" y="306"/>
                        </a:cubicBezTo>
                        <a:cubicBezTo>
                          <a:pt x="29" y="318"/>
                          <a:pt x="29" y="318"/>
                          <a:pt x="29" y="318"/>
                        </a:cubicBezTo>
                        <a:cubicBezTo>
                          <a:pt x="30" y="327"/>
                          <a:pt x="37" y="333"/>
                          <a:pt x="45" y="333"/>
                        </a:cubicBezTo>
                        <a:cubicBezTo>
                          <a:pt x="169" y="333"/>
                          <a:pt x="169" y="333"/>
                          <a:pt x="169" y="333"/>
                        </a:cubicBezTo>
                        <a:cubicBezTo>
                          <a:pt x="177" y="333"/>
                          <a:pt x="184" y="327"/>
                          <a:pt x="185" y="318"/>
                        </a:cubicBezTo>
                        <a:lnTo>
                          <a:pt x="185" y="306"/>
                        </a:lnTo>
                        <a:close/>
                        <a:moveTo>
                          <a:pt x="169" y="317"/>
                        </a:moveTo>
                        <a:cubicBezTo>
                          <a:pt x="45" y="317"/>
                          <a:pt x="45" y="317"/>
                          <a:pt x="45" y="317"/>
                        </a:cubicBezTo>
                        <a:cubicBezTo>
                          <a:pt x="45" y="317"/>
                          <a:pt x="45" y="317"/>
                          <a:pt x="45" y="317"/>
                        </a:cubicBezTo>
                        <a:cubicBezTo>
                          <a:pt x="45" y="307"/>
                          <a:pt x="45" y="307"/>
                          <a:pt x="45" y="307"/>
                        </a:cubicBezTo>
                        <a:cubicBezTo>
                          <a:pt x="45" y="307"/>
                          <a:pt x="45" y="307"/>
                          <a:pt x="45" y="307"/>
                        </a:cubicBezTo>
                        <a:cubicBezTo>
                          <a:pt x="169" y="307"/>
                          <a:pt x="169" y="307"/>
                          <a:pt x="169" y="307"/>
                        </a:cubicBezTo>
                        <a:lnTo>
                          <a:pt x="169" y="317"/>
                        </a:lnTo>
                        <a:close/>
                        <a:moveTo>
                          <a:pt x="185" y="253"/>
                        </a:moveTo>
                        <a:cubicBezTo>
                          <a:pt x="184" y="244"/>
                          <a:pt x="177" y="239"/>
                          <a:pt x="169" y="239"/>
                        </a:cubicBezTo>
                        <a:cubicBezTo>
                          <a:pt x="45" y="239"/>
                          <a:pt x="45" y="239"/>
                          <a:pt x="45" y="239"/>
                        </a:cubicBezTo>
                        <a:cubicBezTo>
                          <a:pt x="37" y="239"/>
                          <a:pt x="30" y="244"/>
                          <a:pt x="29" y="253"/>
                        </a:cubicBezTo>
                        <a:cubicBezTo>
                          <a:pt x="29" y="265"/>
                          <a:pt x="29" y="265"/>
                          <a:pt x="29" y="265"/>
                        </a:cubicBezTo>
                        <a:cubicBezTo>
                          <a:pt x="30" y="275"/>
                          <a:pt x="37" y="280"/>
                          <a:pt x="45" y="280"/>
                        </a:cubicBezTo>
                        <a:cubicBezTo>
                          <a:pt x="169" y="280"/>
                          <a:pt x="169" y="280"/>
                          <a:pt x="169" y="280"/>
                        </a:cubicBezTo>
                        <a:cubicBezTo>
                          <a:pt x="177" y="280"/>
                          <a:pt x="185" y="275"/>
                          <a:pt x="185" y="265"/>
                        </a:cubicBezTo>
                        <a:lnTo>
                          <a:pt x="185" y="253"/>
                        </a:lnTo>
                        <a:close/>
                        <a:moveTo>
                          <a:pt x="169" y="264"/>
                        </a:moveTo>
                        <a:cubicBezTo>
                          <a:pt x="45" y="264"/>
                          <a:pt x="45" y="264"/>
                          <a:pt x="45" y="264"/>
                        </a:cubicBezTo>
                        <a:cubicBezTo>
                          <a:pt x="45" y="264"/>
                          <a:pt x="45" y="264"/>
                          <a:pt x="45" y="264"/>
                        </a:cubicBezTo>
                        <a:cubicBezTo>
                          <a:pt x="45" y="255"/>
                          <a:pt x="45" y="255"/>
                          <a:pt x="45" y="255"/>
                        </a:cubicBezTo>
                        <a:cubicBezTo>
                          <a:pt x="45" y="255"/>
                          <a:pt x="45" y="255"/>
                          <a:pt x="45" y="255"/>
                        </a:cubicBezTo>
                        <a:cubicBezTo>
                          <a:pt x="169" y="255"/>
                          <a:pt x="169" y="255"/>
                          <a:pt x="169" y="255"/>
                        </a:cubicBezTo>
                        <a:lnTo>
                          <a:pt x="169" y="264"/>
                        </a:lnTo>
                        <a:close/>
                        <a:moveTo>
                          <a:pt x="185" y="201"/>
                        </a:moveTo>
                        <a:cubicBezTo>
                          <a:pt x="185" y="192"/>
                          <a:pt x="177" y="186"/>
                          <a:pt x="169" y="186"/>
                        </a:cubicBezTo>
                        <a:cubicBezTo>
                          <a:pt x="45" y="186"/>
                          <a:pt x="45" y="186"/>
                          <a:pt x="45" y="186"/>
                        </a:cubicBezTo>
                        <a:cubicBezTo>
                          <a:pt x="37" y="186"/>
                          <a:pt x="30" y="192"/>
                          <a:pt x="29" y="201"/>
                        </a:cubicBezTo>
                        <a:cubicBezTo>
                          <a:pt x="29" y="213"/>
                          <a:pt x="29" y="213"/>
                          <a:pt x="29" y="213"/>
                        </a:cubicBezTo>
                        <a:cubicBezTo>
                          <a:pt x="30" y="222"/>
                          <a:pt x="37" y="228"/>
                          <a:pt x="45" y="228"/>
                        </a:cubicBezTo>
                        <a:cubicBezTo>
                          <a:pt x="169" y="228"/>
                          <a:pt x="169" y="228"/>
                          <a:pt x="169" y="228"/>
                        </a:cubicBezTo>
                        <a:cubicBezTo>
                          <a:pt x="177" y="228"/>
                          <a:pt x="184" y="222"/>
                          <a:pt x="185" y="213"/>
                        </a:cubicBezTo>
                        <a:lnTo>
                          <a:pt x="185" y="201"/>
                        </a:lnTo>
                        <a:close/>
                        <a:moveTo>
                          <a:pt x="169" y="212"/>
                        </a:moveTo>
                        <a:cubicBezTo>
                          <a:pt x="45" y="212"/>
                          <a:pt x="45" y="212"/>
                          <a:pt x="45" y="212"/>
                        </a:cubicBezTo>
                        <a:cubicBezTo>
                          <a:pt x="45" y="212"/>
                          <a:pt x="45" y="212"/>
                          <a:pt x="45" y="212"/>
                        </a:cubicBezTo>
                        <a:cubicBezTo>
                          <a:pt x="45" y="202"/>
                          <a:pt x="45" y="202"/>
                          <a:pt x="45" y="202"/>
                        </a:cubicBezTo>
                        <a:cubicBezTo>
                          <a:pt x="45" y="202"/>
                          <a:pt x="45" y="202"/>
                          <a:pt x="45" y="202"/>
                        </a:cubicBezTo>
                        <a:cubicBezTo>
                          <a:pt x="169" y="202"/>
                          <a:pt x="169" y="202"/>
                          <a:pt x="169" y="202"/>
                        </a:cubicBezTo>
                        <a:lnTo>
                          <a:pt x="169" y="212"/>
                        </a:lnTo>
                        <a:close/>
                        <a:moveTo>
                          <a:pt x="185" y="148"/>
                        </a:moveTo>
                        <a:cubicBezTo>
                          <a:pt x="184" y="139"/>
                          <a:pt x="177" y="134"/>
                          <a:pt x="169" y="134"/>
                        </a:cubicBezTo>
                        <a:cubicBezTo>
                          <a:pt x="45" y="134"/>
                          <a:pt x="45" y="134"/>
                          <a:pt x="45" y="134"/>
                        </a:cubicBezTo>
                        <a:cubicBezTo>
                          <a:pt x="37" y="134"/>
                          <a:pt x="30" y="139"/>
                          <a:pt x="29" y="148"/>
                        </a:cubicBezTo>
                        <a:cubicBezTo>
                          <a:pt x="29" y="161"/>
                          <a:pt x="29" y="161"/>
                          <a:pt x="29" y="161"/>
                        </a:cubicBezTo>
                        <a:cubicBezTo>
                          <a:pt x="30" y="170"/>
                          <a:pt x="37" y="175"/>
                          <a:pt x="45" y="175"/>
                        </a:cubicBezTo>
                        <a:cubicBezTo>
                          <a:pt x="169" y="175"/>
                          <a:pt x="169" y="175"/>
                          <a:pt x="169" y="175"/>
                        </a:cubicBezTo>
                        <a:cubicBezTo>
                          <a:pt x="177" y="175"/>
                          <a:pt x="185" y="170"/>
                          <a:pt x="185" y="161"/>
                        </a:cubicBezTo>
                        <a:lnTo>
                          <a:pt x="185" y="148"/>
                        </a:lnTo>
                        <a:close/>
                        <a:moveTo>
                          <a:pt x="169" y="159"/>
                        </a:moveTo>
                        <a:cubicBezTo>
                          <a:pt x="45" y="159"/>
                          <a:pt x="45" y="159"/>
                          <a:pt x="45" y="159"/>
                        </a:cubicBezTo>
                        <a:cubicBezTo>
                          <a:pt x="45" y="159"/>
                          <a:pt x="45" y="159"/>
                          <a:pt x="45" y="159"/>
                        </a:cubicBezTo>
                        <a:cubicBezTo>
                          <a:pt x="45" y="150"/>
                          <a:pt x="45" y="150"/>
                          <a:pt x="45" y="150"/>
                        </a:cubicBezTo>
                        <a:cubicBezTo>
                          <a:pt x="45" y="150"/>
                          <a:pt x="45" y="150"/>
                          <a:pt x="45" y="150"/>
                        </a:cubicBezTo>
                        <a:cubicBezTo>
                          <a:pt x="169" y="150"/>
                          <a:pt x="169" y="150"/>
                          <a:pt x="169" y="150"/>
                        </a:cubicBezTo>
                        <a:lnTo>
                          <a:pt x="169" y="159"/>
                        </a:lnTo>
                        <a:close/>
                        <a:moveTo>
                          <a:pt x="185" y="96"/>
                        </a:moveTo>
                        <a:cubicBezTo>
                          <a:pt x="185" y="87"/>
                          <a:pt x="177" y="81"/>
                          <a:pt x="169" y="81"/>
                        </a:cubicBezTo>
                        <a:cubicBezTo>
                          <a:pt x="45" y="81"/>
                          <a:pt x="45" y="81"/>
                          <a:pt x="45" y="81"/>
                        </a:cubicBezTo>
                        <a:cubicBezTo>
                          <a:pt x="37" y="81"/>
                          <a:pt x="30" y="87"/>
                          <a:pt x="29" y="96"/>
                        </a:cubicBezTo>
                        <a:cubicBezTo>
                          <a:pt x="29" y="108"/>
                          <a:pt x="29" y="108"/>
                          <a:pt x="29" y="108"/>
                        </a:cubicBezTo>
                        <a:cubicBezTo>
                          <a:pt x="30" y="117"/>
                          <a:pt x="37" y="123"/>
                          <a:pt x="45" y="123"/>
                        </a:cubicBezTo>
                        <a:cubicBezTo>
                          <a:pt x="169" y="123"/>
                          <a:pt x="169" y="123"/>
                          <a:pt x="169" y="123"/>
                        </a:cubicBezTo>
                        <a:cubicBezTo>
                          <a:pt x="177" y="123"/>
                          <a:pt x="184" y="117"/>
                          <a:pt x="185" y="108"/>
                        </a:cubicBezTo>
                        <a:lnTo>
                          <a:pt x="185" y="96"/>
                        </a:lnTo>
                        <a:close/>
                        <a:moveTo>
                          <a:pt x="169" y="107"/>
                        </a:moveTo>
                        <a:cubicBezTo>
                          <a:pt x="45" y="107"/>
                          <a:pt x="45" y="107"/>
                          <a:pt x="45" y="107"/>
                        </a:cubicBezTo>
                        <a:cubicBezTo>
                          <a:pt x="45" y="107"/>
                          <a:pt x="45" y="107"/>
                          <a:pt x="45" y="107"/>
                        </a:cubicBezTo>
                        <a:cubicBezTo>
                          <a:pt x="45" y="97"/>
                          <a:pt x="45" y="97"/>
                          <a:pt x="45" y="97"/>
                        </a:cubicBezTo>
                        <a:cubicBezTo>
                          <a:pt x="45" y="97"/>
                          <a:pt x="45" y="97"/>
                          <a:pt x="45" y="97"/>
                        </a:cubicBezTo>
                        <a:cubicBezTo>
                          <a:pt x="169" y="97"/>
                          <a:pt x="169" y="97"/>
                          <a:pt x="169" y="97"/>
                        </a:cubicBezTo>
                        <a:lnTo>
                          <a:pt x="169" y="107"/>
                        </a:lnTo>
                        <a:close/>
                        <a:moveTo>
                          <a:pt x="185" y="44"/>
                        </a:moveTo>
                        <a:cubicBezTo>
                          <a:pt x="184" y="34"/>
                          <a:pt x="177" y="29"/>
                          <a:pt x="169" y="29"/>
                        </a:cubicBezTo>
                        <a:cubicBezTo>
                          <a:pt x="45" y="29"/>
                          <a:pt x="45" y="29"/>
                          <a:pt x="45" y="29"/>
                        </a:cubicBezTo>
                        <a:cubicBezTo>
                          <a:pt x="37" y="29"/>
                          <a:pt x="30" y="34"/>
                          <a:pt x="29" y="44"/>
                        </a:cubicBezTo>
                        <a:cubicBezTo>
                          <a:pt x="29" y="56"/>
                          <a:pt x="29" y="56"/>
                          <a:pt x="29" y="56"/>
                        </a:cubicBezTo>
                        <a:cubicBezTo>
                          <a:pt x="30" y="65"/>
                          <a:pt x="37" y="70"/>
                          <a:pt x="45" y="70"/>
                        </a:cubicBezTo>
                        <a:cubicBezTo>
                          <a:pt x="169" y="70"/>
                          <a:pt x="169" y="70"/>
                          <a:pt x="169" y="70"/>
                        </a:cubicBezTo>
                        <a:cubicBezTo>
                          <a:pt x="177" y="70"/>
                          <a:pt x="185" y="65"/>
                          <a:pt x="185" y="56"/>
                        </a:cubicBezTo>
                        <a:lnTo>
                          <a:pt x="185" y="44"/>
                        </a:lnTo>
                        <a:close/>
                        <a:moveTo>
                          <a:pt x="169" y="54"/>
                        </a:moveTo>
                        <a:cubicBezTo>
                          <a:pt x="45" y="54"/>
                          <a:pt x="45" y="54"/>
                          <a:pt x="45" y="54"/>
                        </a:cubicBezTo>
                        <a:cubicBezTo>
                          <a:pt x="45" y="54"/>
                          <a:pt x="45" y="54"/>
                          <a:pt x="45" y="54"/>
                        </a:cubicBezTo>
                        <a:cubicBezTo>
                          <a:pt x="45" y="45"/>
                          <a:pt x="45" y="45"/>
                          <a:pt x="45" y="45"/>
                        </a:cubicBezTo>
                        <a:cubicBezTo>
                          <a:pt x="45" y="45"/>
                          <a:pt x="45" y="45"/>
                          <a:pt x="45" y="45"/>
                        </a:cubicBezTo>
                        <a:cubicBezTo>
                          <a:pt x="169" y="45"/>
                          <a:pt x="169" y="45"/>
                          <a:pt x="169" y="45"/>
                        </a:cubicBezTo>
                        <a:lnTo>
                          <a:pt x="169" y="54"/>
                        </a:lnTo>
                        <a:close/>
                        <a:moveTo>
                          <a:pt x="212" y="88"/>
                        </a:moveTo>
                        <a:cubicBezTo>
                          <a:pt x="204" y="88"/>
                          <a:pt x="198" y="94"/>
                          <a:pt x="198" y="102"/>
                        </a:cubicBezTo>
                        <a:cubicBezTo>
                          <a:pt x="198" y="110"/>
                          <a:pt x="204" y="116"/>
                          <a:pt x="212" y="116"/>
                        </a:cubicBezTo>
                        <a:cubicBezTo>
                          <a:pt x="220" y="116"/>
                          <a:pt x="226" y="110"/>
                          <a:pt x="226" y="102"/>
                        </a:cubicBezTo>
                        <a:cubicBezTo>
                          <a:pt x="226" y="94"/>
                          <a:pt x="220" y="88"/>
                          <a:pt x="212" y="88"/>
                        </a:cubicBezTo>
                        <a:close/>
                        <a:moveTo>
                          <a:pt x="212" y="35"/>
                        </a:moveTo>
                        <a:cubicBezTo>
                          <a:pt x="204" y="35"/>
                          <a:pt x="198" y="42"/>
                          <a:pt x="198" y="50"/>
                        </a:cubicBezTo>
                        <a:cubicBezTo>
                          <a:pt x="198" y="57"/>
                          <a:pt x="204" y="64"/>
                          <a:pt x="212" y="64"/>
                        </a:cubicBezTo>
                        <a:cubicBezTo>
                          <a:pt x="220" y="64"/>
                          <a:pt x="226" y="57"/>
                          <a:pt x="226" y="50"/>
                        </a:cubicBezTo>
                        <a:cubicBezTo>
                          <a:pt x="226" y="42"/>
                          <a:pt x="220" y="35"/>
                          <a:pt x="212" y="35"/>
                        </a:cubicBezTo>
                        <a:close/>
                        <a:moveTo>
                          <a:pt x="212" y="140"/>
                        </a:moveTo>
                        <a:cubicBezTo>
                          <a:pt x="204" y="140"/>
                          <a:pt x="198" y="147"/>
                          <a:pt x="198" y="155"/>
                        </a:cubicBezTo>
                        <a:cubicBezTo>
                          <a:pt x="198" y="162"/>
                          <a:pt x="204" y="169"/>
                          <a:pt x="212" y="169"/>
                        </a:cubicBezTo>
                        <a:cubicBezTo>
                          <a:pt x="220" y="169"/>
                          <a:pt x="226" y="162"/>
                          <a:pt x="226" y="155"/>
                        </a:cubicBezTo>
                        <a:cubicBezTo>
                          <a:pt x="226" y="147"/>
                          <a:pt x="220" y="140"/>
                          <a:pt x="212" y="140"/>
                        </a:cubicBezTo>
                        <a:close/>
                        <a:moveTo>
                          <a:pt x="212" y="193"/>
                        </a:moveTo>
                        <a:cubicBezTo>
                          <a:pt x="204" y="193"/>
                          <a:pt x="198" y="199"/>
                          <a:pt x="198" y="207"/>
                        </a:cubicBezTo>
                        <a:cubicBezTo>
                          <a:pt x="198" y="215"/>
                          <a:pt x="204" y="221"/>
                          <a:pt x="212" y="221"/>
                        </a:cubicBezTo>
                        <a:cubicBezTo>
                          <a:pt x="220" y="221"/>
                          <a:pt x="226" y="215"/>
                          <a:pt x="226" y="207"/>
                        </a:cubicBezTo>
                        <a:cubicBezTo>
                          <a:pt x="226" y="199"/>
                          <a:pt x="220" y="193"/>
                          <a:pt x="212" y="193"/>
                        </a:cubicBezTo>
                        <a:close/>
                        <a:moveTo>
                          <a:pt x="212" y="245"/>
                        </a:moveTo>
                        <a:cubicBezTo>
                          <a:pt x="204" y="245"/>
                          <a:pt x="198" y="252"/>
                          <a:pt x="198" y="259"/>
                        </a:cubicBezTo>
                        <a:cubicBezTo>
                          <a:pt x="198" y="267"/>
                          <a:pt x="204" y="274"/>
                          <a:pt x="212" y="274"/>
                        </a:cubicBezTo>
                        <a:cubicBezTo>
                          <a:pt x="220" y="274"/>
                          <a:pt x="226" y="267"/>
                          <a:pt x="226" y="259"/>
                        </a:cubicBezTo>
                        <a:cubicBezTo>
                          <a:pt x="226" y="252"/>
                          <a:pt x="220" y="245"/>
                          <a:pt x="212" y="245"/>
                        </a:cubicBezTo>
                        <a:close/>
                        <a:moveTo>
                          <a:pt x="212" y="298"/>
                        </a:moveTo>
                        <a:cubicBezTo>
                          <a:pt x="204" y="298"/>
                          <a:pt x="198" y="304"/>
                          <a:pt x="198" y="312"/>
                        </a:cubicBezTo>
                        <a:cubicBezTo>
                          <a:pt x="198" y="320"/>
                          <a:pt x="204" y="326"/>
                          <a:pt x="212" y="326"/>
                        </a:cubicBezTo>
                        <a:cubicBezTo>
                          <a:pt x="220" y="326"/>
                          <a:pt x="226" y="320"/>
                          <a:pt x="226" y="312"/>
                        </a:cubicBezTo>
                        <a:cubicBezTo>
                          <a:pt x="226" y="304"/>
                          <a:pt x="220" y="298"/>
                          <a:pt x="212" y="298"/>
                        </a:cubicBezTo>
                        <a:close/>
                        <a:moveTo>
                          <a:pt x="212" y="350"/>
                        </a:moveTo>
                        <a:cubicBezTo>
                          <a:pt x="204" y="350"/>
                          <a:pt x="198" y="356"/>
                          <a:pt x="198" y="364"/>
                        </a:cubicBezTo>
                        <a:cubicBezTo>
                          <a:pt x="198" y="372"/>
                          <a:pt x="204" y="379"/>
                          <a:pt x="212" y="379"/>
                        </a:cubicBezTo>
                        <a:cubicBezTo>
                          <a:pt x="220" y="379"/>
                          <a:pt x="226" y="372"/>
                          <a:pt x="226" y="364"/>
                        </a:cubicBezTo>
                        <a:cubicBezTo>
                          <a:pt x="226" y="356"/>
                          <a:pt x="220" y="350"/>
                          <a:pt x="212" y="350"/>
                        </a:cubicBezTo>
                        <a:close/>
                        <a:moveTo>
                          <a:pt x="247" y="44"/>
                        </a:moveTo>
                        <a:cubicBezTo>
                          <a:pt x="251" y="44"/>
                          <a:pt x="255" y="41"/>
                          <a:pt x="255" y="36"/>
                        </a:cubicBezTo>
                        <a:cubicBezTo>
                          <a:pt x="255" y="16"/>
                          <a:pt x="255" y="16"/>
                          <a:pt x="255" y="16"/>
                        </a:cubicBezTo>
                        <a:cubicBezTo>
                          <a:pt x="255" y="7"/>
                          <a:pt x="248" y="0"/>
                          <a:pt x="239" y="0"/>
                        </a:cubicBezTo>
                        <a:cubicBezTo>
                          <a:pt x="16" y="0"/>
                          <a:pt x="16" y="0"/>
                          <a:pt x="16" y="0"/>
                        </a:cubicBezTo>
                        <a:cubicBezTo>
                          <a:pt x="7" y="0"/>
                          <a:pt x="0" y="7"/>
                          <a:pt x="0" y="16"/>
                        </a:cubicBezTo>
                        <a:cubicBezTo>
                          <a:pt x="0" y="396"/>
                          <a:pt x="0" y="396"/>
                          <a:pt x="0" y="396"/>
                        </a:cubicBezTo>
                        <a:cubicBezTo>
                          <a:pt x="0" y="405"/>
                          <a:pt x="7" y="412"/>
                          <a:pt x="16" y="412"/>
                        </a:cubicBezTo>
                        <a:cubicBezTo>
                          <a:pt x="239" y="412"/>
                          <a:pt x="239" y="412"/>
                          <a:pt x="239" y="412"/>
                        </a:cubicBezTo>
                        <a:cubicBezTo>
                          <a:pt x="248" y="412"/>
                          <a:pt x="255" y="405"/>
                          <a:pt x="255" y="396"/>
                        </a:cubicBezTo>
                        <a:cubicBezTo>
                          <a:pt x="255" y="60"/>
                          <a:pt x="255" y="60"/>
                          <a:pt x="255" y="60"/>
                        </a:cubicBezTo>
                        <a:cubicBezTo>
                          <a:pt x="255" y="56"/>
                          <a:pt x="251" y="52"/>
                          <a:pt x="247" y="52"/>
                        </a:cubicBezTo>
                        <a:cubicBezTo>
                          <a:pt x="242" y="52"/>
                          <a:pt x="239" y="56"/>
                          <a:pt x="239" y="60"/>
                        </a:cubicBezTo>
                        <a:cubicBezTo>
                          <a:pt x="239" y="396"/>
                          <a:pt x="239" y="396"/>
                          <a:pt x="239" y="396"/>
                        </a:cubicBezTo>
                        <a:cubicBezTo>
                          <a:pt x="16" y="396"/>
                          <a:pt x="16" y="396"/>
                          <a:pt x="16" y="396"/>
                        </a:cubicBezTo>
                        <a:cubicBezTo>
                          <a:pt x="16" y="396"/>
                          <a:pt x="16" y="396"/>
                          <a:pt x="16" y="396"/>
                        </a:cubicBezTo>
                        <a:cubicBezTo>
                          <a:pt x="16" y="16"/>
                          <a:pt x="16" y="16"/>
                          <a:pt x="16" y="16"/>
                        </a:cubicBezTo>
                        <a:cubicBezTo>
                          <a:pt x="16" y="16"/>
                          <a:pt x="16" y="16"/>
                          <a:pt x="16" y="16"/>
                        </a:cubicBezTo>
                        <a:cubicBezTo>
                          <a:pt x="239" y="16"/>
                          <a:pt x="239" y="16"/>
                          <a:pt x="239" y="16"/>
                        </a:cubicBezTo>
                        <a:cubicBezTo>
                          <a:pt x="239" y="36"/>
                          <a:pt x="239" y="36"/>
                          <a:pt x="239" y="36"/>
                        </a:cubicBezTo>
                        <a:cubicBezTo>
                          <a:pt x="239" y="41"/>
                          <a:pt x="242" y="44"/>
                          <a:pt x="247" y="44"/>
                        </a:cubicBezTo>
                        <a:close/>
                      </a:path>
                    </a:pathLst>
                  </a:custGeom>
                  <a:solidFill>
                    <a:srgbClr val="BBE0E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22925" name="Freeform 8"/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4881801" y="4742270"/>
                    <a:ext cx="209258" cy="287952"/>
                  </a:xfrm>
                  <a:custGeom>
                    <a:avLst/>
                    <a:gdLst>
                      <a:gd name="T0" fmla="*/ 2147483647 w 255"/>
                      <a:gd name="T1" fmla="*/ 2147483647 h 412"/>
                      <a:gd name="T2" fmla="*/ 2147483647 w 255"/>
                      <a:gd name="T3" fmla="*/ 2147483647 h 412"/>
                      <a:gd name="T4" fmla="*/ 2147483647 w 255"/>
                      <a:gd name="T5" fmla="*/ 2147483647 h 412"/>
                      <a:gd name="T6" fmla="*/ 2147483647 w 255"/>
                      <a:gd name="T7" fmla="*/ 2147483647 h 412"/>
                      <a:gd name="T8" fmla="*/ 2147483647 w 255"/>
                      <a:gd name="T9" fmla="*/ 2147483647 h 412"/>
                      <a:gd name="T10" fmla="*/ 2147483647 w 255"/>
                      <a:gd name="T11" fmla="*/ 2147483647 h 412"/>
                      <a:gd name="T12" fmla="*/ 2147483647 w 255"/>
                      <a:gd name="T13" fmla="*/ 2147483647 h 412"/>
                      <a:gd name="T14" fmla="*/ 2147483647 w 255"/>
                      <a:gd name="T15" fmla="*/ 2147483647 h 412"/>
                      <a:gd name="T16" fmla="*/ 2147483647 w 255"/>
                      <a:gd name="T17" fmla="*/ 2147483647 h 412"/>
                      <a:gd name="T18" fmla="*/ 2147483647 w 255"/>
                      <a:gd name="T19" fmla="*/ 2147483647 h 412"/>
                      <a:gd name="T20" fmla="*/ 2147483647 w 255"/>
                      <a:gd name="T21" fmla="*/ 2147483647 h 412"/>
                      <a:gd name="T22" fmla="*/ 2147483647 w 255"/>
                      <a:gd name="T23" fmla="*/ 2147483647 h 412"/>
                      <a:gd name="T24" fmla="*/ 2147483647 w 255"/>
                      <a:gd name="T25" fmla="*/ 2147483647 h 412"/>
                      <a:gd name="T26" fmla="*/ 2147483647 w 255"/>
                      <a:gd name="T27" fmla="*/ 2147483647 h 412"/>
                      <a:gd name="T28" fmla="*/ 2147483647 w 255"/>
                      <a:gd name="T29" fmla="*/ 2147483647 h 412"/>
                      <a:gd name="T30" fmla="*/ 2147483647 w 255"/>
                      <a:gd name="T31" fmla="*/ 2147483647 h 412"/>
                      <a:gd name="T32" fmla="*/ 2147483647 w 255"/>
                      <a:gd name="T33" fmla="*/ 2147483647 h 412"/>
                      <a:gd name="T34" fmla="*/ 2147483647 w 255"/>
                      <a:gd name="T35" fmla="*/ 2147483647 h 412"/>
                      <a:gd name="T36" fmla="*/ 2147483647 w 255"/>
                      <a:gd name="T37" fmla="*/ 2147483647 h 412"/>
                      <a:gd name="T38" fmla="*/ 2147483647 w 255"/>
                      <a:gd name="T39" fmla="*/ 2147483647 h 412"/>
                      <a:gd name="T40" fmla="*/ 2147483647 w 255"/>
                      <a:gd name="T41" fmla="*/ 2147483647 h 412"/>
                      <a:gd name="T42" fmla="*/ 2147483647 w 255"/>
                      <a:gd name="T43" fmla="*/ 2147483647 h 412"/>
                      <a:gd name="T44" fmla="*/ 2147483647 w 255"/>
                      <a:gd name="T45" fmla="*/ 2147483647 h 412"/>
                      <a:gd name="T46" fmla="*/ 2147483647 w 255"/>
                      <a:gd name="T47" fmla="*/ 2147483647 h 412"/>
                      <a:gd name="T48" fmla="*/ 2147483647 w 255"/>
                      <a:gd name="T49" fmla="*/ 2147483647 h 412"/>
                      <a:gd name="T50" fmla="*/ 2147483647 w 255"/>
                      <a:gd name="T51" fmla="*/ 2147483647 h 412"/>
                      <a:gd name="T52" fmla="*/ 2147483647 w 255"/>
                      <a:gd name="T53" fmla="*/ 2147483647 h 412"/>
                      <a:gd name="T54" fmla="*/ 2147483647 w 255"/>
                      <a:gd name="T55" fmla="*/ 2147483647 h 412"/>
                      <a:gd name="T56" fmla="*/ 2147483647 w 255"/>
                      <a:gd name="T57" fmla="*/ 2147483647 h 412"/>
                      <a:gd name="T58" fmla="*/ 2147483647 w 255"/>
                      <a:gd name="T59" fmla="*/ 2147483647 h 412"/>
                      <a:gd name="T60" fmla="*/ 2147483647 w 255"/>
                      <a:gd name="T61" fmla="*/ 2147483647 h 412"/>
                      <a:gd name="T62" fmla="*/ 2147483647 w 255"/>
                      <a:gd name="T63" fmla="*/ 2147483647 h 412"/>
                      <a:gd name="T64" fmla="*/ 2147483647 w 255"/>
                      <a:gd name="T65" fmla="*/ 2147483647 h 412"/>
                      <a:gd name="T66" fmla="*/ 2147483647 w 255"/>
                      <a:gd name="T67" fmla="*/ 2147483647 h 412"/>
                      <a:gd name="T68" fmla="*/ 2147483647 w 255"/>
                      <a:gd name="T69" fmla="*/ 2147483647 h 412"/>
                      <a:gd name="T70" fmla="*/ 2147483647 w 255"/>
                      <a:gd name="T71" fmla="*/ 2147483647 h 412"/>
                      <a:gd name="T72" fmla="*/ 2147483647 w 255"/>
                      <a:gd name="T73" fmla="*/ 2147483647 h 412"/>
                      <a:gd name="T74" fmla="*/ 2147483647 w 255"/>
                      <a:gd name="T75" fmla="*/ 2147483647 h 412"/>
                      <a:gd name="T76" fmla="*/ 2147483647 w 255"/>
                      <a:gd name="T77" fmla="*/ 2147483647 h 412"/>
                      <a:gd name="T78" fmla="*/ 2147483647 w 255"/>
                      <a:gd name="T79" fmla="*/ 2147483647 h 412"/>
                      <a:gd name="T80" fmla="*/ 2147483647 w 255"/>
                      <a:gd name="T81" fmla="*/ 2147483647 h 412"/>
                      <a:gd name="T82" fmla="*/ 2147483647 w 255"/>
                      <a:gd name="T83" fmla="*/ 2147483647 h 412"/>
                      <a:gd name="T84" fmla="*/ 2147483647 w 255"/>
                      <a:gd name="T85" fmla="*/ 2147483647 h 412"/>
                      <a:gd name="T86" fmla="*/ 2147483647 w 255"/>
                      <a:gd name="T87" fmla="*/ 2147483647 h 412"/>
                      <a:gd name="T88" fmla="*/ 2147483647 w 255"/>
                      <a:gd name="T89" fmla="*/ 2147483647 h 412"/>
                      <a:gd name="T90" fmla="*/ 2147483647 w 255"/>
                      <a:gd name="T91" fmla="*/ 2147483647 h 412"/>
                      <a:gd name="T92" fmla="*/ 2147483647 w 255"/>
                      <a:gd name="T93" fmla="*/ 2147483647 h 412"/>
                      <a:gd name="T94" fmla="*/ 2147483647 w 255"/>
                      <a:gd name="T95" fmla="*/ 2147483647 h 412"/>
                      <a:gd name="T96" fmla="*/ 2147483647 w 255"/>
                      <a:gd name="T97" fmla="*/ 2147483647 h 412"/>
                      <a:gd name="T98" fmla="*/ 2147483647 w 255"/>
                      <a:gd name="T99" fmla="*/ 2147483647 h 412"/>
                      <a:gd name="T100" fmla="*/ 0 w 255"/>
                      <a:gd name="T101" fmla="*/ 2147483647 h 412"/>
                      <a:gd name="T102" fmla="*/ 2147483647 w 255"/>
                      <a:gd name="T103" fmla="*/ 2147483647 h 412"/>
                      <a:gd name="T104" fmla="*/ 2147483647 w 255"/>
                      <a:gd name="T105" fmla="*/ 2147483647 h 412"/>
                      <a:gd name="T106" fmla="*/ 2147483647 w 255"/>
                      <a:gd name="T107" fmla="*/ 2147483647 h 412"/>
                      <a:gd name="T108" fmla="*/ 2147483647 w 255"/>
                      <a:gd name="T109" fmla="*/ 2147483647 h 412"/>
                      <a:gd name="T110" fmla="*/ 2147483647 w 255"/>
                      <a:gd name="T111" fmla="*/ 2147483647 h 412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w 255"/>
                      <a:gd name="T169" fmla="*/ 0 h 412"/>
                      <a:gd name="T170" fmla="*/ 255 w 255"/>
                      <a:gd name="T171" fmla="*/ 412 h 412"/>
                    </a:gdLst>
                    <a:ahLst/>
                    <a:cxnLst>
                      <a:cxn ang="T112">
                        <a:pos x="T0" y="T1"/>
                      </a:cxn>
                      <a:cxn ang="T113">
                        <a:pos x="T2" y="T3"/>
                      </a:cxn>
                      <a:cxn ang="T114">
                        <a:pos x="T4" y="T5"/>
                      </a:cxn>
                      <a:cxn ang="T115">
                        <a:pos x="T6" y="T7"/>
                      </a:cxn>
                      <a:cxn ang="T116">
                        <a:pos x="T8" y="T9"/>
                      </a:cxn>
                      <a:cxn ang="T117">
                        <a:pos x="T10" y="T11"/>
                      </a:cxn>
                      <a:cxn ang="T118">
                        <a:pos x="T12" y="T13"/>
                      </a:cxn>
                      <a:cxn ang="T119">
                        <a:pos x="T14" y="T15"/>
                      </a:cxn>
                      <a:cxn ang="T120">
                        <a:pos x="T16" y="T17"/>
                      </a:cxn>
                      <a:cxn ang="T121">
                        <a:pos x="T18" y="T19"/>
                      </a:cxn>
                      <a:cxn ang="T122">
                        <a:pos x="T20" y="T21"/>
                      </a:cxn>
                      <a:cxn ang="T123">
                        <a:pos x="T22" y="T23"/>
                      </a:cxn>
                      <a:cxn ang="T124">
                        <a:pos x="T24" y="T25"/>
                      </a:cxn>
                      <a:cxn ang="T125">
                        <a:pos x="T26" y="T27"/>
                      </a:cxn>
                      <a:cxn ang="T126">
                        <a:pos x="T28" y="T29"/>
                      </a:cxn>
                      <a:cxn ang="T127">
                        <a:pos x="T30" y="T31"/>
                      </a:cxn>
                      <a:cxn ang="T128">
                        <a:pos x="T32" y="T33"/>
                      </a:cxn>
                      <a:cxn ang="T129">
                        <a:pos x="T34" y="T35"/>
                      </a:cxn>
                      <a:cxn ang="T130">
                        <a:pos x="T36" y="T37"/>
                      </a:cxn>
                      <a:cxn ang="T131">
                        <a:pos x="T38" y="T39"/>
                      </a:cxn>
                      <a:cxn ang="T132">
                        <a:pos x="T40" y="T41"/>
                      </a:cxn>
                      <a:cxn ang="T133">
                        <a:pos x="T42" y="T43"/>
                      </a:cxn>
                      <a:cxn ang="T134">
                        <a:pos x="T44" y="T45"/>
                      </a:cxn>
                      <a:cxn ang="T135">
                        <a:pos x="T46" y="T47"/>
                      </a:cxn>
                      <a:cxn ang="T136">
                        <a:pos x="T48" y="T49"/>
                      </a:cxn>
                      <a:cxn ang="T137">
                        <a:pos x="T50" y="T51"/>
                      </a:cxn>
                      <a:cxn ang="T138">
                        <a:pos x="T52" y="T53"/>
                      </a:cxn>
                      <a:cxn ang="T139">
                        <a:pos x="T54" y="T55"/>
                      </a:cxn>
                      <a:cxn ang="T140">
                        <a:pos x="T56" y="T57"/>
                      </a:cxn>
                      <a:cxn ang="T141">
                        <a:pos x="T58" y="T59"/>
                      </a:cxn>
                      <a:cxn ang="T142">
                        <a:pos x="T60" y="T61"/>
                      </a:cxn>
                      <a:cxn ang="T143">
                        <a:pos x="T62" y="T63"/>
                      </a:cxn>
                      <a:cxn ang="T144">
                        <a:pos x="T64" y="T65"/>
                      </a:cxn>
                      <a:cxn ang="T145">
                        <a:pos x="T66" y="T67"/>
                      </a:cxn>
                      <a:cxn ang="T146">
                        <a:pos x="T68" y="T69"/>
                      </a:cxn>
                      <a:cxn ang="T147">
                        <a:pos x="T70" y="T71"/>
                      </a:cxn>
                      <a:cxn ang="T148">
                        <a:pos x="T72" y="T73"/>
                      </a:cxn>
                      <a:cxn ang="T149">
                        <a:pos x="T74" y="T75"/>
                      </a:cxn>
                      <a:cxn ang="T150">
                        <a:pos x="T76" y="T77"/>
                      </a:cxn>
                      <a:cxn ang="T151">
                        <a:pos x="T78" y="T79"/>
                      </a:cxn>
                      <a:cxn ang="T152">
                        <a:pos x="T80" y="T81"/>
                      </a:cxn>
                      <a:cxn ang="T153">
                        <a:pos x="T82" y="T83"/>
                      </a:cxn>
                      <a:cxn ang="T154">
                        <a:pos x="T84" y="T85"/>
                      </a:cxn>
                      <a:cxn ang="T155">
                        <a:pos x="T86" y="T87"/>
                      </a:cxn>
                      <a:cxn ang="T156">
                        <a:pos x="T88" y="T89"/>
                      </a:cxn>
                      <a:cxn ang="T157">
                        <a:pos x="T90" y="T91"/>
                      </a:cxn>
                      <a:cxn ang="T158">
                        <a:pos x="T92" y="T93"/>
                      </a:cxn>
                      <a:cxn ang="T159">
                        <a:pos x="T94" y="T95"/>
                      </a:cxn>
                      <a:cxn ang="T160">
                        <a:pos x="T96" y="T97"/>
                      </a:cxn>
                      <a:cxn ang="T161">
                        <a:pos x="T98" y="T99"/>
                      </a:cxn>
                      <a:cxn ang="T162">
                        <a:pos x="T100" y="T101"/>
                      </a:cxn>
                      <a:cxn ang="T163">
                        <a:pos x="T102" y="T103"/>
                      </a:cxn>
                      <a:cxn ang="T164">
                        <a:pos x="T104" y="T105"/>
                      </a:cxn>
                      <a:cxn ang="T165">
                        <a:pos x="T106" y="T107"/>
                      </a:cxn>
                      <a:cxn ang="T166">
                        <a:pos x="T108" y="T109"/>
                      </a:cxn>
                      <a:cxn ang="T167">
                        <a:pos x="T110" y="T111"/>
                      </a:cxn>
                    </a:cxnLst>
                    <a:rect l="T168" t="T169" r="T170" b="T171"/>
                    <a:pathLst>
                      <a:path w="255" h="412">
                        <a:moveTo>
                          <a:pt x="169" y="344"/>
                        </a:moveTo>
                        <a:cubicBezTo>
                          <a:pt x="45" y="344"/>
                          <a:pt x="45" y="344"/>
                          <a:pt x="45" y="344"/>
                        </a:cubicBezTo>
                        <a:cubicBezTo>
                          <a:pt x="37" y="344"/>
                          <a:pt x="30" y="349"/>
                          <a:pt x="29" y="358"/>
                        </a:cubicBezTo>
                        <a:cubicBezTo>
                          <a:pt x="29" y="370"/>
                          <a:pt x="29" y="370"/>
                          <a:pt x="29" y="370"/>
                        </a:cubicBezTo>
                        <a:cubicBezTo>
                          <a:pt x="30" y="380"/>
                          <a:pt x="37" y="385"/>
                          <a:pt x="45" y="385"/>
                        </a:cubicBezTo>
                        <a:cubicBezTo>
                          <a:pt x="169" y="385"/>
                          <a:pt x="169" y="385"/>
                          <a:pt x="169" y="385"/>
                        </a:cubicBezTo>
                        <a:cubicBezTo>
                          <a:pt x="177" y="385"/>
                          <a:pt x="185" y="380"/>
                          <a:pt x="185" y="370"/>
                        </a:cubicBezTo>
                        <a:cubicBezTo>
                          <a:pt x="185" y="358"/>
                          <a:pt x="185" y="358"/>
                          <a:pt x="185" y="358"/>
                        </a:cubicBezTo>
                        <a:cubicBezTo>
                          <a:pt x="184" y="349"/>
                          <a:pt x="177" y="344"/>
                          <a:pt x="169" y="344"/>
                        </a:cubicBezTo>
                        <a:close/>
                        <a:moveTo>
                          <a:pt x="169" y="369"/>
                        </a:moveTo>
                        <a:cubicBezTo>
                          <a:pt x="45" y="369"/>
                          <a:pt x="45" y="369"/>
                          <a:pt x="45" y="369"/>
                        </a:cubicBezTo>
                        <a:cubicBezTo>
                          <a:pt x="45" y="369"/>
                          <a:pt x="45" y="369"/>
                          <a:pt x="45" y="369"/>
                        </a:cubicBezTo>
                        <a:cubicBezTo>
                          <a:pt x="45" y="360"/>
                          <a:pt x="45" y="360"/>
                          <a:pt x="45" y="360"/>
                        </a:cubicBezTo>
                        <a:cubicBezTo>
                          <a:pt x="45" y="360"/>
                          <a:pt x="45" y="360"/>
                          <a:pt x="45" y="360"/>
                        </a:cubicBezTo>
                        <a:cubicBezTo>
                          <a:pt x="169" y="360"/>
                          <a:pt x="169" y="360"/>
                          <a:pt x="169" y="360"/>
                        </a:cubicBezTo>
                        <a:lnTo>
                          <a:pt x="169" y="369"/>
                        </a:lnTo>
                        <a:close/>
                        <a:moveTo>
                          <a:pt x="185" y="306"/>
                        </a:moveTo>
                        <a:cubicBezTo>
                          <a:pt x="185" y="297"/>
                          <a:pt x="177" y="291"/>
                          <a:pt x="169" y="291"/>
                        </a:cubicBezTo>
                        <a:cubicBezTo>
                          <a:pt x="45" y="291"/>
                          <a:pt x="45" y="291"/>
                          <a:pt x="45" y="291"/>
                        </a:cubicBezTo>
                        <a:cubicBezTo>
                          <a:pt x="37" y="291"/>
                          <a:pt x="30" y="297"/>
                          <a:pt x="29" y="306"/>
                        </a:cubicBezTo>
                        <a:cubicBezTo>
                          <a:pt x="29" y="318"/>
                          <a:pt x="29" y="318"/>
                          <a:pt x="29" y="318"/>
                        </a:cubicBezTo>
                        <a:cubicBezTo>
                          <a:pt x="30" y="327"/>
                          <a:pt x="37" y="333"/>
                          <a:pt x="45" y="333"/>
                        </a:cubicBezTo>
                        <a:cubicBezTo>
                          <a:pt x="169" y="333"/>
                          <a:pt x="169" y="333"/>
                          <a:pt x="169" y="333"/>
                        </a:cubicBezTo>
                        <a:cubicBezTo>
                          <a:pt x="177" y="333"/>
                          <a:pt x="184" y="327"/>
                          <a:pt x="185" y="318"/>
                        </a:cubicBezTo>
                        <a:lnTo>
                          <a:pt x="185" y="306"/>
                        </a:lnTo>
                        <a:close/>
                        <a:moveTo>
                          <a:pt x="169" y="317"/>
                        </a:moveTo>
                        <a:cubicBezTo>
                          <a:pt x="45" y="317"/>
                          <a:pt x="45" y="317"/>
                          <a:pt x="45" y="317"/>
                        </a:cubicBezTo>
                        <a:cubicBezTo>
                          <a:pt x="45" y="317"/>
                          <a:pt x="45" y="317"/>
                          <a:pt x="45" y="317"/>
                        </a:cubicBezTo>
                        <a:cubicBezTo>
                          <a:pt x="45" y="307"/>
                          <a:pt x="45" y="307"/>
                          <a:pt x="45" y="307"/>
                        </a:cubicBezTo>
                        <a:cubicBezTo>
                          <a:pt x="45" y="307"/>
                          <a:pt x="45" y="307"/>
                          <a:pt x="45" y="307"/>
                        </a:cubicBezTo>
                        <a:cubicBezTo>
                          <a:pt x="169" y="307"/>
                          <a:pt x="169" y="307"/>
                          <a:pt x="169" y="307"/>
                        </a:cubicBezTo>
                        <a:lnTo>
                          <a:pt x="169" y="317"/>
                        </a:lnTo>
                        <a:close/>
                        <a:moveTo>
                          <a:pt x="185" y="253"/>
                        </a:moveTo>
                        <a:cubicBezTo>
                          <a:pt x="184" y="244"/>
                          <a:pt x="177" y="239"/>
                          <a:pt x="169" y="239"/>
                        </a:cubicBezTo>
                        <a:cubicBezTo>
                          <a:pt x="45" y="239"/>
                          <a:pt x="45" y="239"/>
                          <a:pt x="45" y="239"/>
                        </a:cubicBezTo>
                        <a:cubicBezTo>
                          <a:pt x="37" y="239"/>
                          <a:pt x="30" y="244"/>
                          <a:pt x="29" y="253"/>
                        </a:cubicBezTo>
                        <a:cubicBezTo>
                          <a:pt x="29" y="265"/>
                          <a:pt x="29" y="265"/>
                          <a:pt x="29" y="265"/>
                        </a:cubicBezTo>
                        <a:cubicBezTo>
                          <a:pt x="30" y="275"/>
                          <a:pt x="37" y="280"/>
                          <a:pt x="45" y="280"/>
                        </a:cubicBezTo>
                        <a:cubicBezTo>
                          <a:pt x="169" y="280"/>
                          <a:pt x="169" y="280"/>
                          <a:pt x="169" y="280"/>
                        </a:cubicBezTo>
                        <a:cubicBezTo>
                          <a:pt x="177" y="280"/>
                          <a:pt x="185" y="275"/>
                          <a:pt x="185" y="265"/>
                        </a:cubicBezTo>
                        <a:lnTo>
                          <a:pt x="185" y="253"/>
                        </a:lnTo>
                        <a:close/>
                        <a:moveTo>
                          <a:pt x="169" y="264"/>
                        </a:moveTo>
                        <a:cubicBezTo>
                          <a:pt x="45" y="264"/>
                          <a:pt x="45" y="264"/>
                          <a:pt x="45" y="264"/>
                        </a:cubicBezTo>
                        <a:cubicBezTo>
                          <a:pt x="45" y="264"/>
                          <a:pt x="45" y="264"/>
                          <a:pt x="45" y="264"/>
                        </a:cubicBezTo>
                        <a:cubicBezTo>
                          <a:pt x="45" y="255"/>
                          <a:pt x="45" y="255"/>
                          <a:pt x="45" y="255"/>
                        </a:cubicBezTo>
                        <a:cubicBezTo>
                          <a:pt x="45" y="255"/>
                          <a:pt x="45" y="255"/>
                          <a:pt x="45" y="255"/>
                        </a:cubicBezTo>
                        <a:cubicBezTo>
                          <a:pt x="169" y="255"/>
                          <a:pt x="169" y="255"/>
                          <a:pt x="169" y="255"/>
                        </a:cubicBezTo>
                        <a:lnTo>
                          <a:pt x="169" y="264"/>
                        </a:lnTo>
                        <a:close/>
                        <a:moveTo>
                          <a:pt x="185" y="201"/>
                        </a:moveTo>
                        <a:cubicBezTo>
                          <a:pt x="185" y="192"/>
                          <a:pt x="177" y="186"/>
                          <a:pt x="169" y="186"/>
                        </a:cubicBezTo>
                        <a:cubicBezTo>
                          <a:pt x="45" y="186"/>
                          <a:pt x="45" y="186"/>
                          <a:pt x="45" y="186"/>
                        </a:cubicBezTo>
                        <a:cubicBezTo>
                          <a:pt x="37" y="186"/>
                          <a:pt x="30" y="192"/>
                          <a:pt x="29" y="201"/>
                        </a:cubicBezTo>
                        <a:cubicBezTo>
                          <a:pt x="29" y="213"/>
                          <a:pt x="29" y="213"/>
                          <a:pt x="29" y="213"/>
                        </a:cubicBezTo>
                        <a:cubicBezTo>
                          <a:pt x="30" y="222"/>
                          <a:pt x="37" y="228"/>
                          <a:pt x="45" y="228"/>
                        </a:cubicBezTo>
                        <a:cubicBezTo>
                          <a:pt x="169" y="228"/>
                          <a:pt x="169" y="228"/>
                          <a:pt x="169" y="228"/>
                        </a:cubicBezTo>
                        <a:cubicBezTo>
                          <a:pt x="177" y="228"/>
                          <a:pt x="184" y="222"/>
                          <a:pt x="185" y="213"/>
                        </a:cubicBezTo>
                        <a:lnTo>
                          <a:pt x="185" y="201"/>
                        </a:lnTo>
                        <a:close/>
                        <a:moveTo>
                          <a:pt x="169" y="212"/>
                        </a:moveTo>
                        <a:cubicBezTo>
                          <a:pt x="45" y="212"/>
                          <a:pt x="45" y="212"/>
                          <a:pt x="45" y="212"/>
                        </a:cubicBezTo>
                        <a:cubicBezTo>
                          <a:pt x="45" y="212"/>
                          <a:pt x="45" y="212"/>
                          <a:pt x="45" y="212"/>
                        </a:cubicBezTo>
                        <a:cubicBezTo>
                          <a:pt x="45" y="202"/>
                          <a:pt x="45" y="202"/>
                          <a:pt x="45" y="202"/>
                        </a:cubicBezTo>
                        <a:cubicBezTo>
                          <a:pt x="45" y="202"/>
                          <a:pt x="45" y="202"/>
                          <a:pt x="45" y="202"/>
                        </a:cubicBezTo>
                        <a:cubicBezTo>
                          <a:pt x="169" y="202"/>
                          <a:pt x="169" y="202"/>
                          <a:pt x="169" y="202"/>
                        </a:cubicBezTo>
                        <a:lnTo>
                          <a:pt x="169" y="212"/>
                        </a:lnTo>
                        <a:close/>
                        <a:moveTo>
                          <a:pt x="185" y="148"/>
                        </a:moveTo>
                        <a:cubicBezTo>
                          <a:pt x="184" y="139"/>
                          <a:pt x="177" y="134"/>
                          <a:pt x="169" y="134"/>
                        </a:cubicBezTo>
                        <a:cubicBezTo>
                          <a:pt x="45" y="134"/>
                          <a:pt x="45" y="134"/>
                          <a:pt x="45" y="134"/>
                        </a:cubicBezTo>
                        <a:cubicBezTo>
                          <a:pt x="37" y="134"/>
                          <a:pt x="30" y="139"/>
                          <a:pt x="29" y="148"/>
                        </a:cubicBezTo>
                        <a:cubicBezTo>
                          <a:pt x="29" y="161"/>
                          <a:pt x="29" y="161"/>
                          <a:pt x="29" y="161"/>
                        </a:cubicBezTo>
                        <a:cubicBezTo>
                          <a:pt x="30" y="170"/>
                          <a:pt x="37" y="175"/>
                          <a:pt x="45" y="175"/>
                        </a:cubicBezTo>
                        <a:cubicBezTo>
                          <a:pt x="169" y="175"/>
                          <a:pt x="169" y="175"/>
                          <a:pt x="169" y="175"/>
                        </a:cubicBezTo>
                        <a:cubicBezTo>
                          <a:pt x="177" y="175"/>
                          <a:pt x="185" y="170"/>
                          <a:pt x="185" y="161"/>
                        </a:cubicBezTo>
                        <a:lnTo>
                          <a:pt x="185" y="148"/>
                        </a:lnTo>
                        <a:close/>
                        <a:moveTo>
                          <a:pt x="169" y="159"/>
                        </a:moveTo>
                        <a:cubicBezTo>
                          <a:pt x="45" y="159"/>
                          <a:pt x="45" y="159"/>
                          <a:pt x="45" y="159"/>
                        </a:cubicBezTo>
                        <a:cubicBezTo>
                          <a:pt x="45" y="159"/>
                          <a:pt x="45" y="159"/>
                          <a:pt x="45" y="159"/>
                        </a:cubicBezTo>
                        <a:cubicBezTo>
                          <a:pt x="45" y="150"/>
                          <a:pt x="45" y="150"/>
                          <a:pt x="45" y="150"/>
                        </a:cubicBezTo>
                        <a:cubicBezTo>
                          <a:pt x="45" y="150"/>
                          <a:pt x="45" y="150"/>
                          <a:pt x="45" y="150"/>
                        </a:cubicBezTo>
                        <a:cubicBezTo>
                          <a:pt x="169" y="150"/>
                          <a:pt x="169" y="150"/>
                          <a:pt x="169" y="150"/>
                        </a:cubicBezTo>
                        <a:lnTo>
                          <a:pt x="169" y="159"/>
                        </a:lnTo>
                        <a:close/>
                        <a:moveTo>
                          <a:pt x="185" y="96"/>
                        </a:moveTo>
                        <a:cubicBezTo>
                          <a:pt x="185" y="87"/>
                          <a:pt x="177" y="81"/>
                          <a:pt x="169" y="81"/>
                        </a:cubicBezTo>
                        <a:cubicBezTo>
                          <a:pt x="45" y="81"/>
                          <a:pt x="45" y="81"/>
                          <a:pt x="45" y="81"/>
                        </a:cubicBezTo>
                        <a:cubicBezTo>
                          <a:pt x="37" y="81"/>
                          <a:pt x="30" y="87"/>
                          <a:pt x="29" y="96"/>
                        </a:cubicBezTo>
                        <a:cubicBezTo>
                          <a:pt x="29" y="108"/>
                          <a:pt x="29" y="108"/>
                          <a:pt x="29" y="108"/>
                        </a:cubicBezTo>
                        <a:cubicBezTo>
                          <a:pt x="30" y="117"/>
                          <a:pt x="37" y="123"/>
                          <a:pt x="45" y="123"/>
                        </a:cubicBezTo>
                        <a:cubicBezTo>
                          <a:pt x="169" y="123"/>
                          <a:pt x="169" y="123"/>
                          <a:pt x="169" y="123"/>
                        </a:cubicBezTo>
                        <a:cubicBezTo>
                          <a:pt x="177" y="123"/>
                          <a:pt x="184" y="117"/>
                          <a:pt x="185" y="108"/>
                        </a:cubicBezTo>
                        <a:lnTo>
                          <a:pt x="185" y="96"/>
                        </a:lnTo>
                        <a:close/>
                        <a:moveTo>
                          <a:pt x="169" y="107"/>
                        </a:moveTo>
                        <a:cubicBezTo>
                          <a:pt x="45" y="107"/>
                          <a:pt x="45" y="107"/>
                          <a:pt x="45" y="107"/>
                        </a:cubicBezTo>
                        <a:cubicBezTo>
                          <a:pt x="45" y="107"/>
                          <a:pt x="45" y="107"/>
                          <a:pt x="45" y="107"/>
                        </a:cubicBezTo>
                        <a:cubicBezTo>
                          <a:pt x="45" y="97"/>
                          <a:pt x="45" y="97"/>
                          <a:pt x="45" y="97"/>
                        </a:cubicBezTo>
                        <a:cubicBezTo>
                          <a:pt x="45" y="97"/>
                          <a:pt x="45" y="97"/>
                          <a:pt x="45" y="97"/>
                        </a:cubicBezTo>
                        <a:cubicBezTo>
                          <a:pt x="169" y="97"/>
                          <a:pt x="169" y="97"/>
                          <a:pt x="169" y="97"/>
                        </a:cubicBezTo>
                        <a:lnTo>
                          <a:pt x="169" y="107"/>
                        </a:lnTo>
                        <a:close/>
                        <a:moveTo>
                          <a:pt x="185" y="44"/>
                        </a:moveTo>
                        <a:cubicBezTo>
                          <a:pt x="184" y="34"/>
                          <a:pt x="177" y="29"/>
                          <a:pt x="169" y="29"/>
                        </a:cubicBezTo>
                        <a:cubicBezTo>
                          <a:pt x="45" y="29"/>
                          <a:pt x="45" y="29"/>
                          <a:pt x="45" y="29"/>
                        </a:cubicBezTo>
                        <a:cubicBezTo>
                          <a:pt x="37" y="29"/>
                          <a:pt x="30" y="34"/>
                          <a:pt x="29" y="44"/>
                        </a:cubicBezTo>
                        <a:cubicBezTo>
                          <a:pt x="29" y="56"/>
                          <a:pt x="29" y="56"/>
                          <a:pt x="29" y="56"/>
                        </a:cubicBezTo>
                        <a:cubicBezTo>
                          <a:pt x="30" y="65"/>
                          <a:pt x="37" y="70"/>
                          <a:pt x="45" y="70"/>
                        </a:cubicBezTo>
                        <a:cubicBezTo>
                          <a:pt x="169" y="70"/>
                          <a:pt x="169" y="70"/>
                          <a:pt x="169" y="70"/>
                        </a:cubicBezTo>
                        <a:cubicBezTo>
                          <a:pt x="177" y="70"/>
                          <a:pt x="185" y="65"/>
                          <a:pt x="185" y="56"/>
                        </a:cubicBezTo>
                        <a:lnTo>
                          <a:pt x="185" y="44"/>
                        </a:lnTo>
                        <a:close/>
                        <a:moveTo>
                          <a:pt x="169" y="54"/>
                        </a:moveTo>
                        <a:cubicBezTo>
                          <a:pt x="45" y="54"/>
                          <a:pt x="45" y="54"/>
                          <a:pt x="45" y="54"/>
                        </a:cubicBezTo>
                        <a:cubicBezTo>
                          <a:pt x="45" y="54"/>
                          <a:pt x="45" y="54"/>
                          <a:pt x="45" y="54"/>
                        </a:cubicBezTo>
                        <a:cubicBezTo>
                          <a:pt x="45" y="45"/>
                          <a:pt x="45" y="45"/>
                          <a:pt x="45" y="45"/>
                        </a:cubicBezTo>
                        <a:cubicBezTo>
                          <a:pt x="45" y="45"/>
                          <a:pt x="45" y="45"/>
                          <a:pt x="45" y="45"/>
                        </a:cubicBezTo>
                        <a:cubicBezTo>
                          <a:pt x="169" y="45"/>
                          <a:pt x="169" y="45"/>
                          <a:pt x="169" y="45"/>
                        </a:cubicBezTo>
                        <a:lnTo>
                          <a:pt x="169" y="54"/>
                        </a:lnTo>
                        <a:close/>
                        <a:moveTo>
                          <a:pt x="212" y="88"/>
                        </a:moveTo>
                        <a:cubicBezTo>
                          <a:pt x="204" y="88"/>
                          <a:pt x="198" y="94"/>
                          <a:pt x="198" y="102"/>
                        </a:cubicBezTo>
                        <a:cubicBezTo>
                          <a:pt x="198" y="110"/>
                          <a:pt x="204" y="116"/>
                          <a:pt x="212" y="116"/>
                        </a:cubicBezTo>
                        <a:cubicBezTo>
                          <a:pt x="220" y="116"/>
                          <a:pt x="226" y="110"/>
                          <a:pt x="226" y="102"/>
                        </a:cubicBezTo>
                        <a:cubicBezTo>
                          <a:pt x="226" y="94"/>
                          <a:pt x="220" y="88"/>
                          <a:pt x="212" y="88"/>
                        </a:cubicBezTo>
                        <a:close/>
                        <a:moveTo>
                          <a:pt x="212" y="35"/>
                        </a:moveTo>
                        <a:cubicBezTo>
                          <a:pt x="204" y="35"/>
                          <a:pt x="198" y="42"/>
                          <a:pt x="198" y="50"/>
                        </a:cubicBezTo>
                        <a:cubicBezTo>
                          <a:pt x="198" y="57"/>
                          <a:pt x="204" y="64"/>
                          <a:pt x="212" y="64"/>
                        </a:cubicBezTo>
                        <a:cubicBezTo>
                          <a:pt x="220" y="64"/>
                          <a:pt x="226" y="57"/>
                          <a:pt x="226" y="50"/>
                        </a:cubicBezTo>
                        <a:cubicBezTo>
                          <a:pt x="226" y="42"/>
                          <a:pt x="220" y="35"/>
                          <a:pt x="212" y="35"/>
                        </a:cubicBezTo>
                        <a:close/>
                        <a:moveTo>
                          <a:pt x="212" y="140"/>
                        </a:moveTo>
                        <a:cubicBezTo>
                          <a:pt x="204" y="140"/>
                          <a:pt x="198" y="147"/>
                          <a:pt x="198" y="155"/>
                        </a:cubicBezTo>
                        <a:cubicBezTo>
                          <a:pt x="198" y="162"/>
                          <a:pt x="204" y="169"/>
                          <a:pt x="212" y="169"/>
                        </a:cubicBezTo>
                        <a:cubicBezTo>
                          <a:pt x="220" y="169"/>
                          <a:pt x="226" y="162"/>
                          <a:pt x="226" y="155"/>
                        </a:cubicBezTo>
                        <a:cubicBezTo>
                          <a:pt x="226" y="147"/>
                          <a:pt x="220" y="140"/>
                          <a:pt x="212" y="140"/>
                        </a:cubicBezTo>
                        <a:close/>
                        <a:moveTo>
                          <a:pt x="212" y="193"/>
                        </a:moveTo>
                        <a:cubicBezTo>
                          <a:pt x="204" y="193"/>
                          <a:pt x="198" y="199"/>
                          <a:pt x="198" y="207"/>
                        </a:cubicBezTo>
                        <a:cubicBezTo>
                          <a:pt x="198" y="215"/>
                          <a:pt x="204" y="221"/>
                          <a:pt x="212" y="221"/>
                        </a:cubicBezTo>
                        <a:cubicBezTo>
                          <a:pt x="220" y="221"/>
                          <a:pt x="226" y="215"/>
                          <a:pt x="226" y="207"/>
                        </a:cubicBezTo>
                        <a:cubicBezTo>
                          <a:pt x="226" y="199"/>
                          <a:pt x="220" y="193"/>
                          <a:pt x="212" y="193"/>
                        </a:cubicBezTo>
                        <a:close/>
                        <a:moveTo>
                          <a:pt x="212" y="245"/>
                        </a:moveTo>
                        <a:cubicBezTo>
                          <a:pt x="204" y="245"/>
                          <a:pt x="198" y="252"/>
                          <a:pt x="198" y="259"/>
                        </a:cubicBezTo>
                        <a:cubicBezTo>
                          <a:pt x="198" y="267"/>
                          <a:pt x="204" y="274"/>
                          <a:pt x="212" y="274"/>
                        </a:cubicBezTo>
                        <a:cubicBezTo>
                          <a:pt x="220" y="274"/>
                          <a:pt x="226" y="267"/>
                          <a:pt x="226" y="259"/>
                        </a:cubicBezTo>
                        <a:cubicBezTo>
                          <a:pt x="226" y="252"/>
                          <a:pt x="220" y="245"/>
                          <a:pt x="212" y="245"/>
                        </a:cubicBezTo>
                        <a:close/>
                        <a:moveTo>
                          <a:pt x="212" y="298"/>
                        </a:moveTo>
                        <a:cubicBezTo>
                          <a:pt x="204" y="298"/>
                          <a:pt x="198" y="304"/>
                          <a:pt x="198" y="312"/>
                        </a:cubicBezTo>
                        <a:cubicBezTo>
                          <a:pt x="198" y="320"/>
                          <a:pt x="204" y="326"/>
                          <a:pt x="212" y="326"/>
                        </a:cubicBezTo>
                        <a:cubicBezTo>
                          <a:pt x="220" y="326"/>
                          <a:pt x="226" y="320"/>
                          <a:pt x="226" y="312"/>
                        </a:cubicBezTo>
                        <a:cubicBezTo>
                          <a:pt x="226" y="304"/>
                          <a:pt x="220" y="298"/>
                          <a:pt x="212" y="298"/>
                        </a:cubicBezTo>
                        <a:close/>
                        <a:moveTo>
                          <a:pt x="212" y="350"/>
                        </a:moveTo>
                        <a:cubicBezTo>
                          <a:pt x="204" y="350"/>
                          <a:pt x="198" y="356"/>
                          <a:pt x="198" y="364"/>
                        </a:cubicBezTo>
                        <a:cubicBezTo>
                          <a:pt x="198" y="372"/>
                          <a:pt x="204" y="379"/>
                          <a:pt x="212" y="379"/>
                        </a:cubicBezTo>
                        <a:cubicBezTo>
                          <a:pt x="220" y="379"/>
                          <a:pt x="226" y="372"/>
                          <a:pt x="226" y="364"/>
                        </a:cubicBezTo>
                        <a:cubicBezTo>
                          <a:pt x="226" y="356"/>
                          <a:pt x="220" y="350"/>
                          <a:pt x="212" y="350"/>
                        </a:cubicBezTo>
                        <a:close/>
                        <a:moveTo>
                          <a:pt x="247" y="44"/>
                        </a:moveTo>
                        <a:cubicBezTo>
                          <a:pt x="251" y="44"/>
                          <a:pt x="255" y="41"/>
                          <a:pt x="255" y="36"/>
                        </a:cubicBezTo>
                        <a:cubicBezTo>
                          <a:pt x="255" y="16"/>
                          <a:pt x="255" y="16"/>
                          <a:pt x="255" y="16"/>
                        </a:cubicBezTo>
                        <a:cubicBezTo>
                          <a:pt x="255" y="7"/>
                          <a:pt x="248" y="0"/>
                          <a:pt x="239" y="0"/>
                        </a:cubicBezTo>
                        <a:cubicBezTo>
                          <a:pt x="16" y="0"/>
                          <a:pt x="16" y="0"/>
                          <a:pt x="16" y="0"/>
                        </a:cubicBezTo>
                        <a:cubicBezTo>
                          <a:pt x="7" y="0"/>
                          <a:pt x="0" y="7"/>
                          <a:pt x="0" y="16"/>
                        </a:cubicBezTo>
                        <a:cubicBezTo>
                          <a:pt x="0" y="396"/>
                          <a:pt x="0" y="396"/>
                          <a:pt x="0" y="396"/>
                        </a:cubicBezTo>
                        <a:cubicBezTo>
                          <a:pt x="0" y="405"/>
                          <a:pt x="7" y="412"/>
                          <a:pt x="16" y="412"/>
                        </a:cubicBezTo>
                        <a:cubicBezTo>
                          <a:pt x="239" y="412"/>
                          <a:pt x="239" y="412"/>
                          <a:pt x="239" y="412"/>
                        </a:cubicBezTo>
                        <a:cubicBezTo>
                          <a:pt x="248" y="412"/>
                          <a:pt x="255" y="405"/>
                          <a:pt x="255" y="396"/>
                        </a:cubicBezTo>
                        <a:cubicBezTo>
                          <a:pt x="255" y="60"/>
                          <a:pt x="255" y="60"/>
                          <a:pt x="255" y="60"/>
                        </a:cubicBezTo>
                        <a:cubicBezTo>
                          <a:pt x="255" y="56"/>
                          <a:pt x="251" y="52"/>
                          <a:pt x="247" y="52"/>
                        </a:cubicBezTo>
                        <a:cubicBezTo>
                          <a:pt x="242" y="52"/>
                          <a:pt x="239" y="56"/>
                          <a:pt x="239" y="60"/>
                        </a:cubicBezTo>
                        <a:cubicBezTo>
                          <a:pt x="239" y="396"/>
                          <a:pt x="239" y="396"/>
                          <a:pt x="239" y="396"/>
                        </a:cubicBezTo>
                        <a:cubicBezTo>
                          <a:pt x="16" y="396"/>
                          <a:pt x="16" y="396"/>
                          <a:pt x="16" y="396"/>
                        </a:cubicBezTo>
                        <a:cubicBezTo>
                          <a:pt x="16" y="396"/>
                          <a:pt x="16" y="396"/>
                          <a:pt x="16" y="396"/>
                        </a:cubicBezTo>
                        <a:cubicBezTo>
                          <a:pt x="16" y="16"/>
                          <a:pt x="16" y="16"/>
                          <a:pt x="16" y="16"/>
                        </a:cubicBezTo>
                        <a:cubicBezTo>
                          <a:pt x="16" y="16"/>
                          <a:pt x="16" y="16"/>
                          <a:pt x="16" y="16"/>
                        </a:cubicBezTo>
                        <a:cubicBezTo>
                          <a:pt x="239" y="16"/>
                          <a:pt x="239" y="16"/>
                          <a:pt x="239" y="16"/>
                        </a:cubicBezTo>
                        <a:cubicBezTo>
                          <a:pt x="239" y="36"/>
                          <a:pt x="239" y="36"/>
                          <a:pt x="239" y="36"/>
                        </a:cubicBezTo>
                        <a:cubicBezTo>
                          <a:pt x="239" y="41"/>
                          <a:pt x="242" y="44"/>
                          <a:pt x="247" y="44"/>
                        </a:cubicBezTo>
                        <a:close/>
                      </a:path>
                    </a:pathLst>
                  </a:custGeom>
                  <a:solidFill>
                    <a:srgbClr val="BBE0E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22926" name="Group 87"/>
                <p:cNvGrpSpPr>
                  <a:grpSpLocks/>
                </p:cNvGrpSpPr>
                <p:nvPr/>
              </p:nvGrpSpPr>
              <p:grpSpPr bwMode="auto">
                <a:xfrm rot="10800000">
                  <a:off x="2785" y="1434"/>
                  <a:ext cx="1173" cy="528"/>
                  <a:chOff x="-2133600" y="1295400"/>
                  <a:chExt cx="1447799" cy="837662"/>
                </a:xfrm>
              </p:grpSpPr>
              <p:sp>
                <p:nvSpPr>
                  <p:cNvPr id="89" name="L-Shape 88"/>
                  <p:cNvSpPr>
                    <a:spLocks/>
                  </p:cNvSpPr>
                  <p:nvPr/>
                </p:nvSpPr>
                <p:spPr bwMode="auto">
                  <a:xfrm>
                    <a:off x="-2100274" y="1298573"/>
                    <a:ext cx="1436690" cy="837662"/>
                  </a:xfrm>
                  <a:custGeom>
                    <a:avLst/>
                    <a:gdLst>
                      <a:gd name="T0" fmla="*/ 0 w 1437216"/>
                      <a:gd name="T1" fmla="*/ 0 h 838200"/>
                      <a:gd name="T2" fmla="*/ 399544 w 1437216"/>
                      <a:gd name="T3" fmla="*/ 0 h 838200"/>
                      <a:gd name="T4" fmla="*/ 399544 w 1437216"/>
                      <a:gd name="T5" fmla="*/ 453587 h 838200"/>
                      <a:gd name="T6" fmla="*/ 1435349 w 1437216"/>
                      <a:gd name="T7" fmla="*/ 453587 h 838200"/>
                      <a:gd name="T8" fmla="*/ 1435349 w 1437216"/>
                      <a:gd name="T9" fmla="*/ 837124 h 838200"/>
                      <a:gd name="T10" fmla="*/ 0 w 1437216"/>
                      <a:gd name="T11" fmla="*/ 837124 h 838200"/>
                      <a:gd name="T12" fmla="*/ 0 w 1437216"/>
                      <a:gd name="T13" fmla="*/ 0 h 838200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0" t="0" r="r" b="b"/>
                    <a:pathLst>
                      <a:path w="1437216" h="838200">
                        <a:moveTo>
                          <a:pt x="0" y="0"/>
                        </a:moveTo>
                        <a:lnTo>
                          <a:pt x="400064" y="0"/>
                        </a:lnTo>
                        <a:lnTo>
                          <a:pt x="400064" y="454170"/>
                        </a:lnTo>
                        <a:lnTo>
                          <a:pt x="1437216" y="454170"/>
                        </a:lnTo>
                        <a:lnTo>
                          <a:pt x="1437216" y="838200"/>
                        </a:lnTo>
                        <a:lnTo>
                          <a:pt x="0" y="83820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9BA17"/>
                  </a:solidFill>
                  <a:ln>
                    <a:noFill/>
                  </a:ln>
                  <a:effectLst>
                    <a:outerShdw blurRad="40000" dist="20000" dir="5400000" rotWithShape="0">
                      <a:srgbClr val="000000">
                        <a:alpha val="37999"/>
                      </a:srgbClr>
                    </a:outerShdw>
                  </a:effectLst>
                  <a:extLst>
                    <a:ext uri="{91240B29-F687-4F45-9708-019B960494DF}">
                      <a14:hiddenLine xmlns:a14="http://schemas.microsoft.com/office/drawing/2010/main" w="9525" cap="flat" cmpd="sng">
                        <a:solidFill>
                          <a:srgbClr val="0000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14:hiddenLine>
                    </a:ext>
                  </a:extLst>
                </p:spPr>
                <p:txBody>
                  <a:bodyPr wrap="none" lIns="72000" rIns="72000" anchor="ctr"/>
                  <a:lstStyle/>
                  <a:p>
                    <a:pPr algn="ctr">
                      <a:defRPr/>
                    </a:pPr>
                    <a:endParaRPr lang="en-US" sz="1000" b="1" i="1"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22928" name="TextBox 6"/>
                  <p:cNvSpPr txBox="1">
                    <a:spLocks noChangeArrowheads="1"/>
                  </p:cNvSpPr>
                  <p:nvPr/>
                </p:nvSpPr>
                <p:spPr bwMode="auto">
                  <a:xfrm rot="10800000">
                    <a:off x="-1828800" y="1752600"/>
                    <a:ext cx="1142999" cy="338554"/>
                  </a:xfrm>
                  <a:prstGeom prst="rect">
                    <a:avLst/>
                  </a:prstGeom>
                  <a:solidFill>
                    <a:srgbClr val="89BA17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anchor="ctr">
                    <a:spAutoFit/>
                  </a:bodyPr>
                  <a:lstStyle>
                    <a:lvl1pPr eaLnBrk="0" hangingPunct="0"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ea typeface="MS PGothic" pitchFamily="34" charset="-128"/>
                      </a:defRPr>
                    </a:lvl1pPr>
                    <a:lvl2pPr marL="742950" indent="-285750" eaLnBrk="0" hangingPunct="0"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ea typeface="MS PGothic" pitchFamily="34" charset="-128"/>
                      </a:defRPr>
                    </a:lvl2pPr>
                    <a:lvl3pPr marL="1143000" indent="-228600" eaLnBrk="0" hangingPunct="0"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ea typeface="MS PGothic" pitchFamily="34" charset="-128"/>
                      </a:defRPr>
                    </a:lvl3pPr>
                    <a:lvl4pPr marL="1600200" indent="-228600" eaLnBrk="0" hangingPunct="0"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ea typeface="MS PGothic" pitchFamily="34" charset="-128"/>
                      </a:defRPr>
                    </a:lvl4pPr>
                    <a:lvl5pPr marL="2057400" indent="-228600" eaLnBrk="0" hangingPunct="0"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ea typeface="MS PGothic" pitchFamily="34" charset="-128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ea typeface="MS PGothic" pitchFamily="34" charset="-128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ea typeface="MS PGothic" pitchFamily="34" charset="-128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ea typeface="MS PGothic" pitchFamily="34" charset="-128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ea typeface="MS PGothic" pitchFamily="34" charset="-128"/>
                      </a:defRPr>
                    </a:lvl9pPr>
                  </a:lstStyle>
                  <a:p>
                    <a:pPr algn="ctr" eaLnBrk="1" hangingPunct="1">
                      <a:spcBef>
                        <a:spcPct val="50000"/>
                      </a:spcBef>
                    </a:pPr>
                    <a:r>
                      <a:rPr lang="en-AU" sz="1600" b="1" i="1">
                        <a:solidFill>
                          <a:srgbClr val="000000"/>
                        </a:solidFill>
                      </a:rPr>
                      <a:t>BSS</a:t>
                    </a:r>
                  </a:p>
                </p:txBody>
              </p:sp>
            </p:grpSp>
            <p:grpSp>
              <p:nvGrpSpPr>
                <p:cNvPr id="122929" name="Group 6"/>
                <p:cNvGrpSpPr>
                  <a:grpSpLocks/>
                </p:cNvGrpSpPr>
                <p:nvPr/>
              </p:nvGrpSpPr>
              <p:grpSpPr bwMode="auto">
                <a:xfrm>
                  <a:off x="3587" y="1486"/>
                  <a:ext cx="302" cy="140"/>
                  <a:chOff x="4881801" y="4742270"/>
                  <a:chExt cx="458561" cy="288060"/>
                </a:xfrm>
              </p:grpSpPr>
              <p:sp>
                <p:nvSpPr>
                  <p:cNvPr id="122930" name="Freeform 8"/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5131104" y="4742378"/>
                    <a:ext cx="209258" cy="287952"/>
                  </a:xfrm>
                  <a:custGeom>
                    <a:avLst/>
                    <a:gdLst>
                      <a:gd name="T0" fmla="*/ 2147483647 w 255"/>
                      <a:gd name="T1" fmla="*/ 2147483647 h 412"/>
                      <a:gd name="T2" fmla="*/ 2147483647 w 255"/>
                      <a:gd name="T3" fmla="*/ 2147483647 h 412"/>
                      <a:gd name="T4" fmla="*/ 2147483647 w 255"/>
                      <a:gd name="T5" fmla="*/ 2147483647 h 412"/>
                      <a:gd name="T6" fmla="*/ 2147483647 w 255"/>
                      <a:gd name="T7" fmla="*/ 2147483647 h 412"/>
                      <a:gd name="T8" fmla="*/ 2147483647 w 255"/>
                      <a:gd name="T9" fmla="*/ 2147483647 h 412"/>
                      <a:gd name="T10" fmla="*/ 2147483647 w 255"/>
                      <a:gd name="T11" fmla="*/ 2147483647 h 412"/>
                      <a:gd name="T12" fmla="*/ 2147483647 w 255"/>
                      <a:gd name="T13" fmla="*/ 2147483647 h 412"/>
                      <a:gd name="T14" fmla="*/ 2147483647 w 255"/>
                      <a:gd name="T15" fmla="*/ 2147483647 h 412"/>
                      <a:gd name="T16" fmla="*/ 2147483647 w 255"/>
                      <a:gd name="T17" fmla="*/ 2147483647 h 412"/>
                      <a:gd name="T18" fmla="*/ 2147483647 w 255"/>
                      <a:gd name="T19" fmla="*/ 2147483647 h 412"/>
                      <a:gd name="T20" fmla="*/ 2147483647 w 255"/>
                      <a:gd name="T21" fmla="*/ 2147483647 h 412"/>
                      <a:gd name="T22" fmla="*/ 2147483647 w 255"/>
                      <a:gd name="T23" fmla="*/ 2147483647 h 412"/>
                      <a:gd name="T24" fmla="*/ 2147483647 w 255"/>
                      <a:gd name="T25" fmla="*/ 2147483647 h 412"/>
                      <a:gd name="T26" fmla="*/ 2147483647 w 255"/>
                      <a:gd name="T27" fmla="*/ 2147483647 h 412"/>
                      <a:gd name="T28" fmla="*/ 2147483647 w 255"/>
                      <a:gd name="T29" fmla="*/ 2147483647 h 412"/>
                      <a:gd name="T30" fmla="*/ 2147483647 w 255"/>
                      <a:gd name="T31" fmla="*/ 2147483647 h 412"/>
                      <a:gd name="T32" fmla="*/ 2147483647 w 255"/>
                      <a:gd name="T33" fmla="*/ 2147483647 h 412"/>
                      <a:gd name="T34" fmla="*/ 2147483647 w 255"/>
                      <a:gd name="T35" fmla="*/ 2147483647 h 412"/>
                      <a:gd name="T36" fmla="*/ 2147483647 w 255"/>
                      <a:gd name="T37" fmla="*/ 2147483647 h 412"/>
                      <a:gd name="T38" fmla="*/ 2147483647 w 255"/>
                      <a:gd name="T39" fmla="*/ 2147483647 h 412"/>
                      <a:gd name="T40" fmla="*/ 2147483647 w 255"/>
                      <a:gd name="T41" fmla="*/ 2147483647 h 412"/>
                      <a:gd name="T42" fmla="*/ 2147483647 w 255"/>
                      <a:gd name="T43" fmla="*/ 2147483647 h 412"/>
                      <a:gd name="T44" fmla="*/ 2147483647 w 255"/>
                      <a:gd name="T45" fmla="*/ 2147483647 h 412"/>
                      <a:gd name="T46" fmla="*/ 2147483647 w 255"/>
                      <a:gd name="T47" fmla="*/ 2147483647 h 412"/>
                      <a:gd name="T48" fmla="*/ 2147483647 w 255"/>
                      <a:gd name="T49" fmla="*/ 2147483647 h 412"/>
                      <a:gd name="T50" fmla="*/ 2147483647 w 255"/>
                      <a:gd name="T51" fmla="*/ 2147483647 h 412"/>
                      <a:gd name="T52" fmla="*/ 2147483647 w 255"/>
                      <a:gd name="T53" fmla="*/ 2147483647 h 412"/>
                      <a:gd name="T54" fmla="*/ 2147483647 w 255"/>
                      <a:gd name="T55" fmla="*/ 2147483647 h 412"/>
                      <a:gd name="T56" fmla="*/ 2147483647 w 255"/>
                      <a:gd name="T57" fmla="*/ 2147483647 h 412"/>
                      <a:gd name="T58" fmla="*/ 2147483647 w 255"/>
                      <a:gd name="T59" fmla="*/ 2147483647 h 412"/>
                      <a:gd name="T60" fmla="*/ 2147483647 w 255"/>
                      <a:gd name="T61" fmla="*/ 2147483647 h 412"/>
                      <a:gd name="T62" fmla="*/ 2147483647 w 255"/>
                      <a:gd name="T63" fmla="*/ 2147483647 h 412"/>
                      <a:gd name="T64" fmla="*/ 2147483647 w 255"/>
                      <a:gd name="T65" fmla="*/ 2147483647 h 412"/>
                      <a:gd name="T66" fmla="*/ 2147483647 w 255"/>
                      <a:gd name="T67" fmla="*/ 2147483647 h 412"/>
                      <a:gd name="T68" fmla="*/ 2147483647 w 255"/>
                      <a:gd name="T69" fmla="*/ 2147483647 h 412"/>
                      <a:gd name="T70" fmla="*/ 2147483647 w 255"/>
                      <a:gd name="T71" fmla="*/ 2147483647 h 412"/>
                      <a:gd name="T72" fmla="*/ 2147483647 w 255"/>
                      <a:gd name="T73" fmla="*/ 2147483647 h 412"/>
                      <a:gd name="T74" fmla="*/ 2147483647 w 255"/>
                      <a:gd name="T75" fmla="*/ 2147483647 h 412"/>
                      <a:gd name="T76" fmla="*/ 2147483647 w 255"/>
                      <a:gd name="T77" fmla="*/ 2147483647 h 412"/>
                      <a:gd name="T78" fmla="*/ 2147483647 w 255"/>
                      <a:gd name="T79" fmla="*/ 2147483647 h 412"/>
                      <a:gd name="T80" fmla="*/ 2147483647 w 255"/>
                      <a:gd name="T81" fmla="*/ 2147483647 h 412"/>
                      <a:gd name="T82" fmla="*/ 2147483647 w 255"/>
                      <a:gd name="T83" fmla="*/ 2147483647 h 412"/>
                      <a:gd name="T84" fmla="*/ 2147483647 w 255"/>
                      <a:gd name="T85" fmla="*/ 2147483647 h 412"/>
                      <a:gd name="T86" fmla="*/ 2147483647 w 255"/>
                      <a:gd name="T87" fmla="*/ 2147483647 h 412"/>
                      <a:gd name="T88" fmla="*/ 2147483647 w 255"/>
                      <a:gd name="T89" fmla="*/ 2147483647 h 412"/>
                      <a:gd name="T90" fmla="*/ 2147483647 w 255"/>
                      <a:gd name="T91" fmla="*/ 2147483647 h 412"/>
                      <a:gd name="T92" fmla="*/ 2147483647 w 255"/>
                      <a:gd name="T93" fmla="*/ 2147483647 h 412"/>
                      <a:gd name="T94" fmla="*/ 2147483647 w 255"/>
                      <a:gd name="T95" fmla="*/ 2147483647 h 412"/>
                      <a:gd name="T96" fmla="*/ 2147483647 w 255"/>
                      <a:gd name="T97" fmla="*/ 2147483647 h 412"/>
                      <a:gd name="T98" fmla="*/ 2147483647 w 255"/>
                      <a:gd name="T99" fmla="*/ 2147483647 h 412"/>
                      <a:gd name="T100" fmla="*/ 0 w 255"/>
                      <a:gd name="T101" fmla="*/ 2147483647 h 412"/>
                      <a:gd name="T102" fmla="*/ 2147483647 w 255"/>
                      <a:gd name="T103" fmla="*/ 2147483647 h 412"/>
                      <a:gd name="T104" fmla="*/ 2147483647 w 255"/>
                      <a:gd name="T105" fmla="*/ 2147483647 h 412"/>
                      <a:gd name="T106" fmla="*/ 2147483647 w 255"/>
                      <a:gd name="T107" fmla="*/ 2147483647 h 412"/>
                      <a:gd name="T108" fmla="*/ 2147483647 w 255"/>
                      <a:gd name="T109" fmla="*/ 2147483647 h 412"/>
                      <a:gd name="T110" fmla="*/ 2147483647 w 255"/>
                      <a:gd name="T111" fmla="*/ 2147483647 h 412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w 255"/>
                      <a:gd name="T169" fmla="*/ 0 h 412"/>
                      <a:gd name="T170" fmla="*/ 255 w 255"/>
                      <a:gd name="T171" fmla="*/ 412 h 412"/>
                    </a:gdLst>
                    <a:ahLst/>
                    <a:cxnLst>
                      <a:cxn ang="T112">
                        <a:pos x="T0" y="T1"/>
                      </a:cxn>
                      <a:cxn ang="T113">
                        <a:pos x="T2" y="T3"/>
                      </a:cxn>
                      <a:cxn ang="T114">
                        <a:pos x="T4" y="T5"/>
                      </a:cxn>
                      <a:cxn ang="T115">
                        <a:pos x="T6" y="T7"/>
                      </a:cxn>
                      <a:cxn ang="T116">
                        <a:pos x="T8" y="T9"/>
                      </a:cxn>
                      <a:cxn ang="T117">
                        <a:pos x="T10" y="T11"/>
                      </a:cxn>
                      <a:cxn ang="T118">
                        <a:pos x="T12" y="T13"/>
                      </a:cxn>
                      <a:cxn ang="T119">
                        <a:pos x="T14" y="T15"/>
                      </a:cxn>
                      <a:cxn ang="T120">
                        <a:pos x="T16" y="T17"/>
                      </a:cxn>
                      <a:cxn ang="T121">
                        <a:pos x="T18" y="T19"/>
                      </a:cxn>
                      <a:cxn ang="T122">
                        <a:pos x="T20" y="T21"/>
                      </a:cxn>
                      <a:cxn ang="T123">
                        <a:pos x="T22" y="T23"/>
                      </a:cxn>
                      <a:cxn ang="T124">
                        <a:pos x="T24" y="T25"/>
                      </a:cxn>
                      <a:cxn ang="T125">
                        <a:pos x="T26" y="T27"/>
                      </a:cxn>
                      <a:cxn ang="T126">
                        <a:pos x="T28" y="T29"/>
                      </a:cxn>
                      <a:cxn ang="T127">
                        <a:pos x="T30" y="T31"/>
                      </a:cxn>
                      <a:cxn ang="T128">
                        <a:pos x="T32" y="T33"/>
                      </a:cxn>
                      <a:cxn ang="T129">
                        <a:pos x="T34" y="T35"/>
                      </a:cxn>
                      <a:cxn ang="T130">
                        <a:pos x="T36" y="T37"/>
                      </a:cxn>
                      <a:cxn ang="T131">
                        <a:pos x="T38" y="T39"/>
                      </a:cxn>
                      <a:cxn ang="T132">
                        <a:pos x="T40" y="T41"/>
                      </a:cxn>
                      <a:cxn ang="T133">
                        <a:pos x="T42" y="T43"/>
                      </a:cxn>
                      <a:cxn ang="T134">
                        <a:pos x="T44" y="T45"/>
                      </a:cxn>
                      <a:cxn ang="T135">
                        <a:pos x="T46" y="T47"/>
                      </a:cxn>
                      <a:cxn ang="T136">
                        <a:pos x="T48" y="T49"/>
                      </a:cxn>
                      <a:cxn ang="T137">
                        <a:pos x="T50" y="T51"/>
                      </a:cxn>
                      <a:cxn ang="T138">
                        <a:pos x="T52" y="T53"/>
                      </a:cxn>
                      <a:cxn ang="T139">
                        <a:pos x="T54" y="T55"/>
                      </a:cxn>
                      <a:cxn ang="T140">
                        <a:pos x="T56" y="T57"/>
                      </a:cxn>
                      <a:cxn ang="T141">
                        <a:pos x="T58" y="T59"/>
                      </a:cxn>
                      <a:cxn ang="T142">
                        <a:pos x="T60" y="T61"/>
                      </a:cxn>
                      <a:cxn ang="T143">
                        <a:pos x="T62" y="T63"/>
                      </a:cxn>
                      <a:cxn ang="T144">
                        <a:pos x="T64" y="T65"/>
                      </a:cxn>
                      <a:cxn ang="T145">
                        <a:pos x="T66" y="T67"/>
                      </a:cxn>
                      <a:cxn ang="T146">
                        <a:pos x="T68" y="T69"/>
                      </a:cxn>
                      <a:cxn ang="T147">
                        <a:pos x="T70" y="T71"/>
                      </a:cxn>
                      <a:cxn ang="T148">
                        <a:pos x="T72" y="T73"/>
                      </a:cxn>
                      <a:cxn ang="T149">
                        <a:pos x="T74" y="T75"/>
                      </a:cxn>
                      <a:cxn ang="T150">
                        <a:pos x="T76" y="T77"/>
                      </a:cxn>
                      <a:cxn ang="T151">
                        <a:pos x="T78" y="T79"/>
                      </a:cxn>
                      <a:cxn ang="T152">
                        <a:pos x="T80" y="T81"/>
                      </a:cxn>
                      <a:cxn ang="T153">
                        <a:pos x="T82" y="T83"/>
                      </a:cxn>
                      <a:cxn ang="T154">
                        <a:pos x="T84" y="T85"/>
                      </a:cxn>
                      <a:cxn ang="T155">
                        <a:pos x="T86" y="T87"/>
                      </a:cxn>
                      <a:cxn ang="T156">
                        <a:pos x="T88" y="T89"/>
                      </a:cxn>
                      <a:cxn ang="T157">
                        <a:pos x="T90" y="T91"/>
                      </a:cxn>
                      <a:cxn ang="T158">
                        <a:pos x="T92" y="T93"/>
                      </a:cxn>
                      <a:cxn ang="T159">
                        <a:pos x="T94" y="T95"/>
                      </a:cxn>
                      <a:cxn ang="T160">
                        <a:pos x="T96" y="T97"/>
                      </a:cxn>
                      <a:cxn ang="T161">
                        <a:pos x="T98" y="T99"/>
                      </a:cxn>
                      <a:cxn ang="T162">
                        <a:pos x="T100" y="T101"/>
                      </a:cxn>
                      <a:cxn ang="T163">
                        <a:pos x="T102" y="T103"/>
                      </a:cxn>
                      <a:cxn ang="T164">
                        <a:pos x="T104" y="T105"/>
                      </a:cxn>
                      <a:cxn ang="T165">
                        <a:pos x="T106" y="T107"/>
                      </a:cxn>
                      <a:cxn ang="T166">
                        <a:pos x="T108" y="T109"/>
                      </a:cxn>
                      <a:cxn ang="T167">
                        <a:pos x="T110" y="T111"/>
                      </a:cxn>
                    </a:cxnLst>
                    <a:rect l="T168" t="T169" r="T170" b="T171"/>
                    <a:pathLst>
                      <a:path w="255" h="412">
                        <a:moveTo>
                          <a:pt x="169" y="344"/>
                        </a:moveTo>
                        <a:cubicBezTo>
                          <a:pt x="45" y="344"/>
                          <a:pt x="45" y="344"/>
                          <a:pt x="45" y="344"/>
                        </a:cubicBezTo>
                        <a:cubicBezTo>
                          <a:pt x="37" y="344"/>
                          <a:pt x="30" y="349"/>
                          <a:pt x="29" y="358"/>
                        </a:cubicBezTo>
                        <a:cubicBezTo>
                          <a:pt x="29" y="370"/>
                          <a:pt x="29" y="370"/>
                          <a:pt x="29" y="370"/>
                        </a:cubicBezTo>
                        <a:cubicBezTo>
                          <a:pt x="30" y="380"/>
                          <a:pt x="37" y="385"/>
                          <a:pt x="45" y="385"/>
                        </a:cubicBezTo>
                        <a:cubicBezTo>
                          <a:pt x="169" y="385"/>
                          <a:pt x="169" y="385"/>
                          <a:pt x="169" y="385"/>
                        </a:cubicBezTo>
                        <a:cubicBezTo>
                          <a:pt x="177" y="385"/>
                          <a:pt x="185" y="380"/>
                          <a:pt x="185" y="370"/>
                        </a:cubicBezTo>
                        <a:cubicBezTo>
                          <a:pt x="185" y="358"/>
                          <a:pt x="185" y="358"/>
                          <a:pt x="185" y="358"/>
                        </a:cubicBezTo>
                        <a:cubicBezTo>
                          <a:pt x="184" y="349"/>
                          <a:pt x="177" y="344"/>
                          <a:pt x="169" y="344"/>
                        </a:cubicBezTo>
                        <a:close/>
                        <a:moveTo>
                          <a:pt x="169" y="369"/>
                        </a:moveTo>
                        <a:cubicBezTo>
                          <a:pt x="45" y="369"/>
                          <a:pt x="45" y="369"/>
                          <a:pt x="45" y="369"/>
                        </a:cubicBezTo>
                        <a:cubicBezTo>
                          <a:pt x="45" y="369"/>
                          <a:pt x="45" y="369"/>
                          <a:pt x="45" y="369"/>
                        </a:cubicBezTo>
                        <a:cubicBezTo>
                          <a:pt x="45" y="360"/>
                          <a:pt x="45" y="360"/>
                          <a:pt x="45" y="360"/>
                        </a:cubicBezTo>
                        <a:cubicBezTo>
                          <a:pt x="45" y="360"/>
                          <a:pt x="45" y="360"/>
                          <a:pt x="45" y="360"/>
                        </a:cubicBezTo>
                        <a:cubicBezTo>
                          <a:pt x="169" y="360"/>
                          <a:pt x="169" y="360"/>
                          <a:pt x="169" y="360"/>
                        </a:cubicBezTo>
                        <a:lnTo>
                          <a:pt x="169" y="369"/>
                        </a:lnTo>
                        <a:close/>
                        <a:moveTo>
                          <a:pt x="185" y="306"/>
                        </a:moveTo>
                        <a:cubicBezTo>
                          <a:pt x="185" y="297"/>
                          <a:pt x="177" y="291"/>
                          <a:pt x="169" y="291"/>
                        </a:cubicBezTo>
                        <a:cubicBezTo>
                          <a:pt x="45" y="291"/>
                          <a:pt x="45" y="291"/>
                          <a:pt x="45" y="291"/>
                        </a:cubicBezTo>
                        <a:cubicBezTo>
                          <a:pt x="37" y="291"/>
                          <a:pt x="30" y="297"/>
                          <a:pt x="29" y="306"/>
                        </a:cubicBezTo>
                        <a:cubicBezTo>
                          <a:pt x="29" y="318"/>
                          <a:pt x="29" y="318"/>
                          <a:pt x="29" y="318"/>
                        </a:cubicBezTo>
                        <a:cubicBezTo>
                          <a:pt x="30" y="327"/>
                          <a:pt x="37" y="333"/>
                          <a:pt x="45" y="333"/>
                        </a:cubicBezTo>
                        <a:cubicBezTo>
                          <a:pt x="169" y="333"/>
                          <a:pt x="169" y="333"/>
                          <a:pt x="169" y="333"/>
                        </a:cubicBezTo>
                        <a:cubicBezTo>
                          <a:pt x="177" y="333"/>
                          <a:pt x="184" y="327"/>
                          <a:pt x="185" y="318"/>
                        </a:cubicBezTo>
                        <a:lnTo>
                          <a:pt x="185" y="306"/>
                        </a:lnTo>
                        <a:close/>
                        <a:moveTo>
                          <a:pt x="169" y="317"/>
                        </a:moveTo>
                        <a:cubicBezTo>
                          <a:pt x="45" y="317"/>
                          <a:pt x="45" y="317"/>
                          <a:pt x="45" y="317"/>
                        </a:cubicBezTo>
                        <a:cubicBezTo>
                          <a:pt x="45" y="317"/>
                          <a:pt x="45" y="317"/>
                          <a:pt x="45" y="317"/>
                        </a:cubicBezTo>
                        <a:cubicBezTo>
                          <a:pt x="45" y="307"/>
                          <a:pt x="45" y="307"/>
                          <a:pt x="45" y="307"/>
                        </a:cubicBezTo>
                        <a:cubicBezTo>
                          <a:pt x="45" y="307"/>
                          <a:pt x="45" y="307"/>
                          <a:pt x="45" y="307"/>
                        </a:cubicBezTo>
                        <a:cubicBezTo>
                          <a:pt x="169" y="307"/>
                          <a:pt x="169" y="307"/>
                          <a:pt x="169" y="307"/>
                        </a:cubicBezTo>
                        <a:lnTo>
                          <a:pt x="169" y="317"/>
                        </a:lnTo>
                        <a:close/>
                        <a:moveTo>
                          <a:pt x="185" y="253"/>
                        </a:moveTo>
                        <a:cubicBezTo>
                          <a:pt x="184" y="244"/>
                          <a:pt x="177" y="239"/>
                          <a:pt x="169" y="239"/>
                        </a:cubicBezTo>
                        <a:cubicBezTo>
                          <a:pt x="45" y="239"/>
                          <a:pt x="45" y="239"/>
                          <a:pt x="45" y="239"/>
                        </a:cubicBezTo>
                        <a:cubicBezTo>
                          <a:pt x="37" y="239"/>
                          <a:pt x="30" y="244"/>
                          <a:pt x="29" y="253"/>
                        </a:cubicBezTo>
                        <a:cubicBezTo>
                          <a:pt x="29" y="265"/>
                          <a:pt x="29" y="265"/>
                          <a:pt x="29" y="265"/>
                        </a:cubicBezTo>
                        <a:cubicBezTo>
                          <a:pt x="30" y="275"/>
                          <a:pt x="37" y="280"/>
                          <a:pt x="45" y="280"/>
                        </a:cubicBezTo>
                        <a:cubicBezTo>
                          <a:pt x="169" y="280"/>
                          <a:pt x="169" y="280"/>
                          <a:pt x="169" y="280"/>
                        </a:cubicBezTo>
                        <a:cubicBezTo>
                          <a:pt x="177" y="280"/>
                          <a:pt x="185" y="275"/>
                          <a:pt x="185" y="265"/>
                        </a:cubicBezTo>
                        <a:lnTo>
                          <a:pt x="185" y="253"/>
                        </a:lnTo>
                        <a:close/>
                        <a:moveTo>
                          <a:pt x="169" y="264"/>
                        </a:moveTo>
                        <a:cubicBezTo>
                          <a:pt x="45" y="264"/>
                          <a:pt x="45" y="264"/>
                          <a:pt x="45" y="264"/>
                        </a:cubicBezTo>
                        <a:cubicBezTo>
                          <a:pt x="45" y="264"/>
                          <a:pt x="45" y="264"/>
                          <a:pt x="45" y="264"/>
                        </a:cubicBezTo>
                        <a:cubicBezTo>
                          <a:pt x="45" y="255"/>
                          <a:pt x="45" y="255"/>
                          <a:pt x="45" y="255"/>
                        </a:cubicBezTo>
                        <a:cubicBezTo>
                          <a:pt x="45" y="255"/>
                          <a:pt x="45" y="255"/>
                          <a:pt x="45" y="255"/>
                        </a:cubicBezTo>
                        <a:cubicBezTo>
                          <a:pt x="169" y="255"/>
                          <a:pt x="169" y="255"/>
                          <a:pt x="169" y="255"/>
                        </a:cubicBezTo>
                        <a:lnTo>
                          <a:pt x="169" y="264"/>
                        </a:lnTo>
                        <a:close/>
                        <a:moveTo>
                          <a:pt x="185" y="201"/>
                        </a:moveTo>
                        <a:cubicBezTo>
                          <a:pt x="185" y="192"/>
                          <a:pt x="177" y="186"/>
                          <a:pt x="169" y="186"/>
                        </a:cubicBezTo>
                        <a:cubicBezTo>
                          <a:pt x="45" y="186"/>
                          <a:pt x="45" y="186"/>
                          <a:pt x="45" y="186"/>
                        </a:cubicBezTo>
                        <a:cubicBezTo>
                          <a:pt x="37" y="186"/>
                          <a:pt x="30" y="192"/>
                          <a:pt x="29" y="201"/>
                        </a:cubicBezTo>
                        <a:cubicBezTo>
                          <a:pt x="29" y="213"/>
                          <a:pt x="29" y="213"/>
                          <a:pt x="29" y="213"/>
                        </a:cubicBezTo>
                        <a:cubicBezTo>
                          <a:pt x="30" y="222"/>
                          <a:pt x="37" y="228"/>
                          <a:pt x="45" y="228"/>
                        </a:cubicBezTo>
                        <a:cubicBezTo>
                          <a:pt x="169" y="228"/>
                          <a:pt x="169" y="228"/>
                          <a:pt x="169" y="228"/>
                        </a:cubicBezTo>
                        <a:cubicBezTo>
                          <a:pt x="177" y="228"/>
                          <a:pt x="184" y="222"/>
                          <a:pt x="185" y="213"/>
                        </a:cubicBezTo>
                        <a:lnTo>
                          <a:pt x="185" y="201"/>
                        </a:lnTo>
                        <a:close/>
                        <a:moveTo>
                          <a:pt x="169" y="212"/>
                        </a:moveTo>
                        <a:cubicBezTo>
                          <a:pt x="45" y="212"/>
                          <a:pt x="45" y="212"/>
                          <a:pt x="45" y="212"/>
                        </a:cubicBezTo>
                        <a:cubicBezTo>
                          <a:pt x="45" y="212"/>
                          <a:pt x="45" y="212"/>
                          <a:pt x="45" y="212"/>
                        </a:cubicBezTo>
                        <a:cubicBezTo>
                          <a:pt x="45" y="202"/>
                          <a:pt x="45" y="202"/>
                          <a:pt x="45" y="202"/>
                        </a:cubicBezTo>
                        <a:cubicBezTo>
                          <a:pt x="45" y="202"/>
                          <a:pt x="45" y="202"/>
                          <a:pt x="45" y="202"/>
                        </a:cubicBezTo>
                        <a:cubicBezTo>
                          <a:pt x="169" y="202"/>
                          <a:pt x="169" y="202"/>
                          <a:pt x="169" y="202"/>
                        </a:cubicBezTo>
                        <a:lnTo>
                          <a:pt x="169" y="212"/>
                        </a:lnTo>
                        <a:close/>
                        <a:moveTo>
                          <a:pt x="185" y="148"/>
                        </a:moveTo>
                        <a:cubicBezTo>
                          <a:pt x="184" y="139"/>
                          <a:pt x="177" y="134"/>
                          <a:pt x="169" y="134"/>
                        </a:cubicBezTo>
                        <a:cubicBezTo>
                          <a:pt x="45" y="134"/>
                          <a:pt x="45" y="134"/>
                          <a:pt x="45" y="134"/>
                        </a:cubicBezTo>
                        <a:cubicBezTo>
                          <a:pt x="37" y="134"/>
                          <a:pt x="30" y="139"/>
                          <a:pt x="29" y="148"/>
                        </a:cubicBezTo>
                        <a:cubicBezTo>
                          <a:pt x="29" y="161"/>
                          <a:pt x="29" y="161"/>
                          <a:pt x="29" y="161"/>
                        </a:cubicBezTo>
                        <a:cubicBezTo>
                          <a:pt x="30" y="170"/>
                          <a:pt x="37" y="175"/>
                          <a:pt x="45" y="175"/>
                        </a:cubicBezTo>
                        <a:cubicBezTo>
                          <a:pt x="169" y="175"/>
                          <a:pt x="169" y="175"/>
                          <a:pt x="169" y="175"/>
                        </a:cubicBezTo>
                        <a:cubicBezTo>
                          <a:pt x="177" y="175"/>
                          <a:pt x="185" y="170"/>
                          <a:pt x="185" y="161"/>
                        </a:cubicBezTo>
                        <a:lnTo>
                          <a:pt x="185" y="148"/>
                        </a:lnTo>
                        <a:close/>
                        <a:moveTo>
                          <a:pt x="169" y="159"/>
                        </a:moveTo>
                        <a:cubicBezTo>
                          <a:pt x="45" y="159"/>
                          <a:pt x="45" y="159"/>
                          <a:pt x="45" y="159"/>
                        </a:cubicBezTo>
                        <a:cubicBezTo>
                          <a:pt x="45" y="159"/>
                          <a:pt x="45" y="159"/>
                          <a:pt x="45" y="159"/>
                        </a:cubicBezTo>
                        <a:cubicBezTo>
                          <a:pt x="45" y="150"/>
                          <a:pt x="45" y="150"/>
                          <a:pt x="45" y="150"/>
                        </a:cubicBezTo>
                        <a:cubicBezTo>
                          <a:pt x="45" y="150"/>
                          <a:pt x="45" y="150"/>
                          <a:pt x="45" y="150"/>
                        </a:cubicBezTo>
                        <a:cubicBezTo>
                          <a:pt x="169" y="150"/>
                          <a:pt x="169" y="150"/>
                          <a:pt x="169" y="150"/>
                        </a:cubicBezTo>
                        <a:lnTo>
                          <a:pt x="169" y="159"/>
                        </a:lnTo>
                        <a:close/>
                        <a:moveTo>
                          <a:pt x="185" y="96"/>
                        </a:moveTo>
                        <a:cubicBezTo>
                          <a:pt x="185" y="87"/>
                          <a:pt x="177" y="81"/>
                          <a:pt x="169" y="81"/>
                        </a:cubicBezTo>
                        <a:cubicBezTo>
                          <a:pt x="45" y="81"/>
                          <a:pt x="45" y="81"/>
                          <a:pt x="45" y="81"/>
                        </a:cubicBezTo>
                        <a:cubicBezTo>
                          <a:pt x="37" y="81"/>
                          <a:pt x="30" y="87"/>
                          <a:pt x="29" y="96"/>
                        </a:cubicBezTo>
                        <a:cubicBezTo>
                          <a:pt x="29" y="108"/>
                          <a:pt x="29" y="108"/>
                          <a:pt x="29" y="108"/>
                        </a:cubicBezTo>
                        <a:cubicBezTo>
                          <a:pt x="30" y="117"/>
                          <a:pt x="37" y="123"/>
                          <a:pt x="45" y="123"/>
                        </a:cubicBezTo>
                        <a:cubicBezTo>
                          <a:pt x="169" y="123"/>
                          <a:pt x="169" y="123"/>
                          <a:pt x="169" y="123"/>
                        </a:cubicBezTo>
                        <a:cubicBezTo>
                          <a:pt x="177" y="123"/>
                          <a:pt x="184" y="117"/>
                          <a:pt x="185" y="108"/>
                        </a:cubicBezTo>
                        <a:lnTo>
                          <a:pt x="185" y="96"/>
                        </a:lnTo>
                        <a:close/>
                        <a:moveTo>
                          <a:pt x="169" y="107"/>
                        </a:moveTo>
                        <a:cubicBezTo>
                          <a:pt x="45" y="107"/>
                          <a:pt x="45" y="107"/>
                          <a:pt x="45" y="107"/>
                        </a:cubicBezTo>
                        <a:cubicBezTo>
                          <a:pt x="45" y="107"/>
                          <a:pt x="45" y="107"/>
                          <a:pt x="45" y="107"/>
                        </a:cubicBezTo>
                        <a:cubicBezTo>
                          <a:pt x="45" y="97"/>
                          <a:pt x="45" y="97"/>
                          <a:pt x="45" y="97"/>
                        </a:cubicBezTo>
                        <a:cubicBezTo>
                          <a:pt x="45" y="97"/>
                          <a:pt x="45" y="97"/>
                          <a:pt x="45" y="97"/>
                        </a:cubicBezTo>
                        <a:cubicBezTo>
                          <a:pt x="169" y="97"/>
                          <a:pt x="169" y="97"/>
                          <a:pt x="169" y="97"/>
                        </a:cubicBezTo>
                        <a:lnTo>
                          <a:pt x="169" y="107"/>
                        </a:lnTo>
                        <a:close/>
                        <a:moveTo>
                          <a:pt x="185" y="44"/>
                        </a:moveTo>
                        <a:cubicBezTo>
                          <a:pt x="184" y="34"/>
                          <a:pt x="177" y="29"/>
                          <a:pt x="169" y="29"/>
                        </a:cubicBezTo>
                        <a:cubicBezTo>
                          <a:pt x="45" y="29"/>
                          <a:pt x="45" y="29"/>
                          <a:pt x="45" y="29"/>
                        </a:cubicBezTo>
                        <a:cubicBezTo>
                          <a:pt x="37" y="29"/>
                          <a:pt x="30" y="34"/>
                          <a:pt x="29" y="44"/>
                        </a:cubicBezTo>
                        <a:cubicBezTo>
                          <a:pt x="29" y="56"/>
                          <a:pt x="29" y="56"/>
                          <a:pt x="29" y="56"/>
                        </a:cubicBezTo>
                        <a:cubicBezTo>
                          <a:pt x="30" y="65"/>
                          <a:pt x="37" y="70"/>
                          <a:pt x="45" y="70"/>
                        </a:cubicBezTo>
                        <a:cubicBezTo>
                          <a:pt x="169" y="70"/>
                          <a:pt x="169" y="70"/>
                          <a:pt x="169" y="70"/>
                        </a:cubicBezTo>
                        <a:cubicBezTo>
                          <a:pt x="177" y="70"/>
                          <a:pt x="185" y="65"/>
                          <a:pt x="185" y="56"/>
                        </a:cubicBezTo>
                        <a:lnTo>
                          <a:pt x="185" y="44"/>
                        </a:lnTo>
                        <a:close/>
                        <a:moveTo>
                          <a:pt x="169" y="54"/>
                        </a:moveTo>
                        <a:cubicBezTo>
                          <a:pt x="45" y="54"/>
                          <a:pt x="45" y="54"/>
                          <a:pt x="45" y="54"/>
                        </a:cubicBezTo>
                        <a:cubicBezTo>
                          <a:pt x="45" y="54"/>
                          <a:pt x="45" y="54"/>
                          <a:pt x="45" y="54"/>
                        </a:cubicBezTo>
                        <a:cubicBezTo>
                          <a:pt x="45" y="45"/>
                          <a:pt x="45" y="45"/>
                          <a:pt x="45" y="45"/>
                        </a:cubicBezTo>
                        <a:cubicBezTo>
                          <a:pt x="45" y="45"/>
                          <a:pt x="45" y="45"/>
                          <a:pt x="45" y="45"/>
                        </a:cubicBezTo>
                        <a:cubicBezTo>
                          <a:pt x="169" y="45"/>
                          <a:pt x="169" y="45"/>
                          <a:pt x="169" y="45"/>
                        </a:cubicBezTo>
                        <a:lnTo>
                          <a:pt x="169" y="54"/>
                        </a:lnTo>
                        <a:close/>
                        <a:moveTo>
                          <a:pt x="212" y="88"/>
                        </a:moveTo>
                        <a:cubicBezTo>
                          <a:pt x="204" y="88"/>
                          <a:pt x="198" y="94"/>
                          <a:pt x="198" y="102"/>
                        </a:cubicBezTo>
                        <a:cubicBezTo>
                          <a:pt x="198" y="110"/>
                          <a:pt x="204" y="116"/>
                          <a:pt x="212" y="116"/>
                        </a:cubicBezTo>
                        <a:cubicBezTo>
                          <a:pt x="220" y="116"/>
                          <a:pt x="226" y="110"/>
                          <a:pt x="226" y="102"/>
                        </a:cubicBezTo>
                        <a:cubicBezTo>
                          <a:pt x="226" y="94"/>
                          <a:pt x="220" y="88"/>
                          <a:pt x="212" y="88"/>
                        </a:cubicBezTo>
                        <a:close/>
                        <a:moveTo>
                          <a:pt x="212" y="35"/>
                        </a:moveTo>
                        <a:cubicBezTo>
                          <a:pt x="204" y="35"/>
                          <a:pt x="198" y="42"/>
                          <a:pt x="198" y="50"/>
                        </a:cubicBezTo>
                        <a:cubicBezTo>
                          <a:pt x="198" y="57"/>
                          <a:pt x="204" y="64"/>
                          <a:pt x="212" y="64"/>
                        </a:cubicBezTo>
                        <a:cubicBezTo>
                          <a:pt x="220" y="64"/>
                          <a:pt x="226" y="57"/>
                          <a:pt x="226" y="50"/>
                        </a:cubicBezTo>
                        <a:cubicBezTo>
                          <a:pt x="226" y="42"/>
                          <a:pt x="220" y="35"/>
                          <a:pt x="212" y="35"/>
                        </a:cubicBezTo>
                        <a:close/>
                        <a:moveTo>
                          <a:pt x="212" y="140"/>
                        </a:moveTo>
                        <a:cubicBezTo>
                          <a:pt x="204" y="140"/>
                          <a:pt x="198" y="147"/>
                          <a:pt x="198" y="155"/>
                        </a:cubicBezTo>
                        <a:cubicBezTo>
                          <a:pt x="198" y="162"/>
                          <a:pt x="204" y="169"/>
                          <a:pt x="212" y="169"/>
                        </a:cubicBezTo>
                        <a:cubicBezTo>
                          <a:pt x="220" y="169"/>
                          <a:pt x="226" y="162"/>
                          <a:pt x="226" y="155"/>
                        </a:cubicBezTo>
                        <a:cubicBezTo>
                          <a:pt x="226" y="147"/>
                          <a:pt x="220" y="140"/>
                          <a:pt x="212" y="140"/>
                        </a:cubicBezTo>
                        <a:close/>
                        <a:moveTo>
                          <a:pt x="212" y="193"/>
                        </a:moveTo>
                        <a:cubicBezTo>
                          <a:pt x="204" y="193"/>
                          <a:pt x="198" y="199"/>
                          <a:pt x="198" y="207"/>
                        </a:cubicBezTo>
                        <a:cubicBezTo>
                          <a:pt x="198" y="215"/>
                          <a:pt x="204" y="221"/>
                          <a:pt x="212" y="221"/>
                        </a:cubicBezTo>
                        <a:cubicBezTo>
                          <a:pt x="220" y="221"/>
                          <a:pt x="226" y="215"/>
                          <a:pt x="226" y="207"/>
                        </a:cubicBezTo>
                        <a:cubicBezTo>
                          <a:pt x="226" y="199"/>
                          <a:pt x="220" y="193"/>
                          <a:pt x="212" y="193"/>
                        </a:cubicBezTo>
                        <a:close/>
                        <a:moveTo>
                          <a:pt x="212" y="245"/>
                        </a:moveTo>
                        <a:cubicBezTo>
                          <a:pt x="204" y="245"/>
                          <a:pt x="198" y="252"/>
                          <a:pt x="198" y="259"/>
                        </a:cubicBezTo>
                        <a:cubicBezTo>
                          <a:pt x="198" y="267"/>
                          <a:pt x="204" y="274"/>
                          <a:pt x="212" y="274"/>
                        </a:cubicBezTo>
                        <a:cubicBezTo>
                          <a:pt x="220" y="274"/>
                          <a:pt x="226" y="267"/>
                          <a:pt x="226" y="259"/>
                        </a:cubicBezTo>
                        <a:cubicBezTo>
                          <a:pt x="226" y="252"/>
                          <a:pt x="220" y="245"/>
                          <a:pt x="212" y="245"/>
                        </a:cubicBezTo>
                        <a:close/>
                        <a:moveTo>
                          <a:pt x="212" y="298"/>
                        </a:moveTo>
                        <a:cubicBezTo>
                          <a:pt x="204" y="298"/>
                          <a:pt x="198" y="304"/>
                          <a:pt x="198" y="312"/>
                        </a:cubicBezTo>
                        <a:cubicBezTo>
                          <a:pt x="198" y="320"/>
                          <a:pt x="204" y="326"/>
                          <a:pt x="212" y="326"/>
                        </a:cubicBezTo>
                        <a:cubicBezTo>
                          <a:pt x="220" y="326"/>
                          <a:pt x="226" y="320"/>
                          <a:pt x="226" y="312"/>
                        </a:cubicBezTo>
                        <a:cubicBezTo>
                          <a:pt x="226" y="304"/>
                          <a:pt x="220" y="298"/>
                          <a:pt x="212" y="298"/>
                        </a:cubicBezTo>
                        <a:close/>
                        <a:moveTo>
                          <a:pt x="212" y="350"/>
                        </a:moveTo>
                        <a:cubicBezTo>
                          <a:pt x="204" y="350"/>
                          <a:pt x="198" y="356"/>
                          <a:pt x="198" y="364"/>
                        </a:cubicBezTo>
                        <a:cubicBezTo>
                          <a:pt x="198" y="372"/>
                          <a:pt x="204" y="379"/>
                          <a:pt x="212" y="379"/>
                        </a:cubicBezTo>
                        <a:cubicBezTo>
                          <a:pt x="220" y="379"/>
                          <a:pt x="226" y="372"/>
                          <a:pt x="226" y="364"/>
                        </a:cubicBezTo>
                        <a:cubicBezTo>
                          <a:pt x="226" y="356"/>
                          <a:pt x="220" y="350"/>
                          <a:pt x="212" y="350"/>
                        </a:cubicBezTo>
                        <a:close/>
                        <a:moveTo>
                          <a:pt x="247" y="44"/>
                        </a:moveTo>
                        <a:cubicBezTo>
                          <a:pt x="251" y="44"/>
                          <a:pt x="255" y="41"/>
                          <a:pt x="255" y="36"/>
                        </a:cubicBezTo>
                        <a:cubicBezTo>
                          <a:pt x="255" y="16"/>
                          <a:pt x="255" y="16"/>
                          <a:pt x="255" y="16"/>
                        </a:cubicBezTo>
                        <a:cubicBezTo>
                          <a:pt x="255" y="7"/>
                          <a:pt x="248" y="0"/>
                          <a:pt x="239" y="0"/>
                        </a:cubicBezTo>
                        <a:cubicBezTo>
                          <a:pt x="16" y="0"/>
                          <a:pt x="16" y="0"/>
                          <a:pt x="16" y="0"/>
                        </a:cubicBezTo>
                        <a:cubicBezTo>
                          <a:pt x="7" y="0"/>
                          <a:pt x="0" y="7"/>
                          <a:pt x="0" y="16"/>
                        </a:cubicBezTo>
                        <a:cubicBezTo>
                          <a:pt x="0" y="396"/>
                          <a:pt x="0" y="396"/>
                          <a:pt x="0" y="396"/>
                        </a:cubicBezTo>
                        <a:cubicBezTo>
                          <a:pt x="0" y="405"/>
                          <a:pt x="7" y="412"/>
                          <a:pt x="16" y="412"/>
                        </a:cubicBezTo>
                        <a:cubicBezTo>
                          <a:pt x="239" y="412"/>
                          <a:pt x="239" y="412"/>
                          <a:pt x="239" y="412"/>
                        </a:cubicBezTo>
                        <a:cubicBezTo>
                          <a:pt x="248" y="412"/>
                          <a:pt x="255" y="405"/>
                          <a:pt x="255" y="396"/>
                        </a:cubicBezTo>
                        <a:cubicBezTo>
                          <a:pt x="255" y="60"/>
                          <a:pt x="255" y="60"/>
                          <a:pt x="255" y="60"/>
                        </a:cubicBezTo>
                        <a:cubicBezTo>
                          <a:pt x="255" y="56"/>
                          <a:pt x="251" y="52"/>
                          <a:pt x="247" y="52"/>
                        </a:cubicBezTo>
                        <a:cubicBezTo>
                          <a:pt x="242" y="52"/>
                          <a:pt x="239" y="56"/>
                          <a:pt x="239" y="60"/>
                        </a:cubicBezTo>
                        <a:cubicBezTo>
                          <a:pt x="239" y="396"/>
                          <a:pt x="239" y="396"/>
                          <a:pt x="239" y="396"/>
                        </a:cubicBezTo>
                        <a:cubicBezTo>
                          <a:pt x="16" y="396"/>
                          <a:pt x="16" y="396"/>
                          <a:pt x="16" y="396"/>
                        </a:cubicBezTo>
                        <a:cubicBezTo>
                          <a:pt x="16" y="396"/>
                          <a:pt x="16" y="396"/>
                          <a:pt x="16" y="396"/>
                        </a:cubicBezTo>
                        <a:cubicBezTo>
                          <a:pt x="16" y="16"/>
                          <a:pt x="16" y="16"/>
                          <a:pt x="16" y="16"/>
                        </a:cubicBezTo>
                        <a:cubicBezTo>
                          <a:pt x="16" y="16"/>
                          <a:pt x="16" y="16"/>
                          <a:pt x="16" y="16"/>
                        </a:cubicBezTo>
                        <a:cubicBezTo>
                          <a:pt x="239" y="16"/>
                          <a:pt x="239" y="16"/>
                          <a:pt x="239" y="16"/>
                        </a:cubicBezTo>
                        <a:cubicBezTo>
                          <a:pt x="239" y="36"/>
                          <a:pt x="239" y="36"/>
                          <a:pt x="239" y="36"/>
                        </a:cubicBezTo>
                        <a:cubicBezTo>
                          <a:pt x="239" y="41"/>
                          <a:pt x="242" y="44"/>
                          <a:pt x="247" y="44"/>
                        </a:cubicBezTo>
                        <a:close/>
                      </a:path>
                    </a:pathLst>
                  </a:custGeom>
                  <a:solidFill>
                    <a:srgbClr val="BBE0E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22931" name="Freeform 8"/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4881801" y="4742270"/>
                    <a:ext cx="209258" cy="287952"/>
                  </a:xfrm>
                  <a:custGeom>
                    <a:avLst/>
                    <a:gdLst>
                      <a:gd name="T0" fmla="*/ 2147483647 w 255"/>
                      <a:gd name="T1" fmla="*/ 2147483647 h 412"/>
                      <a:gd name="T2" fmla="*/ 2147483647 w 255"/>
                      <a:gd name="T3" fmla="*/ 2147483647 h 412"/>
                      <a:gd name="T4" fmla="*/ 2147483647 w 255"/>
                      <a:gd name="T5" fmla="*/ 2147483647 h 412"/>
                      <a:gd name="T6" fmla="*/ 2147483647 w 255"/>
                      <a:gd name="T7" fmla="*/ 2147483647 h 412"/>
                      <a:gd name="T8" fmla="*/ 2147483647 w 255"/>
                      <a:gd name="T9" fmla="*/ 2147483647 h 412"/>
                      <a:gd name="T10" fmla="*/ 2147483647 w 255"/>
                      <a:gd name="T11" fmla="*/ 2147483647 h 412"/>
                      <a:gd name="T12" fmla="*/ 2147483647 w 255"/>
                      <a:gd name="T13" fmla="*/ 2147483647 h 412"/>
                      <a:gd name="T14" fmla="*/ 2147483647 w 255"/>
                      <a:gd name="T15" fmla="*/ 2147483647 h 412"/>
                      <a:gd name="T16" fmla="*/ 2147483647 w 255"/>
                      <a:gd name="T17" fmla="*/ 2147483647 h 412"/>
                      <a:gd name="T18" fmla="*/ 2147483647 w 255"/>
                      <a:gd name="T19" fmla="*/ 2147483647 h 412"/>
                      <a:gd name="T20" fmla="*/ 2147483647 w 255"/>
                      <a:gd name="T21" fmla="*/ 2147483647 h 412"/>
                      <a:gd name="T22" fmla="*/ 2147483647 w 255"/>
                      <a:gd name="T23" fmla="*/ 2147483647 h 412"/>
                      <a:gd name="T24" fmla="*/ 2147483647 w 255"/>
                      <a:gd name="T25" fmla="*/ 2147483647 h 412"/>
                      <a:gd name="T26" fmla="*/ 2147483647 w 255"/>
                      <a:gd name="T27" fmla="*/ 2147483647 h 412"/>
                      <a:gd name="T28" fmla="*/ 2147483647 w 255"/>
                      <a:gd name="T29" fmla="*/ 2147483647 h 412"/>
                      <a:gd name="T30" fmla="*/ 2147483647 w 255"/>
                      <a:gd name="T31" fmla="*/ 2147483647 h 412"/>
                      <a:gd name="T32" fmla="*/ 2147483647 w 255"/>
                      <a:gd name="T33" fmla="*/ 2147483647 h 412"/>
                      <a:gd name="T34" fmla="*/ 2147483647 w 255"/>
                      <a:gd name="T35" fmla="*/ 2147483647 h 412"/>
                      <a:gd name="T36" fmla="*/ 2147483647 w 255"/>
                      <a:gd name="T37" fmla="*/ 2147483647 h 412"/>
                      <a:gd name="T38" fmla="*/ 2147483647 w 255"/>
                      <a:gd name="T39" fmla="*/ 2147483647 h 412"/>
                      <a:gd name="T40" fmla="*/ 2147483647 w 255"/>
                      <a:gd name="T41" fmla="*/ 2147483647 h 412"/>
                      <a:gd name="T42" fmla="*/ 2147483647 w 255"/>
                      <a:gd name="T43" fmla="*/ 2147483647 h 412"/>
                      <a:gd name="T44" fmla="*/ 2147483647 w 255"/>
                      <a:gd name="T45" fmla="*/ 2147483647 h 412"/>
                      <a:gd name="T46" fmla="*/ 2147483647 w 255"/>
                      <a:gd name="T47" fmla="*/ 2147483647 h 412"/>
                      <a:gd name="T48" fmla="*/ 2147483647 w 255"/>
                      <a:gd name="T49" fmla="*/ 2147483647 h 412"/>
                      <a:gd name="T50" fmla="*/ 2147483647 w 255"/>
                      <a:gd name="T51" fmla="*/ 2147483647 h 412"/>
                      <a:gd name="T52" fmla="*/ 2147483647 w 255"/>
                      <a:gd name="T53" fmla="*/ 2147483647 h 412"/>
                      <a:gd name="T54" fmla="*/ 2147483647 w 255"/>
                      <a:gd name="T55" fmla="*/ 2147483647 h 412"/>
                      <a:gd name="T56" fmla="*/ 2147483647 w 255"/>
                      <a:gd name="T57" fmla="*/ 2147483647 h 412"/>
                      <a:gd name="T58" fmla="*/ 2147483647 w 255"/>
                      <a:gd name="T59" fmla="*/ 2147483647 h 412"/>
                      <a:gd name="T60" fmla="*/ 2147483647 w 255"/>
                      <a:gd name="T61" fmla="*/ 2147483647 h 412"/>
                      <a:gd name="T62" fmla="*/ 2147483647 w 255"/>
                      <a:gd name="T63" fmla="*/ 2147483647 h 412"/>
                      <a:gd name="T64" fmla="*/ 2147483647 w 255"/>
                      <a:gd name="T65" fmla="*/ 2147483647 h 412"/>
                      <a:gd name="T66" fmla="*/ 2147483647 w 255"/>
                      <a:gd name="T67" fmla="*/ 2147483647 h 412"/>
                      <a:gd name="T68" fmla="*/ 2147483647 w 255"/>
                      <a:gd name="T69" fmla="*/ 2147483647 h 412"/>
                      <a:gd name="T70" fmla="*/ 2147483647 w 255"/>
                      <a:gd name="T71" fmla="*/ 2147483647 h 412"/>
                      <a:gd name="T72" fmla="*/ 2147483647 w 255"/>
                      <a:gd name="T73" fmla="*/ 2147483647 h 412"/>
                      <a:gd name="T74" fmla="*/ 2147483647 w 255"/>
                      <a:gd name="T75" fmla="*/ 2147483647 h 412"/>
                      <a:gd name="T76" fmla="*/ 2147483647 w 255"/>
                      <a:gd name="T77" fmla="*/ 2147483647 h 412"/>
                      <a:gd name="T78" fmla="*/ 2147483647 w 255"/>
                      <a:gd name="T79" fmla="*/ 2147483647 h 412"/>
                      <a:gd name="T80" fmla="*/ 2147483647 w 255"/>
                      <a:gd name="T81" fmla="*/ 2147483647 h 412"/>
                      <a:gd name="T82" fmla="*/ 2147483647 w 255"/>
                      <a:gd name="T83" fmla="*/ 2147483647 h 412"/>
                      <a:gd name="T84" fmla="*/ 2147483647 w 255"/>
                      <a:gd name="T85" fmla="*/ 2147483647 h 412"/>
                      <a:gd name="T86" fmla="*/ 2147483647 w 255"/>
                      <a:gd name="T87" fmla="*/ 2147483647 h 412"/>
                      <a:gd name="T88" fmla="*/ 2147483647 w 255"/>
                      <a:gd name="T89" fmla="*/ 2147483647 h 412"/>
                      <a:gd name="T90" fmla="*/ 2147483647 w 255"/>
                      <a:gd name="T91" fmla="*/ 2147483647 h 412"/>
                      <a:gd name="T92" fmla="*/ 2147483647 w 255"/>
                      <a:gd name="T93" fmla="*/ 2147483647 h 412"/>
                      <a:gd name="T94" fmla="*/ 2147483647 w 255"/>
                      <a:gd name="T95" fmla="*/ 2147483647 h 412"/>
                      <a:gd name="T96" fmla="*/ 2147483647 w 255"/>
                      <a:gd name="T97" fmla="*/ 2147483647 h 412"/>
                      <a:gd name="T98" fmla="*/ 2147483647 w 255"/>
                      <a:gd name="T99" fmla="*/ 2147483647 h 412"/>
                      <a:gd name="T100" fmla="*/ 0 w 255"/>
                      <a:gd name="T101" fmla="*/ 2147483647 h 412"/>
                      <a:gd name="T102" fmla="*/ 2147483647 w 255"/>
                      <a:gd name="T103" fmla="*/ 2147483647 h 412"/>
                      <a:gd name="T104" fmla="*/ 2147483647 w 255"/>
                      <a:gd name="T105" fmla="*/ 2147483647 h 412"/>
                      <a:gd name="T106" fmla="*/ 2147483647 w 255"/>
                      <a:gd name="T107" fmla="*/ 2147483647 h 412"/>
                      <a:gd name="T108" fmla="*/ 2147483647 w 255"/>
                      <a:gd name="T109" fmla="*/ 2147483647 h 412"/>
                      <a:gd name="T110" fmla="*/ 2147483647 w 255"/>
                      <a:gd name="T111" fmla="*/ 2147483647 h 412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w 255"/>
                      <a:gd name="T169" fmla="*/ 0 h 412"/>
                      <a:gd name="T170" fmla="*/ 255 w 255"/>
                      <a:gd name="T171" fmla="*/ 412 h 412"/>
                    </a:gdLst>
                    <a:ahLst/>
                    <a:cxnLst>
                      <a:cxn ang="T112">
                        <a:pos x="T0" y="T1"/>
                      </a:cxn>
                      <a:cxn ang="T113">
                        <a:pos x="T2" y="T3"/>
                      </a:cxn>
                      <a:cxn ang="T114">
                        <a:pos x="T4" y="T5"/>
                      </a:cxn>
                      <a:cxn ang="T115">
                        <a:pos x="T6" y="T7"/>
                      </a:cxn>
                      <a:cxn ang="T116">
                        <a:pos x="T8" y="T9"/>
                      </a:cxn>
                      <a:cxn ang="T117">
                        <a:pos x="T10" y="T11"/>
                      </a:cxn>
                      <a:cxn ang="T118">
                        <a:pos x="T12" y="T13"/>
                      </a:cxn>
                      <a:cxn ang="T119">
                        <a:pos x="T14" y="T15"/>
                      </a:cxn>
                      <a:cxn ang="T120">
                        <a:pos x="T16" y="T17"/>
                      </a:cxn>
                      <a:cxn ang="T121">
                        <a:pos x="T18" y="T19"/>
                      </a:cxn>
                      <a:cxn ang="T122">
                        <a:pos x="T20" y="T21"/>
                      </a:cxn>
                      <a:cxn ang="T123">
                        <a:pos x="T22" y="T23"/>
                      </a:cxn>
                      <a:cxn ang="T124">
                        <a:pos x="T24" y="T25"/>
                      </a:cxn>
                      <a:cxn ang="T125">
                        <a:pos x="T26" y="T27"/>
                      </a:cxn>
                      <a:cxn ang="T126">
                        <a:pos x="T28" y="T29"/>
                      </a:cxn>
                      <a:cxn ang="T127">
                        <a:pos x="T30" y="T31"/>
                      </a:cxn>
                      <a:cxn ang="T128">
                        <a:pos x="T32" y="T33"/>
                      </a:cxn>
                      <a:cxn ang="T129">
                        <a:pos x="T34" y="T35"/>
                      </a:cxn>
                      <a:cxn ang="T130">
                        <a:pos x="T36" y="T37"/>
                      </a:cxn>
                      <a:cxn ang="T131">
                        <a:pos x="T38" y="T39"/>
                      </a:cxn>
                      <a:cxn ang="T132">
                        <a:pos x="T40" y="T41"/>
                      </a:cxn>
                      <a:cxn ang="T133">
                        <a:pos x="T42" y="T43"/>
                      </a:cxn>
                      <a:cxn ang="T134">
                        <a:pos x="T44" y="T45"/>
                      </a:cxn>
                      <a:cxn ang="T135">
                        <a:pos x="T46" y="T47"/>
                      </a:cxn>
                      <a:cxn ang="T136">
                        <a:pos x="T48" y="T49"/>
                      </a:cxn>
                      <a:cxn ang="T137">
                        <a:pos x="T50" y="T51"/>
                      </a:cxn>
                      <a:cxn ang="T138">
                        <a:pos x="T52" y="T53"/>
                      </a:cxn>
                      <a:cxn ang="T139">
                        <a:pos x="T54" y="T55"/>
                      </a:cxn>
                      <a:cxn ang="T140">
                        <a:pos x="T56" y="T57"/>
                      </a:cxn>
                      <a:cxn ang="T141">
                        <a:pos x="T58" y="T59"/>
                      </a:cxn>
                      <a:cxn ang="T142">
                        <a:pos x="T60" y="T61"/>
                      </a:cxn>
                      <a:cxn ang="T143">
                        <a:pos x="T62" y="T63"/>
                      </a:cxn>
                      <a:cxn ang="T144">
                        <a:pos x="T64" y="T65"/>
                      </a:cxn>
                      <a:cxn ang="T145">
                        <a:pos x="T66" y="T67"/>
                      </a:cxn>
                      <a:cxn ang="T146">
                        <a:pos x="T68" y="T69"/>
                      </a:cxn>
                      <a:cxn ang="T147">
                        <a:pos x="T70" y="T71"/>
                      </a:cxn>
                      <a:cxn ang="T148">
                        <a:pos x="T72" y="T73"/>
                      </a:cxn>
                      <a:cxn ang="T149">
                        <a:pos x="T74" y="T75"/>
                      </a:cxn>
                      <a:cxn ang="T150">
                        <a:pos x="T76" y="T77"/>
                      </a:cxn>
                      <a:cxn ang="T151">
                        <a:pos x="T78" y="T79"/>
                      </a:cxn>
                      <a:cxn ang="T152">
                        <a:pos x="T80" y="T81"/>
                      </a:cxn>
                      <a:cxn ang="T153">
                        <a:pos x="T82" y="T83"/>
                      </a:cxn>
                      <a:cxn ang="T154">
                        <a:pos x="T84" y="T85"/>
                      </a:cxn>
                      <a:cxn ang="T155">
                        <a:pos x="T86" y="T87"/>
                      </a:cxn>
                      <a:cxn ang="T156">
                        <a:pos x="T88" y="T89"/>
                      </a:cxn>
                      <a:cxn ang="T157">
                        <a:pos x="T90" y="T91"/>
                      </a:cxn>
                      <a:cxn ang="T158">
                        <a:pos x="T92" y="T93"/>
                      </a:cxn>
                      <a:cxn ang="T159">
                        <a:pos x="T94" y="T95"/>
                      </a:cxn>
                      <a:cxn ang="T160">
                        <a:pos x="T96" y="T97"/>
                      </a:cxn>
                      <a:cxn ang="T161">
                        <a:pos x="T98" y="T99"/>
                      </a:cxn>
                      <a:cxn ang="T162">
                        <a:pos x="T100" y="T101"/>
                      </a:cxn>
                      <a:cxn ang="T163">
                        <a:pos x="T102" y="T103"/>
                      </a:cxn>
                      <a:cxn ang="T164">
                        <a:pos x="T104" y="T105"/>
                      </a:cxn>
                      <a:cxn ang="T165">
                        <a:pos x="T106" y="T107"/>
                      </a:cxn>
                      <a:cxn ang="T166">
                        <a:pos x="T108" y="T109"/>
                      </a:cxn>
                      <a:cxn ang="T167">
                        <a:pos x="T110" y="T111"/>
                      </a:cxn>
                    </a:cxnLst>
                    <a:rect l="T168" t="T169" r="T170" b="T171"/>
                    <a:pathLst>
                      <a:path w="255" h="412">
                        <a:moveTo>
                          <a:pt x="169" y="344"/>
                        </a:moveTo>
                        <a:cubicBezTo>
                          <a:pt x="45" y="344"/>
                          <a:pt x="45" y="344"/>
                          <a:pt x="45" y="344"/>
                        </a:cubicBezTo>
                        <a:cubicBezTo>
                          <a:pt x="37" y="344"/>
                          <a:pt x="30" y="349"/>
                          <a:pt x="29" y="358"/>
                        </a:cubicBezTo>
                        <a:cubicBezTo>
                          <a:pt x="29" y="370"/>
                          <a:pt x="29" y="370"/>
                          <a:pt x="29" y="370"/>
                        </a:cubicBezTo>
                        <a:cubicBezTo>
                          <a:pt x="30" y="380"/>
                          <a:pt x="37" y="385"/>
                          <a:pt x="45" y="385"/>
                        </a:cubicBezTo>
                        <a:cubicBezTo>
                          <a:pt x="169" y="385"/>
                          <a:pt x="169" y="385"/>
                          <a:pt x="169" y="385"/>
                        </a:cubicBezTo>
                        <a:cubicBezTo>
                          <a:pt x="177" y="385"/>
                          <a:pt x="185" y="380"/>
                          <a:pt x="185" y="370"/>
                        </a:cubicBezTo>
                        <a:cubicBezTo>
                          <a:pt x="185" y="358"/>
                          <a:pt x="185" y="358"/>
                          <a:pt x="185" y="358"/>
                        </a:cubicBezTo>
                        <a:cubicBezTo>
                          <a:pt x="184" y="349"/>
                          <a:pt x="177" y="344"/>
                          <a:pt x="169" y="344"/>
                        </a:cubicBezTo>
                        <a:close/>
                        <a:moveTo>
                          <a:pt x="169" y="369"/>
                        </a:moveTo>
                        <a:cubicBezTo>
                          <a:pt x="45" y="369"/>
                          <a:pt x="45" y="369"/>
                          <a:pt x="45" y="369"/>
                        </a:cubicBezTo>
                        <a:cubicBezTo>
                          <a:pt x="45" y="369"/>
                          <a:pt x="45" y="369"/>
                          <a:pt x="45" y="369"/>
                        </a:cubicBezTo>
                        <a:cubicBezTo>
                          <a:pt x="45" y="360"/>
                          <a:pt x="45" y="360"/>
                          <a:pt x="45" y="360"/>
                        </a:cubicBezTo>
                        <a:cubicBezTo>
                          <a:pt x="45" y="360"/>
                          <a:pt x="45" y="360"/>
                          <a:pt x="45" y="360"/>
                        </a:cubicBezTo>
                        <a:cubicBezTo>
                          <a:pt x="169" y="360"/>
                          <a:pt x="169" y="360"/>
                          <a:pt x="169" y="360"/>
                        </a:cubicBezTo>
                        <a:lnTo>
                          <a:pt x="169" y="369"/>
                        </a:lnTo>
                        <a:close/>
                        <a:moveTo>
                          <a:pt x="185" y="306"/>
                        </a:moveTo>
                        <a:cubicBezTo>
                          <a:pt x="185" y="297"/>
                          <a:pt x="177" y="291"/>
                          <a:pt x="169" y="291"/>
                        </a:cubicBezTo>
                        <a:cubicBezTo>
                          <a:pt x="45" y="291"/>
                          <a:pt x="45" y="291"/>
                          <a:pt x="45" y="291"/>
                        </a:cubicBezTo>
                        <a:cubicBezTo>
                          <a:pt x="37" y="291"/>
                          <a:pt x="30" y="297"/>
                          <a:pt x="29" y="306"/>
                        </a:cubicBezTo>
                        <a:cubicBezTo>
                          <a:pt x="29" y="318"/>
                          <a:pt x="29" y="318"/>
                          <a:pt x="29" y="318"/>
                        </a:cubicBezTo>
                        <a:cubicBezTo>
                          <a:pt x="30" y="327"/>
                          <a:pt x="37" y="333"/>
                          <a:pt x="45" y="333"/>
                        </a:cubicBezTo>
                        <a:cubicBezTo>
                          <a:pt x="169" y="333"/>
                          <a:pt x="169" y="333"/>
                          <a:pt x="169" y="333"/>
                        </a:cubicBezTo>
                        <a:cubicBezTo>
                          <a:pt x="177" y="333"/>
                          <a:pt x="184" y="327"/>
                          <a:pt x="185" y="318"/>
                        </a:cubicBezTo>
                        <a:lnTo>
                          <a:pt x="185" y="306"/>
                        </a:lnTo>
                        <a:close/>
                        <a:moveTo>
                          <a:pt x="169" y="317"/>
                        </a:moveTo>
                        <a:cubicBezTo>
                          <a:pt x="45" y="317"/>
                          <a:pt x="45" y="317"/>
                          <a:pt x="45" y="317"/>
                        </a:cubicBezTo>
                        <a:cubicBezTo>
                          <a:pt x="45" y="317"/>
                          <a:pt x="45" y="317"/>
                          <a:pt x="45" y="317"/>
                        </a:cubicBezTo>
                        <a:cubicBezTo>
                          <a:pt x="45" y="307"/>
                          <a:pt x="45" y="307"/>
                          <a:pt x="45" y="307"/>
                        </a:cubicBezTo>
                        <a:cubicBezTo>
                          <a:pt x="45" y="307"/>
                          <a:pt x="45" y="307"/>
                          <a:pt x="45" y="307"/>
                        </a:cubicBezTo>
                        <a:cubicBezTo>
                          <a:pt x="169" y="307"/>
                          <a:pt x="169" y="307"/>
                          <a:pt x="169" y="307"/>
                        </a:cubicBezTo>
                        <a:lnTo>
                          <a:pt x="169" y="317"/>
                        </a:lnTo>
                        <a:close/>
                        <a:moveTo>
                          <a:pt x="185" y="253"/>
                        </a:moveTo>
                        <a:cubicBezTo>
                          <a:pt x="184" y="244"/>
                          <a:pt x="177" y="239"/>
                          <a:pt x="169" y="239"/>
                        </a:cubicBezTo>
                        <a:cubicBezTo>
                          <a:pt x="45" y="239"/>
                          <a:pt x="45" y="239"/>
                          <a:pt x="45" y="239"/>
                        </a:cubicBezTo>
                        <a:cubicBezTo>
                          <a:pt x="37" y="239"/>
                          <a:pt x="30" y="244"/>
                          <a:pt x="29" y="253"/>
                        </a:cubicBezTo>
                        <a:cubicBezTo>
                          <a:pt x="29" y="265"/>
                          <a:pt x="29" y="265"/>
                          <a:pt x="29" y="265"/>
                        </a:cubicBezTo>
                        <a:cubicBezTo>
                          <a:pt x="30" y="275"/>
                          <a:pt x="37" y="280"/>
                          <a:pt x="45" y="280"/>
                        </a:cubicBezTo>
                        <a:cubicBezTo>
                          <a:pt x="169" y="280"/>
                          <a:pt x="169" y="280"/>
                          <a:pt x="169" y="280"/>
                        </a:cubicBezTo>
                        <a:cubicBezTo>
                          <a:pt x="177" y="280"/>
                          <a:pt x="185" y="275"/>
                          <a:pt x="185" y="265"/>
                        </a:cubicBezTo>
                        <a:lnTo>
                          <a:pt x="185" y="253"/>
                        </a:lnTo>
                        <a:close/>
                        <a:moveTo>
                          <a:pt x="169" y="264"/>
                        </a:moveTo>
                        <a:cubicBezTo>
                          <a:pt x="45" y="264"/>
                          <a:pt x="45" y="264"/>
                          <a:pt x="45" y="264"/>
                        </a:cubicBezTo>
                        <a:cubicBezTo>
                          <a:pt x="45" y="264"/>
                          <a:pt x="45" y="264"/>
                          <a:pt x="45" y="264"/>
                        </a:cubicBezTo>
                        <a:cubicBezTo>
                          <a:pt x="45" y="255"/>
                          <a:pt x="45" y="255"/>
                          <a:pt x="45" y="255"/>
                        </a:cubicBezTo>
                        <a:cubicBezTo>
                          <a:pt x="45" y="255"/>
                          <a:pt x="45" y="255"/>
                          <a:pt x="45" y="255"/>
                        </a:cubicBezTo>
                        <a:cubicBezTo>
                          <a:pt x="169" y="255"/>
                          <a:pt x="169" y="255"/>
                          <a:pt x="169" y="255"/>
                        </a:cubicBezTo>
                        <a:lnTo>
                          <a:pt x="169" y="264"/>
                        </a:lnTo>
                        <a:close/>
                        <a:moveTo>
                          <a:pt x="185" y="201"/>
                        </a:moveTo>
                        <a:cubicBezTo>
                          <a:pt x="185" y="192"/>
                          <a:pt x="177" y="186"/>
                          <a:pt x="169" y="186"/>
                        </a:cubicBezTo>
                        <a:cubicBezTo>
                          <a:pt x="45" y="186"/>
                          <a:pt x="45" y="186"/>
                          <a:pt x="45" y="186"/>
                        </a:cubicBezTo>
                        <a:cubicBezTo>
                          <a:pt x="37" y="186"/>
                          <a:pt x="30" y="192"/>
                          <a:pt x="29" y="201"/>
                        </a:cubicBezTo>
                        <a:cubicBezTo>
                          <a:pt x="29" y="213"/>
                          <a:pt x="29" y="213"/>
                          <a:pt x="29" y="213"/>
                        </a:cubicBezTo>
                        <a:cubicBezTo>
                          <a:pt x="30" y="222"/>
                          <a:pt x="37" y="228"/>
                          <a:pt x="45" y="228"/>
                        </a:cubicBezTo>
                        <a:cubicBezTo>
                          <a:pt x="169" y="228"/>
                          <a:pt x="169" y="228"/>
                          <a:pt x="169" y="228"/>
                        </a:cubicBezTo>
                        <a:cubicBezTo>
                          <a:pt x="177" y="228"/>
                          <a:pt x="184" y="222"/>
                          <a:pt x="185" y="213"/>
                        </a:cubicBezTo>
                        <a:lnTo>
                          <a:pt x="185" y="201"/>
                        </a:lnTo>
                        <a:close/>
                        <a:moveTo>
                          <a:pt x="169" y="212"/>
                        </a:moveTo>
                        <a:cubicBezTo>
                          <a:pt x="45" y="212"/>
                          <a:pt x="45" y="212"/>
                          <a:pt x="45" y="212"/>
                        </a:cubicBezTo>
                        <a:cubicBezTo>
                          <a:pt x="45" y="212"/>
                          <a:pt x="45" y="212"/>
                          <a:pt x="45" y="212"/>
                        </a:cubicBezTo>
                        <a:cubicBezTo>
                          <a:pt x="45" y="202"/>
                          <a:pt x="45" y="202"/>
                          <a:pt x="45" y="202"/>
                        </a:cubicBezTo>
                        <a:cubicBezTo>
                          <a:pt x="45" y="202"/>
                          <a:pt x="45" y="202"/>
                          <a:pt x="45" y="202"/>
                        </a:cubicBezTo>
                        <a:cubicBezTo>
                          <a:pt x="169" y="202"/>
                          <a:pt x="169" y="202"/>
                          <a:pt x="169" y="202"/>
                        </a:cubicBezTo>
                        <a:lnTo>
                          <a:pt x="169" y="212"/>
                        </a:lnTo>
                        <a:close/>
                        <a:moveTo>
                          <a:pt x="185" y="148"/>
                        </a:moveTo>
                        <a:cubicBezTo>
                          <a:pt x="184" y="139"/>
                          <a:pt x="177" y="134"/>
                          <a:pt x="169" y="134"/>
                        </a:cubicBezTo>
                        <a:cubicBezTo>
                          <a:pt x="45" y="134"/>
                          <a:pt x="45" y="134"/>
                          <a:pt x="45" y="134"/>
                        </a:cubicBezTo>
                        <a:cubicBezTo>
                          <a:pt x="37" y="134"/>
                          <a:pt x="30" y="139"/>
                          <a:pt x="29" y="148"/>
                        </a:cubicBezTo>
                        <a:cubicBezTo>
                          <a:pt x="29" y="161"/>
                          <a:pt x="29" y="161"/>
                          <a:pt x="29" y="161"/>
                        </a:cubicBezTo>
                        <a:cubicBezTo>
                          <a:pt x="30" y="170"/>
                          <a:pt x="37" y="175"/>
                          <a:pt x="45" y="175"/>
                        </a:cubicBezTo>
                        <a:cubicBezTo>
                          <a:pt x="169" y="175"/>
                          <a:pt x="169" y="175"/>
                          <a:pt x="169" y="175"/>
                        </a:cubicBezTo>
                        <a:cubicBezTo>
                          <a:pt x="177" y="175"/>
                          <a:pt x="185" y="170"/>
                          <a:pt x="185" y="161"/>
                        </a:cubicBezTo>
                        <a:lnTo>
                          <a:pt x="185" y="148"/>
                        </a:lnTo>
                        <a:close/>
                        <a:moveTo>
                          <a:pt x="169" y="159"/>
                        </a:moveTo>
                        <a:cubicBezTo>
                          <a:pt x="45" y="159"/>
                          <a:pt x="45" y="159"/>
                          <a:pt x="45" y="159"/>
                        </a:cubicBezTo>
                        <a:cubicBezTo>
                          <a:pt x="45" y="159"/>
                          <a:pt x="45" y="159"/>
                          <a:pt x="45" y="159"/>
                        </a:cubicBezTo>
                        <a:cubicBezTo>
                          <a:pt x="45" y="150"/>
                          <a:pt x="45" y="150"/>
                          <a:pt x="45" y="150"/>
                        </a:cubicBezTo>
                        <a:cubicBezTo>
                          <a:pt x="45" y="150"/>
                          <a:pt x="45" y="150"/>
                          <a:pt x="45" y="150"/>
                        </a:cubicBezTo>
                        <a:cubicBezTo>
                          <a:pt x="169" y="150"/>
                          <a:pt x="169" y="150"/>
                          <a:pt x="169" y="150"/>
                        </a:cubicBezTo>
                        <a:lnTo>
                          <a:pt x="169" y="159"/>
                        </a:lnTo>
                        <a:close/>
                        <a:moveTo>
                          <a:pt x="185" y="96"/>
                        </a:moveTo>
                        <a:cubicBezTo>
                          <a:pt x="185" y="87"/>
                          <a:pt x="177" y="81"/>
                          <a:pt x="169" y="81"/>
                        </a:cubicBezTo>
                        <a:cubicBezTo>
                          <a:pt x="45" y="81"/>
                          <a:pt x="45" y="81"/>
                          <a:pt x="45" y="81"/>
                        </a:cubicBezTo>
                        <a:cubicBezTo>
                          <a:pt x="37" y="81"/>
                          <a:pt x="30" y="87"/>
                          <a:pt x="29" y="96"/>
                        </a:cubicBezTo>
                        <a:cubicBezTo>
                          <a:pt x="29" y="108"/>
                          <a:pt x="29" y="108"/>
                          <a:pt x="29" y="108"/>
                        </a:cubicBezTo>
                        <a:cubicBezTo>
                          <a:pt x="30" y="117"/>
                          <a:pt x="37" y="123"/>
                          <a:pt x="45" y="123"/>
                        </a:cubicBezTo>
                        <a:cubicBezTo>
                          <a:pt x="169" y="123"/>
                          <a:pt x="169" y="123"/>
                          <a:pt x="169" y="123"/>
                        </a:cubicBezTo>
                        <a:cubicBezTo>
                          <a:pt x="177" y="123"/>
                          <a:pt x="184" y="117"/>
                          <a:pt x="185" y="108"/>
                        </a:cubicBezTo>
                        <a:lnTo>
                          <a:pt x="185" y="96"/>
                        </a:lnTo>
                        <a:close/>
                        <a:moveTo>
                          <a:pt x="169" y="107"/>
                        </a:moveTo>
                        <a:cubicBezTo>
                          <a:pt x="45" y="107"/>
                          <a:pt x="45" y="107"/>
                          <a:pt x="45" y="107"/>
                        </a:cubicBezTo>
                        <a:cubicBezTo>
                          <a:pt x="45" y="107"/>
                          <a:pt x="45" y="107"/>
                          <a:pt x="45" y="107"/>
                        </a:cubicBezTo>
                        <a:cubicBezTo>
                          <a:pt x="45" y="97"/>
                          <a:pt x="45" y="97"/>
                          <a:pt x="45" y="97"/>
                        </a:cubicBezTo>
                        <a:cubicBezTo>
                          <a:pt x="45" y="97"/>
                          <a:pt x="45" y="97"/>
                          <a:pt x="45" y="97"/>
                        </a:cubicBezTo>
                        <a:cubicBezTo>
                          <a:pt x="169" y="97"/>
                          <a:pt x="169" y="97"/>
                          <a:pt x="169" y="97"/>
                        </a:cubicBezTo>
                        <a:lnTo>
                          <a:pt x="169" y="107"/>
                        </a:lnTo>
                        <a:close/>
                        <a:moveTo>
                          <a:pt x="185" y="44"/>
                        </a:moveTo>
                        <a:cubicBezTo>
                          <a:pt x="184" y="34"/>
                          <a:pt x="177" y="29"/>
                          <a:pt x="169" y="29"/>
                        </a:cubicBezTo>
                        <a:cubicBezTo>
                          <a:pt x="45" y="29"/>
                          <a:pt x="45" y="29"/>
                          <a:pt x="45" y="29"/>
                        </a:cubicBezTo>
                        <a:cubicBezTo>
                          <a:pt x="37" y="29"/>
                          <a:pt x="30" y="34"/>
                          <a:pt x="29" y="44"/>
                        </a:cubicBezTo>
                        <a:cubicBezTo>
                          <a:pt x="29" y="56"/>
                          <a:pt x="29" y="56"/>
                          <a:pt x="29" y="56"/>
                        </a:cubicBezTo>
                        <a:cubicBezTo>
                          <a:pt x="30" y="65"/>
                          <a:pt x="37" y="70"/>
                          <a:pt x="45" y="70"/>
                        </a:cubicBezTo>
                        <a:cubicBezTo>
                          <a:pt x="169" y="70"/>
                          <a:pt x="169" y="70"/>
                          <a:pt x="169" y="70"/>
                        </a:cubicBezTo>
                        <a:cubicBezTo>
                          <a:pt x="177" y="70"/>
                          <a:pt x="185" y="65"/>
                          <a:pt x="185" y="56"/>
                        </a:cubicBezTo>
                        <a:lnTo>
                          <a:pt x="185" y="44"/>
                        </a:lnTo>
                        <a:close/>
                        <a:moveTo>
                          <a:pt x="169" y="54"/>
                        </a:moveTo>
                        <a:cubicBezTo>
                          <a:pt x="45" y="54"/>
                          <a:pt x="45" y="54"/>
                          <a:pt x="45" y="54"/>
                        </a:cubicBezTo>
                        <a:cubicBezTo>
                          <a:pt x="45" y="54"/>
                          <a:pt x="45" y="54"/>
                          <a:pt x="45" y="54"/>
                        </a:cubicBezTo>
                        <a:cubicBezTo>
                          <a:pt x="45" y="45"/>
                          <a:pt x="45" y="45"/>
                          <a:pt x="45" y="45"/>
                        </a:cubicBezTo>
                        <a:cubicBezTo>
                          <a:pt x="45" y="45"/>
                          <a:pt x="45" y="45"/>
                          <a:pt x="45" y="45"/>
                        </a:cubicBezTo>
                        <a:cubicBezTo>
                          <a:pt x="169" y="45"/>
                          <a:pt x="169" y="45"/>
                          <a:pt x="169" y="45"/>
                        </a:cubicBezTo>
                        <a:lnTo>
                          <a:pt x="169" y="54"/>
                        </a:lnTo>
                        <a:close/>
                        <a:moveTo>
                          <a:pt x="212" y="88"/>
                        </a:moveTo>
                        <a:cubicBezTo>
                          <a:pt x="204" y="88"/>
                          <a:pt x="198" y="94"/>
                          <a:pt x="198" y="102"/>
                        </a:cubicBezTo>
                        <a:cubicBezTo>
                          <a:pt x="198" y="110"/>
                          <a:pt x="204" y="116"/>
                          <a:pt x="212" y="116"/>
                        </a:cubicBezTo>
                        <a:cubicBezTo>
                          <a:pt x="220" y="116"/>
                          <a:pt x="226" y="110"/>
                          <a:pt x="226" y="102"/>
                        </a:cubicBezTo>
                        <a:cubicBezTo>
                          <a:pt x="226" y="94"/>
                          <a:pt x="220" y="88"/>
                          <a:pt x="212" y="88"/>
                        </a:cubicBezTo>
                        <a:close/>
                        <a:moveTo>
                          <a:pt x="212" y="35"/>
                        </a:moveTo>
                        <a:cubicBezTo>
                          <a:pt x="204" y="35"/>
                          <a:pt x="198" y="42"/>
                          <a:pt x="198" y="50"/>
                        </a:cubicBezTo>
                        <a:cubicBezTo>
                          <a:pt x="198" y="57"/>
                          <a:pt x="204" y="64"/>
                          <a:pt x="212" y="64"/>
                        </a:cubicBezTo>
                        <a:cubicBezTo>
                          <a:pt x="220" y="64"/>
                          <a:pt x="226" y="57"/>
                          <a:pt x="226" y="50"/>
                        </a:cubicBezTo>
                        <a:cubicBezTo>
                          <a:pt x="226" y="42"/>
                          <a:pt x="220" y="35"/>
                          <a:pt x="212" y="35"/>
                        </a:cubicBezTo>
                        <a:close/>
                        <a:moveTo>
                          <a:pt x="212" y="140"/>
                        </a:moveTo>
                        <a:cubicBezTo>
                          <a:pt x="204" y="140"/>
                          <a:pt x="198" y="147"/>
                          <a:pt x="198" y="155"/>
                        </a:cubicBezTo>
                        <a:cubicBezTo>
                          <a:pt x="198" y="162"/>
                          <a:pt x="204" y="169"/>
                          <a:pt x="212" y="169"/>
                        </a:cubicBezTo>
                        <a:cubicBezTo>
                          <a:pt x="220" y="169"/>
                          <a:pt x="226" y="162"/>
                          <a:pt x="226" y="155"/>
                        </a:cubicBezTo>
                        <a:cubicBezTo>
                          <a:pt x="226" y="147"/>
                          <a:pt x="220" y="140"/>
                          <a:pt x="212" y="140"/>
                        </a:cubicBezTo>
                        <a:close/>
                        <a:moveTo>
                          <a:pt x="212" y="193"/>
                        </a:moveTo>
                        <a:cubicBezTo>
                          <a:pt x="204" y="193"/>
                          <a:pt x="198" y="199"/>
                          <a:pt x="198" y="207"/>
                        </a:cubicBezTo>
                        <a:cubicBezTo>
                          <a:pt x="198" y="215"/>
                          <a:pt x="204" y="221"/>
                          <a:pt x="212" y="221"/>
                        </a:cubicBezTo>
                        <a:cubicBezTo>
                          <a:pt x="220" y="221"/>
                          <a:pt x="226" y="215"/>
                          <a:pt x="226" y="207"/>
                        </a:cubicBezTo>
                        <a:cubicBezTo>
                          <a:pt x="226" y="199"/>
                          <a:pt x="220" y="193"/>
                          <a:pt x="212" y="193"/>
                        </a:cubicBezTo>
                        <a:close/>
                        <a:moveTo>
                          <a:pt x="212" y="245"/>
                        </a:moveTo>
                        <a:cubicBezTo>
                          <a:pt x="204" y="245"/>
                          <a:pt x="198" y="252"/>
                          <a:pt x="198" y="259"/>
                        </a:cubicBezTo>
                        <a:cubicBezTo>
                          <a:pt x="198" y="267"/>
                          <a:pt x="204" y="274"/>
                          <a:pt x="212" y="274"/>
                        </a:cubicBezTo>
                        <a:cubicBezTo>
                          <a:pt x="220" y="274"/>
                          <a:pt x="226" y="267"/>
                          <a:pt x="226" y="259"/>
                        </a:cubicBezTo>
                        <a:cubicBezTo>
                          <a:pt x="226" y="252"/>
                          <a:pt x="220" y="245"/>
                          <a:pt x="212" y="245"/>
                        </a:cubicBezTo>
                        <a:close/>
                        <a:moveTo>
                          <a:pt x="212" y="298"/>
                        </a:moveTo>
                        <a:cubicBezTo>
                          <a:pt x="204" y="298"/>
                          <a:pt x="198" y="304"/>
                          <a:pt x="198" y="312"/>
                        </a:cubicBezTo>
                        <a:cubicBezTo>
                          <a:pt x="198" y="320"/>
                          <a:pt x="204" y="326"/>
                          <a:pt x="212" y="326"/>
                        </a:cubicBezTo>
                        <a:cubicBezTo>
                          <a:pt x="220" y="326"/>
                          <a:pt x="226" y="320"/>
                          <a:pt x="226" y="312"/>
                        </a:cubicBezTo>
                        <a:cubicBezTo>
                          <a:pt x="226" y="304"/>
                          <a:pt x="220" y="298"/>
                          <a:pt x="212" y="298"/>
                        </a:cubicBezTo>
                        <a:close/>
                        <a:moveTo>
                          <a:pt x="212" y="350"/>
                        </a:moveTo>
                        <a:cubicBezTo>
                          <a:pt x="204" y="350"/>
                          <a:pt x="198" y="356"/>
                          <a:pt x="198" y="364"/>
                        </a:cubicBezTo>
                        <a:cubicBezTo>
                          <a:pt x="198" y="372"/>
                          <a:pt x="204" y="379"/>
                          <a:pt x="212" y="379"/>
                        </a:cubicBezTo>
                        <a:cubicBezTo>
                          <a:pt x="220" y="379"/>
                          <a:pt x="226" y="372"/>
                          <a:pt x="226" y="364"/>
                        </a:cubicBezTo>
                        <a:cubicBezTo>
                          <a:pt x="226" y="356"/>
                          <a:pt x="220" y="350"/>
                          <a:pt x="212" y="350"/>
                        </a:cubicBezTo>
                        <a:close/>
                        <a:moveTo>
                          <a:pt x="247" y="44"/>
                        </a:moveTo>
                        <a:cubicBezTo>
                          <a:pt x="251" y="44"/>
                          <a:pt x="255" y="41"/>
                          <a:pt x="255" y="36"/>
                        </a:cubicBezTo>
                        <a:cubicBezTo>
                          <a:pt x="255" y="16"/>
                          <a:pt x="255" y="16"/>
                          <a:pt x="255" y="16"/>
                        </a:cubicBezTo>
                        <a:cubicBezTo>
                          <a:pt x="255" y="7"/>
                          <a:pt x="248" y="0"/>
                          <a:pt x="239" y="0"/>
                        </a:cubicBezTo>
                        <a:cubicBezTo>
                          <a:pt x="16" y="0"/>
                          <a:pt x="16" y="0"/>
                          <a:pt x="16" y="0"/>
                        </a:cubicBezTo>
                        <a:cubicBezTo>
                          <a:pt x="7" y="0"/>
                          <a:pt x="0" y="7"/>
                          <a:pt x="0" y="16"/>
                        </a:cubicBezTo>
                        <a:cubicBezTo>
                          <a:pt x="0" y="396"/>
                          <a:pt x="0" y="396"/>
                          <a:pt x="0" y="396"/>
                        </a:cubicBezTo>
                        <a:cubicBezTo>
                          <a:pt x="0" y="405"/>
                          <a:pt x="7" y="412"/>
                          <a:pt x="16" y="412"/>
                        </a:cubicBezTo>
                        <a:cubicBezTo>
                          <a:pt x="239" y="412"/>
                          <a:pt x="239" y="412"/>
                          <a:pt x="239" y="412"/>
                        </a:cubicBezTo>
                        <a:cubicBezTo>
                          <a:pt x="248" y="412"/>
                          <a:pt x="255" y="405"/>
                          <a:pt x="255" y="396"/>
                        </a:cubicBezTo>
                        <a:cubicBezTo>
                          <a:pt x="255" y="60"/>
                          <a:pt x="255" y="60"/>
                          <a:pt x="255" y="60"/>
                        </a:cubicBezTo>
                        <a:cubicBezTo>
                          <a:pt x="255" y="56"/>
                          <a:pt x="251" y="52"/>
                          <a:pt x="247" y="52"/>
                        </a:cubicBezTo>
                        <a:cubicBezTo>
                          <a:pt x="242" y="52"/>
                          <a:pt x="239" y="56"/>
                          <a:pt x="239" y="60"/>
                        </a:cubicBezTo>
                        <a:cubicBezTo>
                          <a:pt x="239" y="396"/>
                          <a:pt x="239" y="396"/>
                          <a:pt x="239" y="396"/>
                        </a:cubicBezTo>
                        <a:cubicBezTo>
                          <a:pt x="16" y="396"/>
                          <a:pt x="16" y="396"/>
                          <a:pt x="16" y="396"/>
                        </a:cubicBezTo>
                        <a:cubicBezTo>
                          <a:pt x="16" y="396"/>
                          <a:pt x="16" y="396"/>
                          <a:pt x="16" y="396"/>
                        </a:cubicBezTo>
                        <a:cubicBezTo>
                          <a:pt x="16" y="16"/>
                          <a:pt x="16" y="16"/>
                          <a:pt x="16" y="16"/>
                        </a:cubicBezTo>
                        <a:cubicBezTo>
                          <a:pt x="16" y="16"/>
                          <a:pt x="16" y="16"/>
                          <a:pt x="16" y="16"/>
                        </a:cubicBezTo>
                        <a:cubicBezTo>
                          <a:pt x="239" y="16"/>
                          <a:pt x="239" y="16"/>
                          <a:pt x="239" y="16"/>
                        </a:cubicBezTo>
                        <a:cubicBezTo>
                          <a:pt x="239" y="36"/>
                          <a:pt x="239" y="36"/>
                          <a:pt x="239" y="36"/>
                        </a:cubicBezTo>
                        <a:cubicBezTo>
                          <a:pt x="239" y="41"/>
                          <a:pt x="242" y="44"/>
                          <a:pt x="247" y="44"/>
                        </a:cubicBezTo>
                        <a:close/>
                      </a:path>
                    </a:pathLst>
                  </a:custGeom>
                  <a:solidFill>
                    <a:srgbClr val="BBE0E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</p:grpSp>
        </p:grpSp>
      </p:grpSp>
      <p:sp>
        <p:nvSpPr>
          <p:cNvPr id="122934" name="Right Triangle 2"/>
          <p:cNvSpPr>
            <a:spLocks noChangeArrowheads="1"/>
          </p:cNvSpPr>
          <p:nvPr/>
        </p:nvSpPr>
        <p:spPr bwMode="auto">
          <a:xfrm>
            <a:off x="371477" y="4486276"/>
            <a:ext cx="11369675" cy="731996"/>
          </a:xfrm>
          <a:prstGeom prst="rtTriangle">
            <a:avLst/>
          </a:prstGeom>
          <a:solidFill>
            <a:srgbClr val="00285E"/>
          </a:solidFill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>
            <a:spAutoFit/>
          </a:bodyPr>
          <a:lstStyle/>
          <a:p>
            <a:pPr algn="ctr"/>
            <a:endParaRPr lang="en-US" sz="1000" b="1" i="1"/>
          </a:p>
        </p:txBody>
      </p:sp>
      <p:sp>
        <p:nvSpPr>
          <p:cNvPr id="122935" name="Right Triangle 62"/>
          <p:cNvSpPr>
            <a:spLocks noChangeArrowheads="1"/>
          </p:cNvSpPr>
          <p:nvPr/>
        </p:nvSpPr>
        <p:spPr bwMode="auto">
          <a:xfrm rot="10800000">
            <a:off x="371477" y="4340941"/>
            <a:ext cx="11369675" cy="731996"/>
          </a:xfrm>
          <a:prstGeom prst="rtTriangle">
            <a:avLst/>
          </a:prstGeom>
          <a:solidFill>
            <a:schemeClr val="tx2"/>
          </a:solidFill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rot="10800000">
            <a:spAutoFit/>
          </a:bodyPr>
          <a:lstStyle/>
          <a:p>
            <a:pPr algn="ctr"/>
            <a:endParaRPr lang="en-US" sz="1000" b="1" i="1"/>
          </a:p>
        </p:txBody>
      </p:sp>
      <p:sp>
        <p:nvSpPr>
          <p:cNvPr id="122936" name="TextBox 4"/>
          <p:cNvSpPr txBox="1">
            <a:spLocks noChangeArrowheads="1"/>
          </p:cNvSpPr>
          <p:nvPr/>
        </p:nvSpPr>
        <p:spPr bwMode="auto">
          <a:xfrm>
            <a:off x="9975160" y="4459323"/>
            <a:ext cx="158729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n-US" sz="1400" b="1" i="1">
                <a:solidFill>
                  <a:srgbClr val="FFFFFF"/>
                </a:solidFill>
                <a:cs typeface="Arial" pitchFamily="34" charset="0"/>
              </a:rPr>
              <a:t>Business Driven</a:t>
            </a:r>
          </a:p>
        </p:txBody>
      </p:sp>
      <p:sp>
        <p:nvSpPr>
          <p:cNvPr id="122937" name="TextBox 64"/>
          <p:cNvSpPr txBox="1">
            <a:spLocks noChangeArrowheads="1"/>
          </p:cNvSpPr>
          <p:nvPr/>
        </p:nvSpPr>
        <p:spPr bwMode="auto">
          <a:xfrm>
            <a:off x="769993" y="4673635"/>
            <a:ext cx="178741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n-US" sz="1400" b="1" i="1">
                <a:solidFill>
                  <a:srgbClr val="FFFFFF"/>
                </a:solidFill>
                <a:cs typeface="Arial" pitchFamily="34" charset="0"/>
              </a:rPr>
              <a:t>Technology Driven</a:t>
            </a:r>
          </a:p>
        </p:txBody>
      </p:sp>
      <p:sp>
        <p:nvSpPr>
          <p:cNvPr id="122938" name="Rektangel 4"/>
          <p:cNvSpPr>
            <a:spLocks noChangeArrowheads="1"/>
          </p:cNvSpPr>
          <p:nvPr/>
        </p:nvSpPr>
        <p:spPr bwMode="auto">
          <a:xfrm>
            <a:off x="3605237" y="729915"/>
            <a:ext cx="3040063" cy="593725"/>
          </a:xfrm>
          <a:prstGeom prst="rect">
            <a:avLst/>
          </a:prstGeom>
          <a:solidFill>
            <a:srgbClr val="7B066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rIns="72000"/>
          <a:lstStyle/>
          <a:p>
            <a:pPr>
              <a:spcBef>
                <a:spcPct val="50000"/>
              </a:spcBef>
            </a:pPr>
            <a:r>
              <a:rPr lang="sv-SE" altLang="sv-SE" sz="1600" b="1">
                <a:solidFill>
                  <a:srgbClr val="FFFFFF"/>
                </a:solidFill>
              </a:rPr>
              <a:t>Operator IT  </a:t>
            </a:r>
            <a:br>
              <a:rPr lang="sv-SE" altLang="sv-SE" sz="1600" b="1">
                <a:solidFill>
                  <a:srgbClr val="FFFFFF"/>
                </a:solidFill>
              </a:rPr>
            </a:br>
            <a:r>
              <a:rPr lang="sv-SE" altLang="sv-SE" sz="1600" b="1">
                <a:solidFill>
                  <a:srgbClr val="FFFFFF"/>
                </a:solidFill>
              </a:rPr>
              <a:t>Private Cloud</a:t>
            </a:r>
            <a:br>
              <a:rPr lang="sv-SE" altLang="sv-SE" sz="1600" b="1">
                <a:solidFill>
                  <a:srgbClr val="FFFFFF"/>
                </a:solidFill>
              </a:rPr>
            </a:br>
            <a:endParaRPr lang="sv-SE" altLang="sv-SE" sz="1600">
              <a:solidFill>
                <a:srgbClr val="FFFFFF"/>
              </a:solidFill>
            </a:endParaRPr>
          </a:p>
        </p:txBody>
      </p:sp>
      <p:sp>
        <p:nvSpPr>
          <p:cNvPr id="122941" name="Pentagon 21"/>
          <p:cNvSpPr>
            <a:spLocks noChangeArrowheads="1"/>
          </p:cNvSpPr>
          <p:nvPr/>
        </p:nvSpPr>
        <p:spPr bwMode="auto">
          <a:xfrm>
            <a:off x="6362703" y="734680"/>
            <a:ext cx="230188" cy="579437"/>
          </a:xfrm>
          <a:prstGeom prst="homePlate">
            <a:avLst>
              <a:gd name="adj" fmla="val 95644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rIns="72000"/>
          <a:lstStyle/>
          <a:p>
            <a:pPr>
              <a:spcBef>
                <a:spcPct val="50000"/>
              </a:spcBef>
            </a:pPr>
            <a:endParaRPr lang="en-US" altLang="sv-SE">
              <a:solidFill>
                <a:srgbClr val="58585A"/>
              </a:solidFill>
            </a:endParaRPr>
          </a:p>
        </p:txBody>
      </p:sp>
      <p:sp>
        <p:nvSpPr>
          <p:cNvPr id="122942" name="Rektangel 5"/>
          <p:cNvSpPr>
            <a:spLocks noChangeArrowheads="1"/>
          </p:cNvSpPr>
          <p:nvPr/>
        </p:nvSpPr>
        <p:spPr bwMode="auto">
          <a:xfrm>
            <a:off x="6853239" y="726744"/>
            <a:ext cx="4887912" cy="593725"/>
          </a:xfrm>
          <a:prstGeom prst="rect">
            <a:avLst/>
          </a:prstGeom>
          <a:solidFill>
            <a:srgbClr val="7B066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rIns="72000"/>
          <a:lstStyle/>
          <a:p>
            <a:pPr>
              <a:spcBef>
                <a:spcPct val="50000"/>
              </a:spcBef>
            </a:pPr>
            <a:r>
              <a:rPr lang="sv-SE" altLang="sv-SE" sz="1600" b="1">
                <a:solidFill>
                  <a:srgbClr val="FFFFFF"/>
                </a:solidFill>
              </a:rPr>
              <a:t>Operator</a:t>
            </a:r>
            <a:br>
              <a:rPr lang="sv-SE" altLang="sv-SE" sz="1600" b="1">
                <a:solidFill>
                  <a:srgbClr val="FFFFFF"/>
                </a:solidFill>
              </a:rPr>
            </a:br>
            <a:r>
              <a:rPr lang="sv-SE" altLang="sv-SE" sz="1600" b="1">
                <a:solidFill>
                  <a:srgbClr val="FFFFFF"/>
                </a:solidFill>
              </a:rPr>
              <a:t>Public Cloud </a:t>
            </a:r>
            <a:endParaRPr lang="sv-SE" altLang="sv-SE" sz="1600">
              <a:solidFill>
                <a:srgbClr val="FFFFFF"/>
              </a:solidFill>
            </a:endParaRPr>
          </a:p>
        </p:txBody>
      </p:sp>
      <p:sp>
        <p:nvSpPr>
          <p:cNvPr id="122944" name="Pentagon 23"/>
          <p:cNvSpPr>
            <a:spLocks noChangeArrowheads="1"/>
          </p:cNvSpPr>
          <p:nvPr/>
        </p:nvSpPr>
        <p:spPr bwMode="auto">
          <a:xfrm>
            <a:off x="11468100" y="748965"/>
            <a:ext cx="228600" cy="579438"/>
          </a:xfrm>
          <a:prstGeom prst="homePlate">
            <a:avLst>
              <a:gd name="adj" fmla="val 95644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rIns="72000"/>
          <a:lstStyle/>
          <a:p>
            <a:pPr>
              <a:spcBef>
                <a:spcPct val="50000"/>
              </a:spcBef>
            </a:pPr>
            <a:endParaRPr lang="en-US" altLang="sv-SE">
              <a:solidFill>
                <a:srgbClr val="58585A"/>
              </a:solidFill>
            </a:endParaRPr>
          </a:p>
        </p:txBody>
      </p:sp>
      <p:sp>
        <p:nvSpPr>
          <p:cNvPr id="122945" name="Rectangle 3"/>
          <p:cNvSpPr>
            <a:spLocks noChangeArrowheads="1"/>
          </p:cNvSpPr>
          <p:nvPr/>
        </p:nvSpPr>
        <p:spPr bwMode="auto">
          <a:xfrm>
            <a:off x="388939" y="748965"/>
            <a:ext cx="3046412" cy="592138"/>
          </a:xfrm>
          <a:prstGeom prst="rect">
            <a:avLst/>
          </a:prstGeom>
          <a:solidFill>
            <a:srgbClr val="7B066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/>
          <a:p>
            <a:r>
              <a:rPr lang="en-US" altLang="sv-SE" sz="1600" b="1">
                <a:solidFill>
                  <a:srgbClr val="FFFFFF"/>
                </a:solidFill>
              </a:rPr>
              <a:t>Operator Telecom </a:t>
            </a:r>
          </a:p>
          <a:p>
            <a:r>
              <a:rPr lang="en-US" altLang="sv-SE" sz="1600" b="1">
                <a:solidFill>
                  <a:srgbClr val="FFFFFF"/>
                </a:solidFill>
              </a:rPr>
              <a:t>Private Cloud</a:t>
            </a:r>
          </a:p>
        </p:txBody>
      </p:sp>
      <p:sp>
        <p:nvSpPr>
          <p:cNvPr id="122946" name="Pentagon 25"/>
          <p:cNvSpPr>
            <a:spLocks noChangeArrowheads="1"/>
          </p:cNvSpPr>
          <p:nvPr/>
        </p:nvSpPr>
        <p:spPr bwMode="auto">
          <a:xfrm>
            <a:off x="3194051" y="717215"/>
            <a:ext cx="230188" cy="579438"/>
          </a:xfrm>
          <a:prstGeom prst="homePlate">
            <a:avLst>
              <a:gd name="adj" fmla="val 95644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rIns="72000"/>
          <a:lstStyle/>
          <a:p>
            <a:pPr>
              <a:spcBef>
                <a:spcPct val="50000"/>
              </a:spcBef>
            </a:pPr>
            <a:endParaRPr lang="en-US" altLang="sv-SE">
              <a:solidFill>
                <a:srgbClr val="58585A"/>
              </a:solidFill>
            </a:endParaRPr>
          </a:p>
        </p:txBody>
      </p:sp>
      <p:sp>
        <p:nvSpPr>
          <p:cNvPr id="122948" name="Rubrik 1"/>
          <p:cNvSpPr>
            <a:spLocks/>
          </p:cNvSpPr>
          <p:nvPr/>
        </p:nvSpPr>
        <p:spPr bwMode="auto">
          <a:xfrm>
            <a:off x="368300" y="140458"/>
            <a:ext cx="9991725" cy="471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 anchor="ctr"/>
          <a:lstStyle/>
          <a:p>
            <a:pPr eaLnBrk="0" hangingPunct="0">
              <a:lnSpc>
                <a:spcPct val="75000"/>
              </a:lnSpc>
            </a:pPr>
            <a:r>
              <a:rPr lang="en-US" altLang="sv-SE" sz="4400" dirty="0" smtClean="0">
                <a:latin typeface="Ericsson Capital TT" pitchFamily="2" charset="0"/>
              </a:rPr>
              <a:t>cloud transformation tracks</a:t>
            </a:r>
            <a:endParaRPr lang="sv-SE" altLang="sv-SE" sz="4400" dirty="0">
              <a:latin typeface="Ericsson Capital TT" pitchFamily="2" charset="0"/>
            </a:endParaRPr>
          </a:p>
        </p:txBody>
      </p:sp>
      <p:grpSp>
        <p:nvGrpSpPr>
          <p:cNvPr id="123003" name="Group 123"/>
          <p:cNvGrpSpPr>
            <a:grpSpLocks/>
          </p:cNvGrpSpPr>
          <p:nvPr/>
        </p:nvGrpSpPr>
        <p:grpSpPr bwMode="auto">
          <a:xfrm>
            <a:off x="6865937" y="1430338"/>
            <a:ext cx="4983163" cy="5113337"/>
            <a:chOff x="4294" y="901"/>
            <a:chExt cx="3139" cy="3221"/>
          </a:xfrm>
        </p:grpSpPr>
        <p:sp>
          <p:nvSpPr>
            <p:cNvPr id="86" name="Rounded Rectangle 85"/>
            <p:cNvSpPr>
              <a:spLocks noChangeArrowheads="1"/>
            </p:cNvSpPr>
            <p:nvPr/>
          </p:nvSpPr>
          <p:spPr bwMode="auto">
            <a:xfrm>
              <a:off x="4294" y="901"/>
              <a:ext cx="3111" cy="1842"/>
            </a:xfrm>
            <a:prstGeom prst="roundRect">
              <a:avLst>
                <a:gd name="adj" fmla="val 1653"/>
              </a:avLst>
            </a:prstGeom>
            <a:solidFill>
              <a:schemeClr val="accent2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lIns="108000" tIns="72000" rIns="108000" bIns="0"/>
            <a:lstStyle/>
            <a:p>
              <a:pPr marL="4763" algn="ctr" eaLnBrk="0" hangingPunct="0">
                <a:spcBef>
                  <a:spcPct val="50000"/>
                </a:spcBef>
              </a:pPr>
              <a:endParaRPr lang="en-AU" sz="1600" b="1" i="1">
                <a:solidFill>
                  <a:srgbClr val="FFFFFF"/>
                </a:solidFill>
              </a:endParaRPr>
            </a:p>
          </p:txBody>
        </p:sp>
        <p:grpSp>
          <p:nvGrpSpPr>
            <p:cNvPr id="122983" name="Group 103"/>
            <p:cNvGrpSpPr>
              <a:grpSpLocks/>
            </p:cNvGrpSpPr>
            <p:nvPr/>
          </p:nvGrpSpPr>
          <p:grpSpPr bwMode="auto">
            <a:xfrm>
              <a:off x="4297" y="1329"/>
              <a:ext cx="3136" cy="2793"/>
              <a:chOff x="4288" y="1329"/>
              <a:chExt cx="3136" cy="2793"/>
            </a:xfrm>
          </p:grpSpPr>
          <p:sp>
            <p:nvSpPr>
              <p:cNvPr id="83" name="Rounded Rectangle 82"/>
              <p:cNvSpPr/>
              <p:nvPr/>
            </p:nvSpPr>
            <p:spPr bwMode="auto">
              <a:xfrm>
                <a:off x="4288" y="3212"/>
                <a:ext cx="3136" cy="910"/>
              </a:xfrm>
              <a:prstGeom prst="roundRect">
                <a:avLst>
                  <a:gd name="adj" fmla="val 6012"/>
                </a:avLst>
              </a:prstGeom>
              <a:ln w="25400" cap="flat" cmpd="sng" algn="ctr">
                <a:solidFill>
                  <a:srgbClr val="E32119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lIns="36000" tIns="108000" rIns="36000" anchor="ctr"/>
              <a:lstStyle/>
              <a:p>
                <a:pPr algn="ctr"/>
                <a:r>
                  <a:rPr lang="sv-SE" altLang="sv-SE" b="1" dirty="0">
                    <a:solidFill>
                      <a:srgbClr val="00A9D4"/>
                    </a:solidFill>
                    <a:ea typeface="MS PGothic" pitchFamily="34" charset="-128"/>
                    <a:cs typeface="Arial" pitchFamily="34" charset="0"/>
                  </a:rPr>
                  <a:t>R</a:t>
                </a:r>
                <a:r>
                  <a:rPr lang="en-US" altLang="sv-SE" b="1" dirty="0" err="1">
                    <a:solidFill>
                      <a:srgbClr val="00A9D4"/>
                    </a:solidFill>
                    <a:ea typeface="MS PGothic" pitchFamily="34" charset="-128"/>
                    <a:cs typeface="Arial" pitchFamily="34" charset="0"/>
                  </a:rPr>
                  <a:t>evenues</a:t>
                </a:r>
                <a:r>
                  <a:rPr lang="en-US" altLang="sv-SE" b="1" dirty="0">
                    <a:solidFill>
                      <a:srgbClr val="00A9D4"/>
                    </a:solidFill>
                    <a:ea typeface="MS PGothic" pitchFamily="34" charset="-128"/>
                    <a:cs typeface="Arial" pitchFamily="34" charset="0"/>
                  </a:rPr>
                  <a:t> through new services Leverage </a:t>
                </a:r>
                <a:r>
                  <a:rPr lang="en-US" altLang="sv-SE" b="1" dirty="0" smtClean="0">
                    <a:solidFill>
                      <a:srgbClr val="00A9D4"/>
                    </a:solidFill>
                    <a:ea typeface="MS PGothic" pitchFamily="34" charset="-128"/>
                    <a:cs typeface="Arial" pitchFamily="34" charset="0"/>
                  </a:rPr>
                  <a:t>on operator </a:t>
                </a:r>
                <a:r>
                  <a:rPr lang="en-US" altLang="sv-SE" b="1" dirty="0">
                    <a:solidFill>
                      <a:srgbClr val="00A9D4"/>
                    </a:solidFill>
                    <a:ea typeface="MS PGothic" pitchFamily="34" charset="-128"/>
                    <a:cs typeface="Arial" pitchFamily="34" charset="0"/>
                  </a:rPr>
                  <a:t>strengths</a:t>
                </a:r>
                <a:r>
                  <a:rPr lang="sv-SE" altLang="sv-SE" b="1" dirty="0">
                    <a:solidFill>
                      <a:srgbClr val="00A9D4"/>
                    </a:solidFill>
                    <a:ea typeface="MS PGothic" pitchFamily="34" charset="-128"/>
                    <a:cs typeface="Arial" pitchFamily="34" charset="0"/>
                  </a:rPr>
                  <a:t>, </a:t>
                </a:r>
                <a:r>
                  <a:rPr lang="en-US" altLang="sv-SE" b="1" dirty="0">
                    <a:solidFill>
                      <a:srgbClr val="00A9D4"/>
                    </a:solidFill>
                    <a:ea typeface="MS PGothic" pitchFamily="34" charset="-128"/>
                    <a:cs typeface="Arial" pitchFamily="34" charset="0"/>
                  </a:rPr>
                  <a:t>relation</a:t>
                </a:r>
                <a:r>
                  <a:rPr lang="sv-SE" altLang="sv-SE" b="1" dirty="0">
                    <a:solidFill>
                      <a:srgbClr val="00A9D4"/>
                    </a:solidFill>
                    <a:ea typeface="MS PGothic" pitchFamily="34" charset="-128"/>
                    <a:cs typeface="Arial" pitchFamily="34" charset="0"/>
                  </a:rPr>
                  <a:t> &amp;</a:t>
                </a:r>
                <a:r>
                  <a:rPr lang="en-US" altLang="sv-SE" b="1" dirty="0">
                    <a:solidFill>
                      <a:srgbClr val="00A9D4"/>
                    </a:solidFill>
                    <a:ea typeface="MS PGothic" pitchFamily="34" charset="-128"/>
                    <a:cs typeface="Arial" pitchFamily="34" charset="0"/>
                  </a:rPr>
                  <a:t> networking</a:t>
                </a:r>
              </a:p>
            </p:txBody>
          </p:sp>
          <p:grpSp>
            <p:nvGrpSpPr>
              <p:cNvPr id="122980" name="Group 100"/>
              <p:cNvGrpSpPr>
                <a:grpSpLocks/>
              </p:cNvGrpSpPr>
              <p:nvPr/>
            </p:nvGrpSpPr>
            <p:grpSpPr bwMode="auto">
              <a:xfrm>
                <a:off x="4446" y="1329"/>
                <a:ext cx="2523" cy="913"/>
                <a:chOff x="4464" y="1329"/>
                <a:chExt cx="2523" cy="913"/>
              </a:xfrm>
            </p:grpSpPr>
            <p:sp>
              <p:nvSpPr>
                <p:cNvPr id="31" name="Rounded Rectangle 30"/>
                <p:cNvSpPr/>
                <p:nvPr/>
              </p:nvSpPr>
              <p:spPr bwMode="auto">
                <a:xfrm>
                  <a:off x="4464" y="1333"/>
                  <a:ext cx="1009" cy="909"/>
                </a:xfrm>
                <a:prstGeom prst="roundRect">
                  <a:avLst>
                    <a:gd name="adj" fmla="val 4593"/>
                  </a:avLst>
                </a:prstGeom>
                <a:solidFill>
                  <a:srgbClr val="FFFFFF"/>
                </a:solidFill>
                <a:ln w="25400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style>
                <a:lnRef idx="2">
                  <a:schemeClr val="accent5"/>
                </a:lnRef>
                <a:fillRef idx="1">
                  <a:schemeClr val="lt1"/>
                </a:fillRef>
                <a:effectRef idx="0">
                  <a:schemeClr val="accent5"/>
                </a:effectRef>
                <a:fontRef idx="minor">
                  <a:schemeClr val="dk1"/>
                </a:fontRef>
              </p:style>
              <p:txBody>
                <a:bodyPr lIns="72000" rIns="72000" bIns="0" anchor="b"/>
                <a:lstStyle/>
                <a:p>
                  <a:pPr algn="ctr">
                    <a:spcBef>
                      <a:spcPct val="50000"/>
                    </a:spcBef>
                    <a:defRPr/>
                  </a:pPr>
                  <a:r>
                    <a:rPr lang="en-US" sz="1050" b="1" i="1" dirty="0">
                      <a:solidFill>
                        <a:srgbClr val="000000"/>
                      </a:solidFill>
                    </a:rPr>
                    <a:t>Communication &amp; Messaging</a:t>
                  </a:r>
                </a:p>
              </p:txBody>
            </p:sp>
            <p:sp>
              <p:nvSpPr>
                <p:cNvPr id="122900" name="Freeform 3"/>
                <p:cNvSpPr>
                  <a:spLocks noChangeAspect="1" noEditPoints="1"/>
                </p:cNvSpPr>
                <p:nvPr/>
              </p:nvSpPr>
              <p:spPr bwMode="auto">
                <a:xfrm>
                  <a:off x="4982" y="1764"/>
                  <a:ext cx="369" cy="200"/>
                </a:xfrm>
                <a:custGeom>
                  <a:avLst/>
                  <a:gdLst>
                    <a:gd name="T0" fmla="*/ 2147483647 w 407"/>
                    <a:gd name="T1" fmla="*/ 2147483647 h 299"/>
                    <a:gd name="T2" fmla="*/ 2147483647 w 407"/>
                    <a:gd name="T3" fmla="*/ 2147483647 h 299"/>
                    <a:gd name="T4" fmla="*/ 2147483647 w 407"/>
                    <a:gd name="T5" fmla="*/ 2147483647 h 299"/>
                    <a:gd name="T6" fmla="*/ 2147483647 w 407"/>
                    <a:gd name="T7" fmla="*/ 2147483647 h 299"/>
                    <a:gd name="T8" fmla="*/ 2147483647 w 407"/>
                    <a:gd name="T9" fmla="*/ 2147483647 h 299"/>
                    <a:gd name="T10" fmla="*/ 2147483647 w 407"/>
                    <a:gd name="T11" fmla="*/ 2147483647 h 299"/>
                    <a:gd name="T12" fmla="*/ 2147483647 w 407"/>
                    <a:gd name="T13" fmla="*/ 2147483647 h 299"/>
                    <a:gd name="T14" fmla="*/ 2147483647 w 407"/>
                    <a:gd name="T15" fmla="*/ 2147483647 h 299"/>
                    <a:gd name="T16" fmla="*/ 2147483647 w 407"/>
                    <a:gd name="T17" fmla="*/ 2147483647 h 299"/>
                    <a:gd name="T18" fmla="*/ 2147483647 w 407"/>
                    <a:gd name="T19" fmla="*/ 2147483647 h 299"/>
                    <a:gd name="T20" fmla="*/ 2147483647 w 407"/>
                    <a:gd name="T21" fmla="*/ 2147483647 h 299"/>
                    <a:gd name="T22" fmla="*/ 2147483647 w 407"/>
                    <a:gd name="T23" fmla="*/ 0 h 299"/>
                    <a:gd name="T24" fmla="*/ 2147483647 w 407"/>
                    <a:gd name="T25" fmla="*/ 0 h 299"/>
                    <a:gd name="T26" fmla="*/ 0 w 407"/>
                    <a:gd name="T27" fmla="*/ 2147483647 h 299"/>
                    <a:gd name="T28" fmla="*/ 0 w 407"/>
                    <a:gd name="T29" fmla="*/ 2147483647 h 299"/>
                    <a:gd name="T30" fmla="*/ 2147483647 w 407"/>
                    <a:gd name="T31" fmla="*/ 2147483647 h 299"/>
                    <a:gd name="T32" fmla="*/ 2147483647 w 407"/>
                    <a:gd name="T33" fmla="*/ 2147483647 h 299"/>
                    <a:gd name="T34" fmla="*/ 2147483647 w 407"/>
                    <a:gd name="T35" fmla="*/ 2147483647 h 299"/>
                    <a:gd name="T36" fmla="*/ 2147483647 w 407"/>
                    <a:gd name="T37" fmla="*/ 2147483647 h 299"/>
                    <a:gd name="T38" fmla="*/ 2147483647 w 407"/>
                    <a:gd name="T39" fmla="*/ 2147483647 h 299"/>
                    <a:gd name="T40" fmla="*/ 2147483647 w 407"/>
                    <a:gd name="T41" fmla="*/ 2147483647 h 299"/>
                    <a:gd name="T42" fmla="*/ 2147483647 w 407"/>
                    <a:gd name="T43" fmla="*/ 2147483647 h 299"/>
                    <a:gd name="T44" fmla="*/ 2147483647 w 407"/>
                    <a:gd name="T45" fmla="*/ 2147483647 h 299"/>
                    <a:gd name="T46" fmla="*/ 2147483647 w 407"/>
                    <a:gd name="T47" fmla="*/ 2147483647 h 299"/>
                    <a:gd name="T48" fmla="*/ 2147483647 w 407"/>
                    <a:gd name="T49" fmla="*/ 2147483647 h 299"/>
                    <a:gd name="T50" fmla="*/ 2147483647 w 407"/>
                    <a:gd name="T51" fmla="*/ 2147483647 h 299"/>
                    <a:gd name="T52" fmla="*/ 2147483647 w 407"/>
                    <a:gd name="T53" fmla="*/ 2147483647 h 299"/>
                    <a:gd name="T54" fmla="*/ 2147483647 w 407"/>
                    <a:gd name="T55" fmla="*/ 2147483647 h 299"/>
                    <a:gd name="T56" fmla="*/ 2147483647 w 407"/>
                    <a:gd name="T57" fmla="*/ 2147483647 h 299"/>
                    <a:gd name="T58" fmla="*/ 2147483647 w 407"/>
                    <a:gd name="T59" fmla="*/ 2147483647 h 299"/>
                    <a:gd name="T60" fmla="*/ 2147483647 w 407"/>
                    <a:gd name="T61" fmla="*/ 2147483647 h 299"/>
                    <a:gd name="T62" fmla="*/ 2147483647 w 407"/>
                    <a:gd name="T63" fmla="*/ 2147483647 h 299"/>
                    <a:gd name="T64" fmla="*/ 2147483647 w 407"/>
                    <a:gd name="T65" fmla="*/ 2147483647 h 299"/>
                    <a:gd name="T66" fmla="*/ 2147483647 w 407"/>
                    <a:gd name="T67" fmla="*/ 2147483647 h 299"/>
                    <a:gd name="T68" fmla="*/ 2147483647 w 407"/>
                    <a:gd name="T69" fmla="*/ 2147483647 h 299"/>
                    <a:gd name="T70" fmla="*/ 2147483647 w 407"/>
                    <a:gd name="T71" fmla="*/ 2147483647 h 299"/>
                    <a:gd name="T72" fmla="*/ 2147483647 w 407"/>
                    <a:gd name="T73" fmla="*/ 2147483647 h 299"/>
                    <a:gd name="T74" fmla="*/ 2147483647 w 407"/>
                    <a:gd name="T75" fmla="*/ 2147483647 h 299"/>
                    <a:gd name="T76" fmla="*/ 2147483647 w 407"/>
                    <a:gd name="T77" fmla="*/ 2147483647 h 299"/>
                    <a:gd name="T78" fmla="*/ 2147483647 w 407"/>
                    <a:gd name="T79" fmla="*/ 2147483647 h 299"/>
                    <a:gd name="T80" fmla="*/ 2147483647 w 407"/>
                    <a:gd name="T81" fmla="*/ 2147483647 h 299"/>
                    <a:gd name="T82" fmla="*/ 2147483647 w 407"/>
                    <a:gd name="T83" fmla="*/ 2147483647 h 299"/>
                    <a:gd name="T84" fmla="*/ 2147483647 w 407"/>
                    <a:gd name="T85" fmla="*/ 2147483647 h 299"/>
                    <a:gd name="T86" fmla="*/ 2147483647 w 407"/>
                    <a:gd name="T87" fmla="*/ 2147483647 h 299"/>
                    <a:gd name="T88" fmla="*/ 2147483647 w 407"/>
                    <a:gd name="T89" fmla="*/ 2147483647 h 299"/>
                    <a:gd name="T90" fmla="*/ 2147483647 w 407"/>
                    <a:gd name="T91" fmla="*/ 2147483647 h 299"/>
                    <a:gd name="T92" fmla="*/ 2147483647 w 407"/>
                    <a:gd name="T93" fmla="*/ 2147483647 h 299"/>
                    <a:gd name="T94" fmla="*/ 2147483647 w 407"/>
                    <a:gd name="T95" fmla="*/ 2147483647 h 299"/>
                    <a:gd name="T96" fmla="*/ 2147483647 w 407"/>
                    <a:gd name="T97" fmla="*/ 2147483647 h 299"/>
                    <a:gd name="T98" fmla="*/ 2147483647 w 407"/>
                    <a:gd name="T99" fmla="*/ 2147483647 h 299"/>
                    <a:gd name="T100" fmla="*/ 2147483647 w 407"/>
                    <a:gd name="T101" fmla="*/ 2147483647 h 299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407"/>
                    <a:gd name="T154" fmla="*/ 0 h 299"/>
                    <a:gd name="T155" fmla="*/ 407 w 407"/>
                    <a:gd name="T156" fmla="*/ 299 h 299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407" h="299">
                      <a:moveTo>
                        <a:pt x="399" y="89"/>
                      </a:moveTo>
                      <a:cubicBezTo>
                        <a:pt x="395" y="89"/>
                        <a:pt x="391" y="93"/>
                        <a:pt x="391" y="97"/>
                      </a:cubicBezTo>
                      <a:cubicBezTo>
                        <a:pt x="391" y="244"/>
                        <a:pt x="391" y="244"/>
                        <a:pt x="391" y="244"/>
                      </a:cubicBezTo>
                      <a:cubicBezTo>
                        <a:pt x="391" y="251"/>
                        <a:pt x="389" y="257"/>
                        <a:pt x="386" y="263"/>
                      </a:cubicBezTo>
                      <a:cubicBezTo>
                        <a:pt x="257" y="149"/>
                        <a:pt x="257" y="149"/>
                        <a:pt x="257" y="149"/>
                      </a:cubicBezTo>
                      <a:cubicBezTo>
                        <a:pt x="386" y="36"/>
                        <a:pt x="386" y="36"/>
                        <a:pt x="386" y="36"/>
                      </a:cubicBezTo>
                      <a:cubicBezTo>
                        <a:pt x="389" y="41"/>
                        <a:pt x="391" y="48"/>
                        <a:pt x="391" y="55"/>
                      </a:cubicBezTo>
                      <a:cubicBezTo>
                        <a:pt x="391" y="66"/>
                        <a:pt x="391" y="66"/>
                        <a:pt x="391" y="66"/>
                      </a:cubicBezTo>
                      <a:cubicBezTo>
                        <a:pt x="391" y="71"/>
                        <a:pt x="395" y="74"/>
                        <a:pt x="399" y="74"/>
                      </a:cubicBezTo>
                      <a:cubicBezTo>
                        <a:pt x="404" y="74"/>
                        <a:pt x="407" y="71"/>
                        <a:pt x="407" y="66"/>
                      </a:cubicBezTo>
                      <a:cubicBezTo>
                        <a:pt x="407" y="55"/>
                        <a:pt x="407" y="55"/>
                        <a:pt x="407" y="55"/>
                      </a:cubicBezTo>
                      <a:cubicBezTo>
                        <a:pt x="407" y="25"/>
                        <a:pt x="383" y="0"/>
                        <a:pt x="352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25" y="0"/>
                        <a:pt x="0" y="25"/>
                        <a:pt x="0" y="55"/>
                      </a:cubicBezTo>
                      <a:cubicBezTo>
                        <a:pt x="0" y="244"/>
                        <a:pt x="0" y="244"/>
                        <a:pt x="0" y="244"/>
                      </a:cubicBezTo>
                      <a:cubicBezTo>
                        <a:pt x="0" y="258"/>
                        <a:pt x="6" y="271"/>
                        <a:pt x="14" y="280"/>
                      </a:cubicBezTo>
                      <a:cubicBezTo>
                        <a:pt x="14" y="280"/>
                        <a:pt x="14" y="280"/>
                        <a:pt x="14" y="280"/>
                      </a:cubicBezTo>
                      <a:cubicBezTo>
                        <a:pt x="14" y="280"/>
                        <a:pt x="14" y="280"/>
                        <a:pt x="14" y="280"/>
                      </a:cubicBezTo>
                      <a:cubicBezTo>
                        <a:pt x="25" y="292"/>
                        <a:pt x="39" y="299"/>
                        <a:pt x="56" y="299"/>
                      </a:cubicBezTo>
                      <a:cubicBezTo>
                        <a:pt x="352" y="299"/>
                        <a:pt x="352" y="299"/>
                        <a:pt x="352" y="299"/>
                      </a:cubicBezTo>
                      <a:cubicBezTo>
                        <a:pt x="368" y="299"/>
                        <a:pt x="383" y="292"/>
                        <a:pt x="393" y="280"/>
                      </a:cubicBezTo>
                      <a:cubicBezTo>
                        <a:pt x="393" y="280"/>
                        <a:pt x="393" y="280"/>
                        <a:pt x="393" y="280"/>
                      </a:cubicBezTo>
                      <a:cubicBezTo>
                        <a:pt x="393" y="280"/>
                        <a:pt x="393" y="280"/>
                        <a:pt x="393" y="280"/>
                      </a:cubicBezTo>
                      <a:cubicBezTo>
                        <a:pt x="402" y="271"/>
                        <a:pt x="407" y="258"/>
                        <a:pt x="407" y="244"/>
                      </a:cubicBezTo>
                      <a:cubicBezTo>
                        <a:pt x="407" y="97"/>
                        <a:pt x="407" y="97"/>
                        <a:pt x="407" y="97"/>
                      </a:cubicBezTo>
                      <a:cubicBezTo>
                        <a:pt x="407" y="93"/>
                        <a:pt x="404" y="89"/>
                        <a:pt x="399" y="89"/>
                      </a:cubicBezTo>
                      <a:close/>
                      <a:moveTo>
                        <a:pt x="22" y="263"/>
                      </a:moveTo>
                      <a:cubicBezTo>
                        <a:pt x="18" y="257"/>
                        <a:pt x="16" y="251"/>
                        <a:pt x="16" y="244"/>
                      </a:cubicBezTo>
                      <a:cubicBezTo>
                        <a:pt x="16" y="55"/>
                        <a:pt x="16" y="55"/>
                        <a:pt x="16" y="55"/>
                      </a:cubicBezTo>
                      <a:cubicBezTo>
                        <a:pt x="16" y="48"/>
                        <a:pt x="18" y="41"/>
                        <a:pt x="22" y="36"/>
                      </a:cubicBezTo>
                      <a:cubicBezTo>
                        <a:pt x="151" y="149"/>
                        <a:pt x="151" y="149"/>
                        <a:pt x="151" y="149"/>
                      </a:cubicBezTo>
                      <a:lnTo>
                        <a:pt x="22" y="263"/>
                      </a:lnTo>
                      <a:close/>
                      <a:moveTo>
                        <a:pt x="352" y="16"/>
                      </a:moveTo>
                      <a:cubicBezTo>
                        <a:pt x="361" y="16"/>
                        <a:pt x="369" y="19"/>
                        <a:pt x="375" y="24"/>
                      </a:cubicBezTo>
                      <a:cubicBezTo>
                        <a:pt x="204" y="175"/>
                        <a:pt x="204" y="175"/>
                        <a:pt x="204" y="175"/>
                      </a:cubicBezTo>
                      <a:cubicBezTo>
                        <a:pt x="32" y="24"/>
                        <a:pt x="32" y="24"/>
                        <a:pt x="32" y="24"/>
                      </a:cubicBezTo>
                      <a:cubicBezTo>
                        <a:pt x="39" y="19"/>
                        <a:pt x="47" y="16"/>
                        <a:pt x="56" y="16"/>
                      </a:cubicBezTo>
                      <a:lnTo>
                        <a:pt x="352" y="16"/>
                      </a:lnTo>
                      <a:close/>
                      <a:moveTo>
                        <a:pt x="56" y="283"/>
                      </a:moveTo>
                      <a:cubicBezTo>
                        <a:pt x="47" y="283"/>
                        <a:pt x="39" y="280"/>
                        <a:pt x="32" y="275"/>
                      </a:cubicBezTo>
                      <a:cubicBezTo>
                        <a:pt x="163" y="160"/>
                        <a:pt x="163" y="160"/>
                        <a:pt x="163" y="160"/>
                      </a:cubicBezTo>
                      <a:cubicBezTo>
                        <a:pt x="199" y="192"/>
                        <a:pt x="199" y="192"/>
                        <a:pt x="199" y="192"/>
                      </a:cubicBezTo>
                      <a:cubicBezTo>
                        <a:pt x="199" y="192"/>
                        <a:pt x="199" y="192"/>
                        <a:pt x="199" y="192"/>
                      </a:cubicBezTo>
                      <a:cubicBezTo>
                        <a:pt x="199" y="192"/>
                        <a:pt x="200" y="193"/>
                        <a:pt x="200" y="193"/>
                      </a:cubicBezTo>
                      <a:cubicBezTo>
                        <a:pt x="200" y="193"/>
                        <a:pt x="200" y="193"/>
                        <a:pt x="200" y="193"/>
                      </a:cubicBezTo>
                      <a:cubicBezTo>
                        <a:pt x="201" y="193"/>
                        <a:pt x="202" y="194"/>
                        <a:pt x="202" y="194"/>
                      </a:cubicBezTo>
                      <a:cubicBezTo>
                        <a:pt x="205" y="194"/>
                        <a:pt x="207" y="194"/>
                        <a:pt x="209" y="192"/>
                      </a:cubicBezTo>
                      <a:cubicBezTo>
                        <a:pt x="245" y="160"/>
                        <a:pt x="245" y="160"/>
                        <a:pt x="245" y="160"/>
                      </a:cubicBezTo>
                      <a:cubicBezTo>
                        <a:pt x="375" y="275"/>
                        <a:pt x="375" y="275"/>
                        <a:pt x="375" y="275"/>
                      </a:cubicBezTo>
                      <a:cubicBezTo>
                        <a:pt x="369" y="280"/>
                        <a:pt x="361" y="283"/>
                        <a:pt x="352" y="283"/>
                      </a:cubicBezTo>
                      <a:lnTo>
                        <a:pt x="56" y="283"/>
                      </a:lnTo>
                      <a:close/>
                    </a:path>
                  </a:pathLst>
                </a:custGeom>
                <a:solidFill>
                  <a:srgbClr val="58585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22901" name="Freeform 10"/>
                <p:cNvSpPr>
                  <a:spLocks noChangeAspect="1" noEditPoints="1"/>
                </p:cNvSpPr>
                <p:nvPr/>
              </p:nvSpPr>
              <p:spPr bwMode="auto">
                <a:xfrm>
                  <a:off x="4477" y="1748"/>
                  <a:ext cx="452" cy="206"/>
                </a:xfrm>
                <a:custGeom>
                  <a:avLst/>
                  <a:gdLst>
                    <a:gd name="T0" fmla="*/ 2147483647 w 471"/>
                    <a:gd name="T1" fmla="*/ 2147483647 h 293"/>
                    <a:gd name="T2" fmla="*/ 2147483647 w 471"/>
                    <a:gd name="T3" fmla="*/ 2147483647 h 293"/>
                    <a:gd name="T4" fmla="*/ 2147483647 w 471"/>
                    <a:gd name="T5" fmla="*/ 2147483647 h 293"/>
                    <a:gd name="T6" fmla="*/ 2147483647 w 471"/>
                    <a:gd name="T7" fmla="*/ 2147483647 h 293"/>
                    <a:gd name="T8" fmla="*/ 2147483647 w 471"/>
                    <a:gd name="T9" fmla="*/ 2147483647 h 293"/>
                    <a:gd name="T10" fmla="*/ 2147483647 w 471"/>
                    <a:gd name="T11" fmla="*/ 2147483647 h 293"/>
                    <a:gd name="T12" fmla="*/ 2147483647 w 471"/>
                    <a:gd name="T13" fmla="*/ 2147483647 h 293"/>
                    <a:gd name="T14" fmla="*/ 2147483647 w 471"/>
                    <a:gd name="T15" fmla="*/ 2147483647 h 293"/>
                    <a:gd name="T16" fmla="*/ 2147483647 w 471"/>
                    <a:gd name="T17" fmla="*/ 2147483647 h 293"/>
                    <a:gd name="T18" fmla="*/ 2147483647 w 471"/>
                    <a:gd name="T19" fmla="*/ 2147483647 h 293"/>
                    <a:gd name="T20" fmla="*/ 2147483647 w 471"/>
                    <a:gd name="T21" fmla="*/ 2147483647 h 293"/>
                    <a:gd name="T22" fmla="*/ 2147483647 w 471"/>
                    <a:gd name="T23" fmla="*/ 2147483647 h 293"/>
                    <a:gd name="T24" fmla="*/ 2147483647 w 471"/>
                    <a:gd name="T25" fmla="*/ 0 h 293"/>
                    <a:gd name="T26" fmla="*/ 2147483647 w 471"/>
                    <a:gd name="T27" fmla="*/ 2147483647 h 293"/>
                    <a:gd name="T28" fmla="*/ 0 w 471"/>
                    <a:gd name="T29" fmla="*/ 2147483647 h 293"/>
                    <a:gd name="T30" fmla="*/ 2147483647 w 471"/>
                    <a:gd name="T31" fmla="*/ 2147483647 h 293"/>
                    <a:gd name="T32" fmla="*/ 2147483647 w 471"/>
                    <a:gd name="T33" fmla="*/ 2147483647 h 293"/>
                    <a:gd name="T34" fmla="*/ 2147483647 w 471"/>
                    <a:gd name="T35" fmla="*/ 2147483647 h 293"/>
                    <a:gd name="T36" fmla="*/ 2147483647 w 471"/>
                    <a:gd name="T37" fmla="*/ 2147483647 h 293"/>
                    <a:gd name="T38" fmla="*/ 2147483647 w 471"/>
                    <a:gd name="T39" fmla="*/ 2147483647 h 293"/>
                    <a:gd name="T40" fmla="*/ 2147483647 w 471"/>
                    <a:gd name="T41" fmla="*/ 2147483647 h 293"/>
                    <a:gd name="T42" fmla="*/ 2147483647 w 471"/>
                    <a:gd name="T43" fmla="*/ 2147483647 h 293"/>
                    <a:gd name="T44" fmla="*/ 2147483647 w 471"/>
                    <a:gd name="T45" fmla="*/ 2147483647 h 293"/>
                    <a:gd name="T46" fmla="*/ 2147483647 w 471"/>
                    <a:gd name="T47" fmla="*/ 2147483647 h 293"/>
                    <a:gd name="T48" fmla="*/ 2147483647 w 471"/>
                    <a:gd name="T49" fmla="*/ 2147483647 h 293"/>
                    <a:gd name="T50" fmla="*/ 2147483647 w 471"/>
                    <a:gd name="T51" fmla="*/ 2147483647 h 293"/>
                    <a:gd name="T52" fmla="*/ 2147483647 w 471"/>
                    <a:gd name="T53" fmla="*/ 2147483647 h 293"/>
                    <a:gd name="T54" fmla="*/ 2147483647 w 471"/>
                    <a:gd name="T55" fmla="*/ 2147483647 h 293"/>
                    <a:gd name="T56" fmla="*/ 2147483647 w 471"/>
                    <a:gd name="T57" fmla="*/ 2147483647 h 293"/>
                    <a:gd name="T58" fmla="*/ 2147483647 w 471"/>
                    <a:gd name="T59" fmla="*/ 2147483647 h 293"/>
                    <a:gd name="T60" fmla="*/ 2147483647 w 471"/>
                    <a:gd name="T61" fmla="*/ 2147483647 h 293"/>
                    <a:gd name="T62" fmla="*/ 2147483647 w 471"/>
                    <a:gd name="T63" fmla="*/ 2147483647 h 293"/>
                    <a:gd name="T64" fmla="*/ 2147483647 w 471"/>
                    <a:gd name="T65" fmla="*/ 2147483647 h 293"/>
                    <a:gd name="T66" fmla="*/ 2147483647 w 471"/>
                    <a:gd name="T67" fmla="*/ 2147483647 h 293"/>
                    <a:gd name="T68" fmla="*/ 2147483647 w 471"/>
                    <a:gd name="T69" fmla="*/ 2147483647 h 293"/>
                    <a:gd name="T70" fmla="*/ 2147483647 w 471"/>
                    <a:gd name="T71" fmla="*/ 2147483647 h 293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0" t="0" r="r" b="b"/>
                  <a:pathLst>
                    <a:path w="471" h="293">
                      <a:moveTo>
                        <a:pt x="388" y="61"/>
                      </a:moveTo>
                      <a:cubicBezTo>
                        <a:pt x="222" y="61"/>
                        <a:pt x="222" y="61"/>
                        <a:pt x="222" y="61"/>
                      </a:cubicBezTo>
                      <a:cubicBezTo>
                        <a:pt x="218" y="61"/>
                        <a:pt x="214" y="65"/>
                        <a:pt x="214" y="69"/>
                      </a:cubicBezTo>
                      <a:cubicBezTo>
                        <a:pt x="214" y="74"/>
                        <a:pt x="218" y="77"/>
                        <a:pt x="222" y="77"/>
                      </a:cubicBezTo>
                      <a:cubicBezTo>
                        <a:pt x="388" y="77"/>
                        <a:pt x="388" y="77"/>
                        <a:pt x="388" y="77"/>
                      </a:cubicBezTo>
                      <a:cubicBezTo>
                        <a:pt x="392" y="77"/>
                        <a:pt x="396" y="74"/>
                        <a:pt x="396" y="69"/>
                      </a:cubicBezTo>
                      <a:cubicBezTo>
                        <a:pt x="396" y="65"/>
                        <a:pt x="392" y="61"/>
                        <a:pt x="388" y="61"/>
                      </a:cubicBezTo>
                      <a:close/>
                      <a:moveTo>
                        <a:pt x="471" y="115"/>
                      </a:moveTo>
                      <a:cubicBezTo>
                        <a:pt x="471" y="97"/>
                        <a:pt x="467" y="80"/>
                        <a:pt x="460" y="64"/>
                      </a:cubicBezTo>
                      <a:cubicBezTo>
                        <a:pt x="458" y="60"/>
                        <a:pt x="453" y="59"/>
                        <a:pt x="449" y="60"/>
                      </a:cubicBezTo>
                      <a:cubicBezTo>
                        <a:pt x="445" y="62"/>
                        <a:pt x="444" y="67"/>
                        <a:pt x="445" y="71"/>
                      </a:cubicBezTo>
                      <a:cubicBezTo>
                        <a:pt x="452" y="85"/>
                        <a:pt x="455" y="100"/>
                        <a:pt x="455" y="115"/>
                      </a:cubicBezTo>
                      <a:cubicBezTo>
                        <a:pt x="455" y="160"/>
                        <a:pt x="429" y="198"/>
                        <a:pt x="389" y="210"/>
                      </a:cubicBezTo>
                      <a:cubicBezTo>
                        <a:pt x="387" y="211"/>
                        <a:pt x="385" y="212"/>
                        <a:pt x="384" y="214"/>
                      </a:cubicBezTo>
                      <a:cubicBezTo>
                        <a:pt x="383" y="216"/>
                        <a:pt x="383" y="219"/>
                        <a:pt x="384" y="221"/>
                      </a:cubicBezTo>
                      <a:cubicBezTo>
                        <a:pt x="396" y="249"/>
                        <a:pt x="396" y="249"/>
                        <a:pt x="396" y="249"/>
                      </a:cubicBezTo>
                      <a:cubicBezTo>
                        <a:pt x="342" y="216"/>
                        <a:pt x="342" y="216"/>
                        <a:pt x="342" y="216"/>
                      </a:cubicBezTo>
                      <a:cubicBezTo>
                        <a:pt x="340" y="215"/>
                        <a:pt x="339" y="215"/>
                        <a:pt x="337" y="215"/>
                      </a:cubicBezTo>
                      <a:cubicBezTo>
                        <a:pt x="252" y="215"/>
                        <a:pt x="252" y="215"/>
                        <a:pt x="252" y="215"/>
                      </a:cubicBezTo>
                      <a:cubicBezTo>
                        <a:pt x="198" y="215"/>
                        <a:pt x="153" y="170"/>
                        <a:pt x="153" y="115"/>
                      </a:cubicBezTo>
                      <a:cubicBezTo>
                        <a:pt x="153" y="61"/>
                        <a:pt x="198" y="16"/>
                        <a:pt x="252" y="16"/>
                      </a:cubicBezTo>
                      <a:cubicBezTo>
                        <a:pt x="360" y="16"/>
                        <a:pt x="360" y="16"/>
                        <a:pt x="360" y="16"/>
                      </a:cubicBezTo>
                      <a:cubicBezTo>
                        <a:pt x="387" y="16"/>
                        <a:pt x="411" y="27"/>
                        <a:pt x="429" y="47"/>
                      </a:cubicBezTo>
                      <a:cubicBezTo>
                        <a:pt x="432" y="50"/>
                        <a:pt x="437" y="50"/>
                        <a:pt x="441" y="47"/>
                      </a:cubicBezTo>
                      <a:cubicBezTo>
                        <a:pt x="444" y="44"/>
                        <a:pt x="444" y="39"/>
                        <a:pt x="441" y="36"/>
                      </a:cubicBezTo>
                      <a:cubicBezTo>
                        <a:pt x="420" y="13"/>
                        <a:pt x="391" y="0"/>
                        <a:pt x="360" y="0"/>
                      </a:cubicBezTo>
                      <a:cubicBezTo>
                        <a:pt x="252" y="0"/>
                        <a:pt x="252" y="0"/>
                        <a:pt x="252" y="0"/>
                      </a:cubicBezTo>
                      <a:cubicBezTo>
                        <a:pt x="208" y="0"/>
                        <a:pt x="170" y="25"/>
                        <a:pt x="151" y="61"/>
                      </a:cubicBezTo>
                      <a:cubicBezTo>
                        <a:pt x="93" y="61"/>
                        <a:pt x="93" y="61"/>
                        <a:pt x="93" y="61"/>
                      </a:cubicBezTo>
                      <a:cubicBezTo>
                        <a:pt x="36" y="61"/>
                        <a:pt x="0" y="98"/>
                        <a:pt x="0" y="158"/>
                      </a:cubicBezTo>
                      <a:cubicBezTo>
                        <a:pt x="0" y="198"/>
                        <a:pt x="23" y="232"/>
                        <a:pt x="57" y="247"/>
                      </a:cubicBezTo>
                      <a:cubicBezTo>
                        <a:pt x="42" y="281"/>
                        <a:pt x="42" y="281"/>
                        <a:pt x="42" y="281"/>
                      </a:cubicBezTo>
                      <a:cubicBezTo>
                        <a:pt x="41" y="285"/>
                        <a:pt x="42" y="288"/>
                        <a:pt x="45" y="291"/>
                      </a:cubicBezTo>
                      <a:cubicBezTo>
                        <a:pt x="46" y="292"/>
                        <a:pt x="48" y="293"/>
                        <a:pt x="50" y="293"/>
                      </a:cubicBezTo>
                      <a:cubicBezTo>
                        <a:pt x="51" y="293"/>
                        <a:pt x="53" y="292"/>
                        <a:pt x="54" y="291"/>
                      </a:cubicBezTo>
                      <a:cubicBezTo>
                        <a:pt x="114" y="254"/>
                        <a:pt x="114" y="254"/>
                        <a:pt x="114" y="254"/>
                      </a:cubicBezTo>
                      <a:cubicBezTo>
                        <a:pt x="183" y="254"/>
                        <a:pt x="183" y="254"/>
                        <a:pt x="183" y="254"/>
                      </a:cubicBezTo>
                      <a:cubicBezTo>
                        <a:pt x="207" y="254"/>
                        <a:pt x="229" y="245"/>
                        <a:pt x="246" y="230"/>
                      </a:cubicBezTo>
                      <a:cubicBezTo>
                        <a:pt x="248" y="231"/>
                        <a:pt x="250" y="231"/>
                        <a:pt x="252" y="231"/>
                      </a:cubicBezTo>
                      <a:cubicBezTo>
                        <a:pt x="335" y="231"/>
                        <a:pt x="335" y="231"/>
                        <a:pt x="335" y="231"/>
                      </a:cubicBezTo>
                      <a:cubicBezTo>
                        <a:pt x="408" y="275"/>
                        <a:pt x="408" y="275"/>
                        <a:pt x="408" y="275"/>
                      </a:cubicBezTo>
                      <a:cubicBezTo>
                        <a:pt x="410" y="276"/>
                        <a:pt x="411" y="277"/>
                        <a:pt x="413" y="277"/>
                      </a:cubicBezTo>
                      <a:cubicBezTo>
                        <a:pt x="414" y="277"/>
                        <a:pt x="416" y="276"/>
                        <a:pt x="418" y="275"/>
                      </a:cubicBezTo>
                      <a:cubicBezTo>
                        <a:pt x="420" y="272"/>
                        <a:pt x="421" y="269"/>
                        <a:pt x="420" y="266"/>
                      </a:cubicBezTo>
                      <a:cubicBezTo>
                        <a:pt x="402" y="222"/>
                        <a:pt x="402" y="222"/>
                        <a:pt x="402" y="222"/>
                      </a:cubicBezTo>
                      <a:cubicBezTo>
                        <a:pt x="444" y="205"/>
                        <a:pt x="471" y="163"/>
                        <a:pt x="471" y="115"/>
                      </a:cubicBezTo>
                      <a:close/>
                      <a:moveTo>
                        <a:pt x="183" y="238"/>
                      </a:moveTo>
                      <a:cubicBezTo>
                        <a:pt x="112" y="238"/>
                        <a:pt x="112" y="238"/>
                        <a:pt x="112" y="238"/>
                      </a:cubicBezTo>
                      <a:cubicBezTo>
                        <a:pt x="111" y="238"/>
                        <a:pt x="109" y="239"/>
                        <a:pt x="108" y="240"/>
                      </a:cubicBezTo>
                      <a:cubicBezTo>
                        <a:pt x="67" y="265"/>
                        <a:pt x="67" y="265"/>
                        <a:pt x="67" y="265"/>
                      </a:cubicBezTo>
                      <a:cubicBezTo>
                        <a:pt x="75" y="246"/>
                        <a:pt x="75" y="246"/>
                        <a:pt x="75" y="246"/>
                      </a:cubicBezTo>
                      <a:cubicBezTo>
                        <a:pt x="76" y="244"/>
                        <a:pt x="76" y="241"/>
                        <a:pt x="75" y="239"/>
                      </a:cubicBezTo>
                      <a:cubicBezTo>
                        <a:pt x="74" y="237"/>
                        <a:pt x="72" y="236"/>
                        <a:pt x="70" y="235"/>
                      </a:cubicBezTo>
                      <a:cubicBezTo>
                        <a:pt x="38" y="225"/>
                        <a:pt x="16" y="194"/>
                        <a:pt x="16" y="158"/>
                      </a:cubicBezTo>
                      <a:cubicBezTo>
                        <a:pt x="16" y="107"/>
                        <a:pt x="45" y="77"/>
                        <a:pt x="93" y="77"/>
                      </a:cubicBezTo>
                      <a:cubicBezTo>
                        <a:pt x="144" y="77"/>
                        <a:pt x="144" y="77"/>
                        <a:pt x="144" y="77"/>
                      </a:cubicBezTo>
                      <a:cubicBezTo>
                        <a:pt x="139" y="89"/>
                        <a:pt x="137" y="102"/>
                        <a:pt x="137" y="115"/>
                      </a:cubicBezTo>
                      <a:cubicBezTo>
                        <a:pt x="137" y="169"/>
                        <a:pt x="174" y="214"/>
                        <a:pt x="224" y="227"/>
                      </a:cubicBezTo>
                      <a:cubicBezTo>
                        <a:pt x="212" y="234"/>
                        <a:pt x="198" y="238"/>
                        <a:pt x="183" y="238"/>
                      </a:cubicBezTo>
                      <a:close/>
                      <a:moveTo>
                        <a:pt x="388" y="146"/>
                      </a:moveTo>
                      <a:cubicBezTo>
                        <a:pt x="222" y="146"/>
                        <a:pt x="222" y="146"/>
                        <a:pt x="222" y="146"/>
                      </a:cubicBezTo>
                      <a:cubicBezTo>
                        <a:pt x="218" y="146"/>
                        <a:pt x="214" y="150"/>
                        <a:pt x="214" y="154"/>
                      </a:cubicBezTo>
                      <a:cubicBezTo>
                        <a:pt x="214" y="159"/>
                        <a:pt x="218" y="162"/>
                        <a:pt x="222" y="162"/>
                      </a:cubicBezTo>
                      <a:cubicBezTo>
                        <a:pt x="388" y="162"/>
                        <a:pt x="388" y="162"/>
                        <a:pt x="388" y="162"/>
                      </a:cubicBezTo>
                      <a:cubicBezTo>
                        <a:pt x="392" y="162"/>
                        <a:pt x="396" y="159"/>
                        <a:pt x="396" y="154"/>
                      </a:cubicBezTo>
                      <a:cubicBezTo>
                        <a:pt x="396" y="150"/>
                        <a:pt x="392" y="146"/>
                        <a:pt x="388" y="146"/>
                      </a:cubicBezTo>
                      <a:close/>
                      <a:moveTo>
                        <a:pt x="388" y="104"/>
                      </a:moveTo>
                      <a:cubicBezTo>
                        <a:pt x="222" y="104"/>
                        <a:pt x="222" y="104"/>
                        <a:pt x="222" y="104"/>
                      </a:cubicBezTo>
                      <a:cubicBezTo>
                        <a:pt x="218" y="104"/>
                        <a:pt x="214" y="107"/>
                        <a:pt x="214" y="112"/>
                      </a:cubicBezTo>
                      <a:cubicBezTo>
                        <a:pt x="214" y="116"/>
                        <a:pt x="218" y="120"/>
                        <a:pt x="222" y="120"/>
                      </a:cubicBezTo>
                      <a:cubicBezTo>
                        <a:pt x="388" y="120"/>
                        <a:pt x="388" y="120"/>
                        <a:pt x="388" y="120"/>
                      </a:cubicBezTo>
                      <a:cubicBezTo>
                        <a:pt x="392" y="120"/>
                        <a:pt x="396" y="116"/>
                        <a:pt x="396" y="112"/>
                      </a:cubicBezTo>
                      <a:cubicBezTo>
                        <a:pt x="396" y="107"/>
                        <a:pt x="392" y="104"/>
                        <a:pt x="388" y="104"/>
                      </a:cubicBezTo>
                      <a:close/>
                    </a:path>
                  </a:pathLst>
                </a:custGeom>
                <a:solidFill>
                  <a:srgbClr val="58585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22902" name="Freeform 3"/>
                <p:cNvSpPr>
                  <a:spLocks noEditPoints="1"/>
                </p:cNvSpPr>
                <p:nvPr/>
              </p:nvSpPr>
              <p:spPr bwMode="auto">
                <a:xfrm>
                  <a:off x="4969" y="1427"/>
                  <a:ext cx="382" cy="213"/>
                </a:xfrm>
                <a:custGeom>
                  <a:avLst/>
                  <a:gdLst>
                    <a:gd name="T0" fmla="*/ 2147483647 w 467"/>
                    <a:gd name="T1" fmla="*/ 2147483647 h 344"/>
                    <a:gd name="T2" fmla="*/ 2147483647 w 467"/>
                    <a:gd name="T3" fmla="*/ 2147483647 h 344"/>
                    <a:gd name="T4" fmla="*/ 2147483647 w 467"/>
                    <a:gd name="T5" fmla="*/ 2147483647 h 344"/>
                    <a:gd name="T6" fmla="*/ 2147483647 w 467"/>
                    <a:gd name="T7" fmla="*/ 2147483647 h 344"/>
                    <a:gd name="T8" fmla="*/ 2147483647 w 467"/>
                    <a:gd name="T9" fmla="*/ 2147483647 h 344"/>
                    <a:gd name="T10" fmla="*/ 2147483647 w 467"/>
                    <a:gd name="T11" fmla="*/ 2147483647 h 344"/>
                    <a:gd name="T12" fmla="*/ 2147483647 w 467"/>
                    <a:gd name="T13" fmla="*/ 2147483647 h 344"/>
                    <a:gd name="T14" fmla="*/ 2147483647 w 467"/>
                    <a:gd name="T15" fmla="*/ 2147483647 h 344"/>
                    <a:gd name="T16" fmla="*/ 2147483647 w 467"/>
                    <a:gd name="T17" fmla="*/ 0 h 344"/>
                    <a:gd name="T18" fmla="*/ 2147483647 w 467"/>
                    <a:gd name="T19" fmla="*/ 2147483647 h 344"/>
                    <a:gd name="T20" fmla="*/ 2147483647 w 467"/>
                    <a:gd name="T21" fmla="*/ 2147483647 h 344"/>
                    <a:gd name="T22" fmla="*/ 2147483647 w 467"/>
                    <a:gd name="T23" fmla="*/ 2147483647 h 344"/>
                    <a:gd name="T24" fmla="*/ 0 w 467"/>
                    <a:gd name="T25" fmla="*/ 2147483647 h 344"/>
                    <a:gd name="T26" fmla="*/ 2147483647 w 467"/>
                    <a:gd name="T27" fmla="*/ 2147483647 h 344"/>
                    <a:gd name="T28" fmla="*/ 2147483647 w 467"/>
                    <a:gd name="T29" fmla="*/ 2147483647 h 344"/>
                    <a:gd name="T30" fmla="*/ 2147483647 w 467"/>
                    <a:gd name="T31" fmla="*/ 2147483647 h 344"/>
                    <a:gd name="T32" fmla="*/ 2147483647 w 467"/>
                    <a:gd name="T33" fmla="*/ 2147483647 h 344"/>
                    <a:gd name="T34" fmla="*/ 2147483647 w 467"/>
                    <a:gd name="T35" fmla="*/ 2147483647 h 344"/>
                    <a:gd name="T36" fmla="*/ 2147483647 w 467"/>
                    <a:gd name="T37" fmla="*/ 2147483647 h 344"/>
                    <a:gd name="T38" fmla="*/ 2147483647 w 467"/>
                    <a:gd name="T39" fmla="*/ 2147483647 h 344"/>
                    <a:gd name="T40" fmla="*/ 2147483647 w 467"/>
                    <a:gd name="T41" fmla="*/ 2147483647 h 344"/>
                    <a:gd name="T42" fmla="*/ 2147483647 w 467"/>
                    <a:gd name="T43" fmla="*/ 2147483647 h 344"/>
                    <a:gd name="T44" fmla="*/ 2147483647 w 467"/>
                    <a:gd name="T45" fmla="*/ 2147483647 h 344"/>
                    <a:gd name="T46" fmla="*/ 2147483647 w 467"/>
                    <a:gd name="T47" fmla="*/ 2147483647 h 344"/>
                    <a:gd name="T48" fmla="*/ 2147483647 w 467"/>
                    <a:gd name="T49" fmla="*/ 2147483647 h 344"/>
                    <a:gd name="T50" fmla="*/ 2147483647 w 467"/>
                    <a:gd name="T51" fmla="*/ 2147483647 h 344"/>
                    <a:gd name="T52" fmla="*/ 2147483647 w 467"/>
                    <a:gd name="T53" fmla="*/ 2147483647 h 344"/>
                    <a:gd name="T54" fmla="*/ 2147483647 w 467"/>
                    <a:gd name="T55" fmla="*/ 2147483647 h 344"/>
                    <a:gd name="T56" fmla="*/ 2147483647 w 467"/>
                    <a:gd name="T57" fmla="*/ 2147483647 h 344"/>
                    <a:gd name="T58" fmla="*/ 2147483647 w 467"/>
                    <a:gd name="T59" fmla="*/ 2147483647 h 344"/>
                    <a:gd name="T60" fmla="*/ 2147483647 w 467"/>
                    <a:gd name="T61" fmla="*/ 2147483647 h 344"/>
                    <a:gd name="T62" fmla="*/ 2147483647 w 467"/>
                    <a:gd name="T63" fmla="*/ 2147483647 h 344"/>
                    <a:gd name="T64" fmla="*/ 2147483647 w 467"/>
                    <a:gd name="T65" fmla="*/ 2147483647 h 344"/>
                    <a:gd name="T66" fmla="*/ 2147483647 w 467"/>
                    <a:gd name="T67" fmla="*/ 2147483647 h 344"/>
                    <a:gd name="T68" fmla="*/ 2147483647 w 467"/>
                    <a:gd name="T69" fmla="*/ 2147483647 h 344"/>
                    <a:gd name="T70" fmla="*/ 2147483647 w 467"/>
                    <a:gd name="T71" fmla="*/ 2147483647 h 344"/>
                    <a:gd name="T72" fmla="*/ 2147483647 w 467"/>
                    <a:gd name="T73" fmla="*/ 2147483647 h 344"/>
                    <a:gd name="T74" fmla="*/ 2147483647 w 467"/>
                    <a:gd name="T75" fmla="*/ 2147483647 h 344"/>
                    <a:gd name="T76" fmla="*/ 2147483647 w 467"/>
                    <a:gd name="T77" fmla="*/ 2147483647 h 344"/>
                    <a:gd name="T78" fmla="*/ 2147483647 w 467"/>
                    <a:gd name="T79" fmla="*/ 2147483647 h 344"/>
                    <a:gd name="T80" fmla="*/ 2147483647 w 467"/>
                    <a:gd name="T81" fmla="*/ 2147483647 h 344"/>
                    <a:gd name="T82" fmla="*/ 2147483647 w 467"/>
                    <a:gd name="T83" fmla="*/ 2147483647 h 344"/>
                    <a:gd name="T84" fmla="*/ 2147483647 w 467"/>
                    <a:gd name="T85" fmla="*/ 2147483647 h 344"/>
                    <a:gd name="T86" fmla="*/ 2147483647 w 467"/>
                    <a:gd name="T87" fmla="*/ 2147483647 h 344"/>
                    <a:gd name="T88" fmla="*/ 2147483647 w 467"/>
                    <a:gd name="T89" fmla="*/ 2147483647 h 344"/>
                    <a:gd name="T90" fmla="*/ 2147483647 w 467"/>
                    <a:gd name="T91" fmla="*/ 2147483647 h 344"/>
                    <a:gd name="T92" fmla="*/ 2147483647 w 467"/>
                    <a:gd name="T93" fmla="*/ 2147483647 h 344"/>
                    <a:gd name="T94" fmla="*/ 2147483647 w 467"/>
                    <a:gd name="T95" fmla="*/ 2147483647 h 344"/>
                    <a:gd name="T96" fmla="*/ 2147483647 w 467"/>
                    <a:gd name="T97" fmla="*/ 2147483647 h 344"/>
                    <a:gd name="T98" fmla="*/ 2147483647 w 467"/>
                    <a:gd name="T99" fmla="*/ 2147483647 h 344"/>
                    <a:gd name="T100" fmla="*/ 2147483647 w 467"/>
                    <a:gd name="T101" fmla="*/ 2147483647 h 344"/>
                    <a:gd name="T102" fmla="*/ 2147483647 w 467"/>
                    <a:gd name="T103" fmla="*/ 2147483647 h 344"/>
                    <a:gd name="T104" fmla="*/ 2147483647 w 467"/>
                    <a:gd name="T105" fmla="*/ 2147483647 h 344"/>
                    <a:gd name="T106" fmla="*/ 2147483647 w 467"/>
                    <a:gd name="T107" fmla="*/ 2147483647 h 344"/>
                    <a:gd name="T108" fmla="*/ 2147483647 w 467"/>
                    <a:gd name="T109" fmla="*/ 2147483647 h 344"/>
                    <a:gd name="T110" fmla="*/ 2147483647 w 467"/>
                    <a:gd name="T111" fmla="*/ 2147483647 h 344"/>
                    <a:gd name="T112" fmla="*/ 2147483647 w 467"/>
                    <a:gd name="T113" fmla="*/ 2147483647 h 344"/>
                    <a:gd name="T114" fmla="*/ 2147483647 w 467"/>
                    <a:gd name="T115" fmla="*/ 2147483647 h 344"/>
                    <a:gd name="T116" fmla="*/ 2147483647 w 467"/>
                    <a:gd name="T117" fmla="*/ 2147483647 h 344"/>
                    <a:gd name="T118" fmla="*/ 2147483647 w 467"/>
                    <a:gd name="T119" fmla="*/ 2147483647 h 344"/>
                    <a:gd name="T120" fmla="*/ 2147483647 w 467"/>
                    <a:gd name="T121" fmla="*/ 2147483647 h 344"/>
                    <a:gd name="T122" fmla="*/ 2147483647 w 467"/>
                    <a:gd name="T123" fmla="*/ 2147483647 h 344"/>
                    <a:gd name="T124" fmla="*/ 2147483647 w 467"/>
                    <a:gd name="T125" fmla="*/ 2147483647 h 344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467"/>
                    <a:gd name="T190" fmla="*/ 0 h 344"/>
                    <a:gd name="T191" fmla="*/ 467 w 467"/>
                    <a:gd name="T192" fmla="*/ 344 h 344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467" h="344">
                      <a:moveTo>
                        <a:pt x="86" y="172"/>
                      </a:moveTo>
                      <a:cubicBezTo>
                        <a:pt x="86" y="167"/>
                        <a:pt x="80" y="162"/>
                        <a:pt x="72" y="162"/>
                      </a:cubicBezTo>
                      <a:cubicBezTo>
                        <a:pt x="64" y="162"/>
                        <a:pt x="58" y="167"/>
                        <a:pt x="58" y="172"/>
                      </a:cubicBezTo>
                      <a:cubicBezTo>
                        <a:pt x="58" y="178"/>
                        <a:pt x="64" y="182"/>
                        <a:pt x="72" y="182"/>
                      </a:cubicBezTo>
                      <a:cubicBezTo>
                        <a:pt x="80" y="182"/>
                        <a:pt x="86" y="178"/>
                        <a:pt x="86" y="172"/>
                      </a:cubicBezTo>
                      <a:close/>
                      <a:moveTo>
                        <a:pt x="136" y="200"/>
                      </a:moveTo>
                      <a:cubicBezTo>
                        <a:pt x="128" y="200"/>
                        <a:pt x="122" y="205"/>
                        <a:pt x="122" y="210"/>
                      </a:cubicBezTo>
                      <a:cubicBezTo>
                        <a:pt x="122" y="216"/>
                        <a:pt x="128" y="220"/>
                        <a:pt x="136" y="220"/>
                      </a:cubicBezTo>
                      <a:cubicBezTo>
                        <a:pt x="144" y="220"/>
                        <a:pt x="150" y="216"/>
                        <a:pt x="150" y="210"/>
                      </a:cubicBezTo>
                      <a:cubicBezTo>
                        <a:pt x="150" y="205"/>
                        <a:pt x="144" y="200"/>
                        <a:pt x="136" y="200"/>
                      </a:cubicBezTo>
                      <a:close/>
                      <a:moveTo>
                        <a:pt x="98" y="187"/>
                      </a:moveTo>
                      <a:cubicBezTo>
                        <a:pt x="90" y="187"/>
                        <a:pt x="84" y="191"/>
                        <a:pt x="84" y="197"/>
                      </a:cubicBezTo>
                      <a:cubicBezTo>
                        <a:pt x="84" y="202"/>
                        <a:pt x="90" y="207"/>
                        <a:pt x="98" y="207"/>
                      </a:cubicBezTo>
                      <a:cubicBezTo>
                        <a:pt x="106" y="207"/>
                        <a:pt x="112" y="202"/>
                        <a:pt x="112" y="197"/>
                      </a:cubicBezTo>
                      <a:cubicBezTo>
                        <a:pt x="112" y="191"/>
                        <a:pt x="106" y="187"/>
                        <a:pt x="98" y="187"/>
                      </a:cubicBezTo>
                      <a:close/>
                      <a:moveTo>
                        <a:pt x="220" y="187"/>
                      </a:moveTo>
                      <a:cubicBezTo>
                        <a:pt x="212" y="187"/>
                        <a:pt x="206" y="191"/>
                        <a:pt x="206" y="197"/>
                      </a:cubicBezTo>
                      <a:cubicBezTo>
                        <a:pt x="206" y="202"/>
                        <a:pt x="212" y="207"/>
                        <a:pt x="220" y="207"/>
                      </a:cubicBezTo>
                      <a:cubicBezTo>
                        <a:pt x="228" y="207"/>
                        <a:pt x="234" y="202"/>
                        <a:pt x="234" y="197"/>
                      </a:cubicBezTo>
                      <a:cubicBezTo>
                        <a:pt x="234" y="191"/>
                        <a:pt x="228" y="187"/>
                        <a:pt x="220" y="187"/>
                      </a:cubicBezTo>
                      <a:close/>
                      <a:moveTo>
                        <a:pt x="465" y="242"/>
                      </a:moveTo>
                      <a:cubicBezTo>
                        <a:pt x="462" y="231"/>
                        <a:pt x="456" y="222"/>
                        <a:pt x="448" y="216"/>
                      </a:cubicBezTo>
                      <a:cubicBezTo>
                        <a:pt x="452" y="207"/>
                        <a:pt x="454" y="197"/>
                        <a:pt x="454" y="186"/>
                      </a:cubicBezTo>
                      <a:cubicBezTo>
                        <a:pt x="454" y="181"/>
                        <a:pt x="454" y="175"/>
                        <a:pt x="452" y="169"/>
                      </a:cubicBezTo>
                      <a:cubicBezTo>
                        <a:pt x="448" y="156"/>
                        <a:pt x="439" y="146"/>
                        <a:pt x="428" y="141"/>
                      </a:cubicBezTo>
                      <a:cubicBezTo>
                        <a:pt x="427" y="140"/>
                        <a:pt x="425" y="139"/>
                        <a:pt x="423" y="139"/>
                      </a:cubicBezTo>
                      <a:cubicBezTo>
                        <a:pt x="423" y="138"/>
                        <a:pt x="423" y="138"/>
                        <a:pt x="423" y="138"/>
                      </a:cubicBezTo>
                      <a:cubicBezTo>
                        <a:pt x="423" y="136"/>
                        <a:pt x="423" y="135"/>
                        <a:pt x="423" y="133"/>
                      </a:cubicBezTo>
                      <a:cubicBezTo>
                        <a:pt x="421" y="121"/>
                        <a:pt x="418" y="107"/>
                        <a:pt x="409" y="95"/>
                      </a:cubicBezTo>
                      <a:cubicBezTo>
                        <a:pt x="405" y="89"/>
                        <a:pt x="398" y="83"/>
                        <a:pt x="389" y="80"/>
                      </a:cubicBezTo>
                      <a:cubicBezTo>
                        <a:pt x="388" y="72"/>
                        <a:pt x="384" y="64"/>
                        <a:pt x="378" y="57"/>
                      </a:cubicBezTo>
                      <a:cubicBezTo>
                        <a:pt x="369" y="48"/>
                        <a:pt x="355" y="41"/>
                        <a:pt x="338" y="41"/>
                      </a:cubicBezTo>
                      <a:cubicBezTo>
                        <a:pt x="327" y="41"/>
                        <a:pt x="314" y="44"/>
                        <a:pt x="300" y="49"/>
                      </a:cubicBezTo>
                      <a:cubicBezTo>
                        <a:pt x="297" y="43"/>
                        <a:pt x="293" y="36"/>
                        <a:pt x="287" y="29"/>
                      </a:cubicBezTo>
                      <a:cubicBezTo>
                        <a:pt x="274" y="14"/>
                        <a:pt x="254" y="0"/>
                        <a:pt x="223" y="0"/>
                      </a:cubicBezTo>
                      <a:cubicBezTo>
                        <a:pt x="94" y="0"/>
                        <a:pt x="94" y="0"/>
                        <a:pt x="94" y="0"/>
                      </a:cubicBezTo>
                      <a:cubicBezTo>
                        <a:pt x="72" y="0"/>
                        <a:pt x="54" y="9"/>
                        <a:pt x="40" y="21"/>
                      </a:cubicBezTo>
                      <a:cubicBezTo>
                        <a:pt x="27" y="33"/>
                        <a:pt x="18" y="48"/>
                        <a:pt x="13" y="61"/>
                      </a:cubicBezTo>
                      <a:cubicBezTo>
                        <a:pt x="11" y="66"/>
                        <a:pt x="10" y="70"/>
                        <a:pt x="10" y="74"/>
                      </a:cubicBezTo>
                      <a:cubicBezTo>
                        <a:pt x="10" y="80"/>
                        <a:pt x="12" y="86"/>
                        <a:pt x="15" y="90"/>
                      </a:cubicBezTo>
                      <a:cubicBezTo>
                        <a:pt x="17" y="94"/>
                        <a:pt x="22" y="98"/>
                        <a:pt x="28" y="98"/>
                      </a:cubicBezTo>
                      <a:cubicBezTo>
                        <a:pt x="80" y="98"/>
                        <a:pt x="80" y="98"/>
                        <a:pt x="80" y="98"/>
                      </a:cubicBezTo>
                      <a:cubicBezTo>
                        <a:pt x="81" y="102"/>
                        <a:pt x="83" y="107"/>
                        <a:pt x="88" y="113"/>
                      </a:cubicBezTo>
                      <a:cubicBezTo>
                        <a:pt x="81" y="115"/>
                        <a:pt x="74" y="118"/>
                        <a:pt x="68" y="121"/>
                      </a:cubicBezTo>
                      <a:cubicBezTo>
                        <a:pt x="44" y="134"/>
                        <a:pt x="28" y="152"/>
                        <a:pt x="28" y="175"/>
                      </a:cubicBezTo>
                      <a:cubicBezTo>
                        <a:pt x="28" y="197"/>
                        <a:pt x="44" y="215"/>
                        <a:pt x="68" y="228"/>
                      </a:cubicBezTo>
                      <a:cubicBezTo>
                        <a:pt x="67" y="228"/>
                        <a:pt x="67" y="227"/>
                        <a:pt x="66" y="227"/>
                      </a:cubicBezTo>
                      <a:cubicBezTo>
                        <a:pt x="55" y="243"/>
                        <a:pt x="41" y="255"/>
                        <a:pt x="21" y="255"/>
                      </a:cubicBezTo>
                      <a:cubicBezTo>
                        <a:pt x="21" y="255"/>
                        <a:pt x="21" y="255"/>
                        <a:pt x="21" y="255"/>
                      </a:cubicBezTo>
                      <a:cubicBezTo>
                        <a:pt x="20" y="255"/>
                        <a:pt x="19" y="256"/>
                        <a:pt x="17" y="256"/>
                      </a:cubicBezTo>
                      <a:cubicBezTo>
                        <a:pt x="7" y="259"/>
                        <a:pt x="0" y="269"/>
                        <a:pt x="0" y="279"/>
                      </a:cubicBezTo>
                      <a:cubicBezTo>
                        <a:pt x="0" y="320"/>
                        <a:pt x="0" y="320"/>
                        <a:pt x="0" y="320"/>
                      </a:cubicBezTo>
                      <a:cubicBezTo>
                        <a:pt x="0" y="333"/>
                        <a:pt x="11" y="344"/>
                        <a:pt x="24" y="344"/>
                      </a:cubicBezTo>
                      <a:cubicBezTo>
                        <a:pt x="34" y="344"/>
                        <a:pt x="34" y="344"/>
                        <a:pt x="34" y="344"/>
                      </a:cubicBezTo>
                      <a:cubicBezTo>
                        <a:pt x="39" y="344"/>
                        <a:pt x="42" y="340"/>
                        <a:pt x="42" y="336"/>
                      </a:cubicBezTo>
                      <a:cubicBezTo>
                        <a:pt x="42" y="331"/>
                        <a:pt x="39" y="328"/>
                        <a:pt x="34" y="328"/>
                      </a:cubicBezTo>
                      <a:cubicBezTo>
                        <a:pt x="24" y="328"/>
                        <a:pt x="24" y="328"/>
                        <a:pt x="24" y="328"/>
                      </a:cubicBezTo>
                      <a:cubicBezTo>
                        <a:pt x="20" y="328"/>
                        <a:pt x="16" y="324"/>
                        <a:pt x="16" y="320"/>
                      </a:cubicBezTo>
                      <a:cubicBezTo>
                        <a:pt x="16" y="279"/>
                        <a:pt x="16" y="279"/>
                        <a:pt x="16" y="279"/>
                      </a:cubicBezTo>
                      <a:cubicBezTo>
                        <a:pt x="16" y="275"/>
                        <a:pt x="20" y="271"/>
                        <a:pt x="24" y="271"/>
                      </a:cubicBezTo>
                      <a:cubicBezTo>
                        <a:pt x="39" y="271"/>
                        <a:pt x="65" y="271"/>
                        <a:pt x="91" y="271"/>
                      </a:cubicBezTo>
                      <a:cubicBezTo>
                        <a:pt x="141" y="271"/>
                        <a:pt x="141" y="271"/>
                        <a:pt x="141" y="271"/>
                      </a:cubicBezTo>
                      <a:cubicBezTo>
                        <a:pt x="152" y="271"/>
                        <a:pt x="159" y="271"/>
                        <a:pt x="159" y="271"/>
                      </a:cubicBezTo>
                      <a:cubicBezTo>
                        <a:pt x="159" y="271"/>
                        <a:pt x="162" y="271"/>
                        <a:pt x="169" y="271"/>
                      </a:cubicBezTo>
                      <a:cubicBezTo>
                        <a:pt x="293" y="271"/>
                        <a:pt x="293" y="271"/>
                        <a:pt x="293" y="271"/>
                      </a:cubicBezTo>
                      <a:cubicBezTo>
                        <a:pt x="297" y="271"/>
                        <a:pt x="301" y="275"/>
                        <a:pt x="301" y="279"/>
                      </a:cubicBezTo>
                      <a:cubicBezTo>
                        <a:pt x="301" y="320"/>
                        <a:pt x="301" y="320"/>
                        <a:pt x="301" y="320"/>
                      </a:cubicBezTo>
                      <a:cubicBezTo>
                        <a:pt x="301" y="324"/>
                        <a:pt x="297" y="328"/>
                        <a:pt x="293" y="328"/>
                      </a:cubicBezTo>
                      <a:cubicBezTo>
                        <a:pt x="68" y="328"/>
                        <a:pt x="68" y="328"/>
                        <a:pt x="68" y="328"/>
                      </a:cubicBezTo>
                      <a:cubicBezTo>
                        <a:pt x="63" y="328"/>
                        <a:pt x="60" y="331"/>
                        <a:pt x="60" y="336"/>
                      </a:cubicBezTo>
                      <a:cubicBezTo>
                        <a:pt x="60" y="340"/>
                        <a:pt x="63" y="344"/>
                        <a:pt x="68" y="344"/>
                      </a:cubicBezTo>
                      <a:cubicBezTo>
                        <a:pt x="293" y="344"/>
                        <a:pt x="293" y="344"/>
                        <a:pt x="293" y="344"/>
                      </a:cubicBezTo>
                      <a:cubicBezTo>
                        <a:pt x="306" y="344"/>
                        <a:pt x="317" y="333"/>
                        <a:pt x="317" y="320"/>
                      </a:cubicBezTo>
                      <a:cubicBezTo>
                        <a:pt x="317" y="318"/>
                        <a:pt x="317" y="318"/>
                        <a:pt x="317" y="318"/>
                      </a:cubicBezTo>
                      <a:cubicBezTo>
                        <a:pt x="325" y="319"/>
                        <a:pt x="344" y="320"/>
                        <a:pt x="371" y="323"/>
                      </a:cubicBezTo>
                      <a:cubicBezTo>
                        <a:pt x="373" y="323"/>
                        <a:pt x="376" y="323"/>
                        <a:pt x="378" y="323"/>
                      </a:cubicBezTo>
                      <a:cubicBezTo>
                        <a:pt x="397" y="323"/>
                        <a:pt x="419" y="317"/>
                        <a:pt x="436" y="305"/>
                      </a:cubicBezTo>
                      <a:cubicBezTo>
                        <a:pt x="453" y="294"/>
                        <a:pt x="467" y="277"/>
                        <a:pt x="467" y="255"/>
                      </a:cubicBezTo>
                      <a:cubicBezTo>
                        <a:pt x="467" y="251"/>
                        <a:pt x="467" y="246"/>
                        <a:pt x="465" y="242"/>
                      </a:cubicBezTo>
                      <a:close/>
                      <a:moveTo>
                        <a:pt x="87" y="80"/>
                      </a:moveTo>
                      <a:cubicBezTo>
                        <a:pt x="86" y="81"/>
                        <a:pt x="84" y="82"/>
                        <a:pt x="81" y="82"/>
                      </a:cubicBezTo>
                      <a:cubicBezTo>
                        <a:pt x="29" y="82"/>
                        <a:pt x="29" y="82"/>
                        <a:pt x="29" y="82"/>
                      </a:cubicBezTo>
                      <a:cubicBezTo>
                        <a:pt x="28" y="81"/>
                        <a:pt x="26" y="78"/>
                        <a:pt x="26" y="74"/>
                      </a:cubicBezTo>
                      <a:cubicBezTo>
                        <a:pt x="26" y="72"/>
                        <a:pt x="26" y="70"/>
                        <a:pt x="27" y="67"/>
                      </a:cubicBezTo>
                      <a:cubicBezTo>
                        <a:pt x="32" y="56"/>
                        <a:pt x="40" y="43"/>
                        <a:pt x="51" y="33"/>
                      </a:cubicBezTo>
                      <a:cubicBezTo>
                        <a:pt x="62" y="23"/>
                        <a:pt x="76" y="16"/>
                        <a:pt x="94" y="16"/>
                      </a:cubicBezTo>
                      <a:cubicBezTo>
                        <a:pt x="223" y="16"/>
                        <a:pt x="223" y="16"/>
                        <a:pt x="223" y="16"/>
                      </a:cubicBezTo>
                      <a:cubicBezTo>
                        <a:pt x="249" y="16"/>
                        <a:pt x="264" y="27"/>
                        <a:pt x="274" y="39"/>
                      </a:cubicBezTo>
                      <a:cubicBezTo>
                        <a:pt x="285" y="51"/>
                        <a:pt x="288" y="63"/>
                        <a:pt x="290" y="67"/>
                      </a:cubicBezTo>
                      <a:cubicBezTo>
                        <a:pt x="291" y="70"/>
                        <a:pt x="291" y="72"/>
                        <a:pt x="291" y="74"/>
                      </a:cubicBezTo>
                      <a:cubicBezTo>
                        <a:pt x="291" y="77"/>
                        <a:pt x="290" y="80"/>
                        <a:pt x="289" y="81"/>
                      </a:cubicBezTo>
                      <a:cubicBezTo>
                        <a:pt x="289" y="82"/>
                        <a:pt x="289" y="82"/>
                        <a:pt x="289" y="82"/>
                      </a:cubicBezTo>
                      <a:cubicBezTo>
                        <a:pt x="236" y="82"/>
                        <a:pt x="236" y="82"/>
                        <a:pt x="236" y="82"/>
                      </a:cubicBezTo>
                      <a:cubicBezTo>
                        <a:pt x="232" y="82"/>
                        <a:pt x="231" y="81"/>
                        <a:pt x="229" y="79"/>
                      </a:cubicBezTo>
                      <a:cubicBezTo>
                        <a:pt x="226" y="75"/>
                        <a:pt x="223" y="67"/>
                        <a:pt x="220" y="60"/>
                      </a:cubicBezTo>
                      <a:cubicBezTo>
                        <a:pt x="218" y="56"/>
                        <a:pt x="215" y="51"/>
                        <a:pt x="211" y="48"/>
                      </a:cubicBezTo>
                      <a:cubicBezTo>
                        <a:pt x="207" y="45"/>
                        <a:pt x="201" y="42"/>
                        <a:pt x="195" y="43"/>
                      </a:cubicBezTo>
                      <a:cubicBezTo>
                        <a:pt x="122" y="43"/>
                        <a:pt x="122" y="43"/>
                        <a:pt x="122" y="43"/>
                      </a:cubicBezTo>
                      <a:cubicBezTo>
                        <a:pt x="114" y="42"/>
                        <a:pt x="107" y="46"/>
                        <a:pt x="103" y="52"/>
                      </a:cubicBezTo>
                      <a:cubicBezTo>
                        <a:pt x="97" y="59"/>
                        <a:pt x="94" y="68"/>
                        <a:pt x="91" y="74"/>
                      </a:cubicBezTo>
                      <a:cubicBezTo>
                        <a:pt x="90" y="77"/>
                        <a:pt x="88" y="79"/>
                        <a:pt x="87" y="80"/>
                      </a:cubicBezTo>
                      <a:close/>
                      <a:moveTo>
                        <a:pt x="213" y="108"/>
                      </a:moveTo>
                      <a:cubicBezTo>
                        <a:pt x="196" y="104"/>
                        <a:pt x="178" y="101"/>
                        <a:pt x="159" y="101"/>
                      </a:cubicBezTo>
                      <a:cubicBezTo>
                        <a:pt x="139" y="101"/>
                        <a:pt x="121" y="103"/>
                        <a:pt x="105" y="107"/>
                      </a:cubicBezTo>
                      <a:cubicBezTo>
                        <a:pt x="104" y="107"/>
                        <a:pt x="103" y="106"/>
                        <a:pt x="102" y="105"/>
                      </a:cubicBezTo>
                      <a:cubicBezTo>
                        <a:pt x="99" y="102"/>
                        <a:pt x="97" y="98"/>
                        <a:pt x="96" y="96"/>
                      </a:cubicBezTo>
                      <a:cubicBezTo>
                        <a:pt x="96" y="95"/>
                        <a:pt x="96" y="94"/>
                        <a:pt x="95" y="94"/>
                      </a:cubicBezTo>
                      <a:cubicBezTo>
                        <a:pt x="98" y="93"/>
                        <a:pt x="99" y="91"/>
                        <a:pt x="101" y="89"/>
                      </a:cubicBezTo>
                      <a:cubicBezTo>
                        <a:pt x="107" y="81"/>
                        <a:pt x="109" y="72"/>
                        <a:pt x="112" y="67"/>
                      </a:cubicBezTo>
                      <a:cubicBezTo>
                        <a:pt x="114" y="64"/>
                        <a:pt x="115" y="61"/>
                        <a:pt x="116" y="60"/>
                      </a:cubicBezTo>
                      <a:cubicBezTo>
                        <a:pt x="118" y="59"/>
                        <a:pt x="119" y="59"/>
                        <a:pt x="122" y="59"/>
                      </a:cubicBezTo>
                      <a:cubicBezTo>
                        <a:pt x="195" y="59"/>
                        <a:pt x="195" y="59"/>
                        <a:pt x="195" y="59"/>
                      </a:cubicBezTo>
                      <a:cubicBezTo>
                        <a:pt x="199" y="59"/>
                        <a:pt x="200" y="60"/>
                        <a:pt x="202" y="62"/>
                      </a:cubicBezTo>
                      <a:cubicBezTo>
                        <a:pt x="205" y="65"/>
                        <a:pt x="208" y="73"/>
                        <a:pt x="211" y="81"/>
                      </a:cubicBezTo>
                      <a:cubicBezTo>
                        <a:pt x="213" y="85"/>
                        <a:pt x="216" y="89"/>
                        <a:pt x="220" y="93"/>
                      </a:cubicBezTo>
                      <a:cubicBezTo>
                        <a:pt x="221" y="93"/>
                        <a:pt x="221" y="94"/>
                        <a:pt x="222" y="94"/>
                      </a:cubicBezTo>
                      <a:cubicBezTo>
                        <a:pt x="222" y="96"/>
                        <a:pt x="220" y="101"/>
                        <a:pt x="214" y="107"/>
                      </a:cubicBezTo>
                      <a:cubicBezTo>
                        <a:pt x="214" y="107"/>
                        <a:pt x="213" y="107"/>
                        <a:pt x="213" y="108"/>
                      </a:cubicBezTo>
                      <a:cubicBezTo>
                        <a:pt x="213" y="108"/>
                        <a:pt x="213" y="108"/>
                        <a:pt x="213" y="108"/>
                      </a:cubicBezTo>
                      <a:close/>
                      <a:moveTo>
                        <a:pt x="44" y="175"/>
                      </a:moveTo>
                      <a:cubicBezTo>
                        <a:pt x="43" y="161"/>
                        <a:pt x="54" y="147"/>
                        <a:pt x="75" y="135"/>
                      </a:cubicBezTo>
                      <a:cubicBezTo>
                        <a:pt x="96" y="124"/>
                        <a:pt x="126" y="117"/>
                        <a:pt x="159" y="117"/>
                      </a:cubicBezTo>
                      <a:cubicBezTo>
                        <a:pt x="159" y="117"/>
                        <a:pt x="159" y="117"/>
                        <a:pt x="159" y="117"/>
                      </a:cubicBezTo>
                      <a:cubicBezTo>
                        <a:pt x="191" y="117"/>
                        <a:pt x="221" y="124"/>
                        <a:pt x="242" y="135"/>
                      </a:cubicBezTo>
                      <a:cubicBezTo>
                        <a:pt x="263" y="147"/>
                        <a:pt x="274" y="161"/>
                        <a:pt x="274" y="175"/>
                      </a:cubicBezTo>
                      <a:cubicBezTo>
                        <a:pt x="274" y="188"/>
                        <a:pt x="263" y="203"/>
                        <a:pt x="242" y="214"/>
                      </a:cubicBezTo>
                      <a:cubicBezTo>
                        <a:pt x="221" y="225"/>
                        <a:pt x="191" y="232"/>
                        <a:pt x="159" y="232"/>
                      </a:cubicBezTo>
                      <a:cubicBezTo>
                        <a:pt x="126" y="232"/>
                        <a:pt x="96" y="225"/>
                        <a:pt x="75" y="214"/>
                      </a:cubicBezTo>
                      <a:cubicBezTo>
                        <a:pt x="54" y="203"/>
                        <a:pt x="43" y="188"/>
                        <a:pt x="44" y="175"/>
                      </a:cubicBezTo>
                      <a:close/>
                      <a:moveTo>
                        <a:pt x="159" y="255"/>
                      </a:moveTo>
                      <a:cubicBezTo>
                        <a:pt x="62" y="255"/>
                        <a:pt x="62" y="255"/>
                        <a:pt x="62" y="255"/>
                      </a:cubicBezTo>
                      <a:cubicBezTo>
                        <a:pt x="63" y="255"/>
                        <a:pt x="63" y="255"/>
                        <a:pt x="63" y="255"/>
                      </a:cubicBezTo>
                      <a:cubicBezTo>
                        <a:pt x="70" y="249"/>
                        <a:pt x="76" y="242"/>
                        <a:pt x="81" y="234"/>
                      </a:cubicBezTo>
                      <a:cubicBezTo>
                        <a:pt x="103" y="243"/>
                        <a:pt x="130" y="248"/>
                        <a:pt x="159" y="248"/>
                      </a:cubicBezTo>
                      <a:cubicBezTo>
                        <a:pt x="188" y="248"/>
                        <a:pt x="215" y="243"/>
                        <a:pt x="236" y="234"/>
                      </a:cubicBezTo>
                      <a:cubicBezTo>
                        <a:pt x="241" y="242"/>
                        <a:pt x="247" y="249"/>
                        <a:pt x="255" y="255"/>
                      </a:cubicBezTo>
                      <a:cubicBezTo>
                        <a:pt x="255" y="255"/>
                        <a:pt x="255" y="255"/>
                        <a:pt x="255" y="255"/>
                      </a:cubicBezTo>
                      <a:lnTo>
                        <a:pt x="159" y="255"/>
                      </a:lnTo>
                      <a:close/>
                      <a:moveTo>
                        <a:pt x="427" y="292"/>
                      </a:moveTo>
                      <a:cubicBezTo>
                        <a:pt x="413" y="302"/>
                        <a:pt x="394" y="307"/>
                        <a:pt x="378" y="307"/>
                      </a:cubicBezTo>
                      <a:cubicBezTo>
                        <a:pt x="376" y="307"/>
                        <a:pt x="374" y="307"/>
                        <a:pt x="373" y="307"/>
                      </a:cubicBezTo>
                      <a:cubicBezTo>
                        <a:pt x="344" y="304"/>
                        <a:pt x="325" y="302"/>
                        <a:pt x="317" y="302"/>
                      </a:cubicBezTo>
                      <a:cubicBezTo>
                        <a:pt x="317" y="279"/>
                        <a:pt x="317" y="279"/>
                        <a:pt x="317" y="279"/>
                      </a:cubicBezTo>
                      <a:cubicBezTo>
                        <a:pt x="317" y="269"/>
                        <a:pt x="310" y="259"/>
                        <a:pt x="300" y="256"/>
                      </a:cubicBezTo>
                      <a:cubicBezTo>
                        <a:pt x="299" y="256"/>
                        <a:pt x="297" y="255"/>
                        <a:pt x="296" y="255"/>
                      </a:cubicBezTo>
                      <a:cubicBezTo>
                        <a:pt x="284" y="255"/>
                        <a:pt x="274" y="251"/>
                        <a:pt x="265" y="243"/>
                      </a:cubicBezTo>
                      <a:cubicBezTo>
                        <a:pt x="260" y="239"/>
                        <a:pt x="255" y="233"/>
                        <a:pt x="251" y="227"/>
                      </a:cubicBezTo>
                      <a:cubicBezTo>
                        <a:pt x="250" y="227"/>
                        <a:pt x="250" y="228"/>
                        <a:pt x="249" y="228"/>
                      </a:cubicBezTo>
                      <a:cubicBezTo>
                        <a:pt x="273" y="215"/>
                        <a:pt x="290" y="197"/>
                        <a:pt x="290" y="175"/>
                      </a:cubicBezTo>
                      <a:cubicBezTo>
                        <a:pt x="290" y="152"/>
                        <a:pt x="273" y="134"/>
                        <a:pt x="249" y="121"/>
                      </a:cubicBezTo>
                      <a:cubicBezTo>
                        <a:pt x="243" y="118"/>
                        <a:pt x="237" y="115"/>
                        <a:pt x="230" y="113"/>
                      </a:cubicBezTo>
                      <a:cubicBezTo>
                        <a:pt x="235" y="107"/>
                        <a:pt x="237" y="102"/>
                        <a:pt x="238" y="98"/>
                      </a:cubicBezTo>
                      <a:cubicBezTo>
                        <a:pt x="290" y="98"/>
                        <a:pt x="290" y="98"/>
                        <a:pt x="290" y="98"/>
                      </a:cubicBezTo>
                      <a:cubicBezTo>
                        <a:pt x="296" y="98"/>
                        <a:pt x="300" y="94"/>
                        <a:pt x="303" y="90"/>
                      </a:cubicBezTo>
                      <a:cubicBezTo>
                        <a:pt x="306" y="86"/>
                        <a:pt x="307" y="80"/>
                        <a:pt x="307" y="74"/>
                      </a:cubicBezTo>
                      <a:cubicBezTo>
                        <a:pt x="307" y="71"/>
                        <a:pt x="307" y="68"/>
                        <a:pt x="306" y="64"/>
                      </a:cubicBezTo>
                      <a:cubicBezTo>
                        <a:pt x="319" y="59"/>
                        <a:pt x="329" y="57"/>
                        <a:pt x="338" y="57"/>
                      </a:cubicBezTo>
                      <a:cubicBezTo>
                        <a:pt x="352" y="57"/>
                        <a:pt x="360" y="62"/>
                        <a:pt x="366" y="68"/>
                      </a:cubicBezTo>
                      <a:cubicBezTo>
                        <a:pt x="368" y="70"/>
                        <a:pt x="370" y="73"/>
                        <a:pt x="371" y="75"/>
                      </a:cubicBezTo>
                      <a:cubicBezTo>
                        <a:pt x="370" y="75"/>
                        <a:pt x="368" y="75"/>
                        <a:pt x="366" y="75"/>
                      </a:cubicBezTo>
                      <a:cubicBezTo>
                        <a:pt x="359" y="75"/>
                        <a:pt x="351" y="76"/>
                        <a:pt x="342" y="79"/>
                      </a:cubicBezTo>
                      <a:cubicBezTo>
                        <a:pt x="325" y="83"/>
                        <a:pt x="314" y="94"/>
                        <a:pt x="314" y="106"/>
                      </a:cubicBezTo>
                      <a:cubicBezTo>
                        <a:pt x="314" y="113"/>
                        <a:pt x="318" y="120"/>
                        <a:pt x="323" y="124"/>
                      </a:cubicBezTo>
                      <a:cubicBezTo>
                        <a:pt x="328" y="129"/>
                        <a:pt x="335" y="132"/>
                        <a:pt x="344" y="132"/>
                      </a:cubicBezTo>
                      <a:cubicBezTo>
                        <a:pt x="346" y="132"/>
                        <a:pt x="348" y="132"/>
                        <a:pt x="351" y="131"/>
                      </a:cubicBezTo>
                      <a:cubicBezTo>
                        <a:pt x="372" y="127"/>
                        <a:pt x="385" y="112"/>
                        <a:pt x="389" y="98"/>
                      </a:cubicBezTo>
                      <a:cubicBezTo>
                        <a:pt x="392" y="100"/>
                        <a:pt x="394" y="102"/>
                        <a:pt x="397" y="105"/>
                      </a:cubicBezTo>
                      <a:cubicBezTo>
                        <a:pt x="403" y="113"/>
                        <a:pt x="406" y="124"/>
                        <a:pt x="407" y="134"/>
                      </a:cubicBezTo>
                      <a:cubicBezTo>
                        <a:pt x="403" y="134"/>
                        <a:pt x="399" y="133"/>
                        <a:pt x="395" y="133"/>
                      </a:cubicBezTo>
                      <a:cubicBezTo>
                        <a:pt x="378" y="134"/>
                        <a:pt x="363" y="137"/>
                        <a:pt x="354" y="146"/>
                      </a:cubicBezTo>
                      <a:cubicBezTo>
                        <a:pt x="349" y="151"/>
                        <a:pt x="346" y="158"/>
                        <a:pt x="346" y="164"/>
                      </a:cubicBezTo>
                      <a:cubicBezTo>
                        <a:pt x="346" y="171"/>
                        <a:pt x="350" y="178"/>
                        <a:pt x="354" y="181"/>
                      </a:cubicBezTo>
                      <a:cubicBezTo>
                        <a:pt x="359" y="185"/>
                        <a:pt x="365" y="188"/>
                        <a:pt x="372" y="189"/>
                      </a:cubicBezTo>
                      <a:cubicBezTo>
                        <a:pt x="372" y="189"/>
                        <a:pt x="373" y="189"/>
                        <a:pt x="374" y="189"/>
                      </a:cubicBezTo>
                      <a:cubicBezTo>
                        <a:pt x="384" y="188"/>
                        <a:pt x="394" y="183"/>
                        <a:pt x="405" y="174"/>
                      </a:cubicBezTo>
                      <a:cubicBezTo>
                        <a:pt x="411" y="169"/>
                        <a:pt x="416" y="162"/>
                        <a:pt x="420" y="155"/>
                      </a:cubicBezTo>
                      <a:cubicBezTo>
                        <a:pt x="420" y="155"/>
                        <a:pt x="420" y="155"/>
                        <a:pt x="421" y="155"/>
                      </a:cubicBezTo>
                      <a:cubicBezTo>
                        <a:pt x="428" y="159"/>
                        <a:pt x="434" y="165"/>
                        <a:pt x="437" y="174"/>
                      </a:cubicBezTo>
                      <a:cubicBezTo>
                        <a:pt x="438" y="178"/>
                        <a:pt x="438" y="182"/>
                        <a:pt x="438" y="186"/>
                      </a:cubicBezTo>
                      <a:cubicBezTo>
                        <a:pt x="438" y="194"/>
                        <a:pt x="437" y="202"/>
                        <a:pt x="434" y="209"/>
                      </a:cubicBezTo>
                      <a:cubicBezTo>
                        <a:pt x="426" y="207"/>
                        <a:pt x="418" y="206"/>
                        <a:pt x="411" y="206"/>
                      </a:cubicBezTo>
                      <a:cubicBezTo>
                        <a:pt x="401" y="206"/>
                        <a:pt x="392" y="207"/>
                        <a:pt x="385" y="209"/>
                      </a:cubicBezTo>
                      <a:cubicBezTo>
                        <a:pt x="378" y="211"/>
                        <a:pt x="372" y="213"/>
                        <a:pt x="368" y="218"/>
                      </a:cubicBezTo>
                      <a:cubicBezTo>
                        <a:pt x="362" y="223"/>
                        <a:pt x="358" y="230"/>
                        <a:pt x="358" y="239"/>
                      </a:cubicBezTo>
                      <a:cubicBezTo>
                        <a:pt x="358" y="245"/>
                        <a:pt x="360" y="252"/>
                        <a:pt x="366" y="256"/>
                      </a:cubicBezTo>
                      <a:cubicBezTo>
                        <a:pt x="371" y="260"/>
                        <a:pt x="378" y="263"/>
                        <a:pt x="387" y="264"/>
                      </a:cubicBezTo>
                      <a:cubicBezTo>
                        <a:pt x="389" y="264"/>
                        <a:pt x="390" y="264"/>
                        <a:pt x="391" y="264"/>
                      </a:cubicBezTo>
                      <a:cubicBezTo>
                        <a:pt x="407" y="264"/>
                        <a:pt x="423" y="253"/>
                        <a:pt x="434" y="239"/>
                      </a:cubicBezTo>
                      <a:cubicBezTo>
                        <a:pt x="437" y="236"/>
                        <a:pt x="439" y="233"/>
                        <a:pt x="440" y="231"/>
                      </a:cubicBezTo>
                      <a:cubicBezTo>
                        <a:pt x="445" y="234"/>
                        <a:pt x="448" y="239"/>
                        <a:pt x="450" y="246"/>
                      </a:cubicBezTo>
                      <a:cubicBezTo>
                        <a:pt x="451" y="249"/>
                        <a:pt x="451" y="252"/>
                        <a:pt x="451" y="255"/>
                      </a:cubicBezTo>
                      <a:cubicBezTo>
                        <a:pt x="451" y="269"/>
                        <a:pt x="442" y="282"/>
                        <a:pt x="427" y="292"/>
                      </a:cubicBezTo>
                      <a:close/>
                      <a:moveTo>
                        <a:pt x="374" y="92"/>
                      </a:moveTo>
                      <a:cubicBezTo>
                        <a:pt x="372" y="101"/>
                        <a:pt x="364" y="112"/>
                        <a:pt x="348" y="115"/>
                      </a:cubicBezTo>
                      <a:cubicBezTo>
                        <a:pt x="346" y="116"/>
                        <a:pt x="345" y="116"/>
                        <a:pt x="344" y="116"/>
                      </a:cubicBezTo>
                      <a:cubicBezTo>
                        <a:pt x="334" y="116"/>
                        <a:pt x="330" y="110"/>
                        <a:pt x="330" y="106"/>
                      </a:cubicBezTo>
                      <a:cubicBezTo>
                        <a:pt x="331" y="103"/>
                        <a:pt x="333" y="98"/>
                        <a:pt x="346" y="94"/>
                      </a:cubicBezTo>
                      <a:cubicBezTo>
                        <a:pt x="354" y="92"/>
                        <a:pt x="360" y="91"/>
                        <a:pt x="366" y="91"/>
                      </a:cubicBezTo>
                      <a:cubicBezTo>
                        <a:pt x="369" y="91"/>
                        <a:pt x="372" y="91"/>
                        <a:pt x="374" y="92"/>
                      </a:cubicBezTo>
                      <a:close/>
                      <a:moveTo>
                        <a:pt x="404" y="150"/>
                      </a:moveTo>
                      <a:cubicBezTo>
                        <a:pt x="402" y="155"/>
                        <a:pt x="398" y="159"/>
                        <a:pt x="394" y="162"/>
                      </a:cubicBezTo>
                      <a:cubicBezTo>
                        <a:pt x="387" y="169"/>
                        <a:pt x="377" y="173"/>
                        <a:pt x="374" y="173"/>
                      </a:cubicBezTo>
                      <a:cubicBezTo>
                        <a:pt x="373" y="173"/>
                        <a:pt x="373" y="173"/>
                        <a:pt x="373" y="173"/>
                      </a:cubicBezTo>
                      <a:cubicBezTo>
                        <a:pt x="370" y="172"/>
                        <a:pt x="367" y="171"/>
                        <a:pt x="365" y="169"/>
                      </a:cubicBezTo>
                      <a:cubicBezTo>
                        <a:pt x="362" y="167"/>
                        <a:pt x="362" y="165"/>
                        <a:pt x="362" y="164"/>
                      </a:cubicBezTo>
                      <a:cubicBezTo>
                        <a:pt x="362" y="163"/>
                        <a:pt x="362" y="161"/>
                        <a:pt x="365" y="157"/>
                      </a:cubicBezTo>
                      <a:cubicBezTo>
                        <a:pt x="368" y="154"/>
                        <a:pt x="381" y="149"/>
                        <a:pt x="395" y="149"/>
                      </a:cubicBezTo>
                      <a:cubicBezTo>
                        <a:pt x="398" y="149"/>
                        <a:pt x="401" y="150"/>
                        <a:pt x="404" y="150"/>
                      </a:cubicBezTo>
                      <a:close/>
                      <a:moveTo>
                        <a:pt x="426" y="223"/>
                      </a:moveTo>
                      <a:cubicBezTo>
                        <a:pt x="425" y="225"/>
                        <a:pt x="423" y="227"/>
                        <a:pt x="422" y="229"/>
                      </a:cubicBezTo>
                      <a:cubicBezTo>
                        <a:pt x="412" y="241"/>
                        <a:pt x="400" y="248"/>
                        <a:pt x="391" y="248"/>
                      </a:cubicBezTo>
                      <a:cubicBezTo>
                        <a:pt x="390" y="248"/>
                        <a:pt x="389" y="248"/>
                        <a:pt x="389" y="248"/>
                      </a:cubicBezTo>
                      <a:cubicBezTo>
                        <a:pt x="382" y="247"/>
                        <a:pt x="378" y="245"/>
                        <a:pt x="376" y="244"/>
                      </a:cubicBezTo>
                      <a:cubicBezTo>
                        <a:pt x="374" y="242"/>
                        <a:pt x="374" y="241"/>
                        <a:pt x="374" y="239"/>
                      </a:cubicBezTo>
                      <a:cubicBezTo>
                        <a:pt x="374" y="237"/>
                        <a:pt x="376" y="232"/>
                        <a:pt x="379" y="229"/>
                      </a:cubicBezTo>
                      <a:cubicBezTo>
                        <a:pt x="379" y="229"/>
                        <a:pt x="383" y="226"/>
                        <a:pt x="389" y="224"/>
                      </a:cubicBezTo>
                      <a:cubicBezTo>
                        <a:pt x="395" y="223"/>
                        <a:pt x="403" y="222"/>
                        <a:pt x="410" y="222"/>
                      </a:cubicBezTo>
                      <a:cubicBezTo>
                        <a:pt x="410" y="222"/>
                        <a:pt x="410" y="222"/>
                        <a:pt x="411" y="222"/>
                      </a:cubicBezTo>
                      <a:cubicBezTo>
                        <a:pt x="416" y="222"/>
                        <a:pt x="421" y="222"/>
                        <a:pt x="426" y="223"/>
                      </a:cubicBezTo>
                      <a:close/>
                      <a:moveTo>
                        <a:pt x="181" y="200"/>
                      </a:moveTo>
                      <a:cubicBezTo>
                        <a:pt x="173" y="200"/>
                        <a:pt x="167" y="205"/>
                        <a:pt x="167" y="210"/>
                      </a:cubicBezTo>
                      <a:cubicBezTo>
                        <a:pt x="167" y="216"/>
                        <a:pt x="173" y="220"/>
                        <a:pt x="181" y="220"/>
                      </a:cubicBezTo>
                      <a:cubicBezTo>
                        <a:pt x="188" y="220"/>
                        <a:pt x="195" y="216"/>
                        <a:pt x="195" y="210"/>
                      </a:cubicBezTo>
                      <a:cubicBezTo>
                        <a:pt x="195" y="205"/>
                        <a:pt x="188" y="200"/>
                        <a:pt x="181" y="200"/>
                      </a:cubicBezTo>
                      <a:close/>
                      <a:moveTo>
                        <a:pt x="136" y="146"/>
                      </a:moveTo>
                      <a:cubicBezTo>
                        <a:pt x="144" y="146"/>
                        <a:pt x="150" y="142"/>
                        <a:pt x="150" y="136"/>
                      </a:cubicBezTo>
                      <a:cubicBezTo>
                        <a:pt x="150" y="131"/>
                        <a:pt x="144" y="126"/>
                        <a:pt x="136" y="126"/>
                      </a:cubicBezTo>
                      <a:cubicBezTo>
                        <a:pt x="128" y="126"/>
                        <a:pt x="122" y="131"/>
                        <a:pt x="122" y="136"/>
                      </a:cubicBezTo>
                      <a:cubicBezTo>
                        <a:pt x="122" y="142"/>
                        <a:pt x="128" y="146"/>
                        <a:pt x="136" y="146"/>
                      </a:cubicBezTo>
                      <a:close/>
                      <a:moveTo>
                        <a:pt x="158" y="191"/>
                      </a:moveTo>
                      <a:cubicBezTo>
                        <a:pt x="186" y="191"/>
                        <a:pt x="208" y="183"/>
                        <a:pt x="208" y="172"/>
                      </a:cubicBezTo>
                      <a:cubicBezTo>
                        <a:pt x="208" y="162"/>
                        <a:pt x="186" y="154"/>
                        <a:pt x="158" y="154"/>
                      </a:cubicBezTo>
                      <a:cubicBezTo>
                        <a:pt x="131" y="154"/>
                        <a:pt x="109" y="162"/>
                        <a:pt x="109" y="172"/>
                      </a:cubicBezTo>
                      <a:cubicBezTo>
                        <a:pt x="109" y="183"/>
                        <a:pt x="131" y="191"/>
                        <a:pt x="158" y="191"/>
                      </a:cubicBezTo>
                      <a:close/>
                      <a:moveTo>
                        <a:pt x="98" y="158"/>
                      </a:moveTo>
                      <a:cubicBezTo>
                        <a:pt x="106" y="158"/>
                        <a:pt x="112" y="154"/>
                        <a:pt x="112" y="148"/>
                      </a:cubicBezTo>
                      <a:cubicBezTo>
                        <a:pt x="112" y="143"/>
                        <a:pt x="106" y="138"/>
                        <a:pt x="98" y="138"/>
                      </a:cubicBezTo>
                      <a:cubicBezTo>
                        <a:pt x="90" y="138"/>
                        <a:pt x="84" y="143"/>
                        <a:pt x="84" y="148"/>
                      </a:cubicBezTo>
                      <a:cubicBezTo>
                        <a:pt x="84" y="154"/>
                        <a:pt x="90" y="158"/>
                        <a:pt x="98" y="158"/>
                      </a:cubicBezTo>
                      <a:close/>
                      <a:moveTo>
                        <a:pt x="230" y="172"/>
                      </a:moveTo>
                      <a:cubicBezTo>
                        <a:pt x="230" y="178"/>
                        <a:pt x="236" y="182"/>
                        <a:pt x="244" y="182"/>
                      </a:cubicBezTo>
                      <a:cubicBezTo>
                        <a:pt x="252" y="182"/>
                        <a:pt x="258" y="178"/>
                        <a:pt x="258" y="172"/>
                      </a:cubicBezTo>
                      <a:cubicBezTo>
                        <a:pt x="258" y="167"/>
                        <a:pt x="252" y="162"/>
                        <a:pt x="244" y="162"/>
                      </a:cubicBezTo>
                      <a:cubicBezTo>
                        <a:pt x="236" y="162"/>
                        <a:pt x="230" y="167"/>
                        <a:pt x="230" y="172"/>
                      </a:cubicBezTo>
                      <a:close/>
                      <a:moveTo>
                        <a:pt x="220" y="158"/>
                      </a:moveTo>
                      <a:cubicBezTo>
                        <a:pt x="228" y="158"/>
                        <a:pt x="234" y="154"/>
                        <a:pt x="234" y="148"/>
                      </a:cubicBezTo>
                      <a:cubicBezTo>
                        <a:pt x="234" y="143"/>
                        <a:pt x="228" y="138"/>
                        <a:pt x="220" y="138"/>
                      </a:cubicBezTo>
                      <a:cubicBezTo>
                        <a:pt x="212" y="138"/>
                        <a:pt x="206" y="143"/>
                        <a:pt x="206" y="148"/>
                      </a:cubicBezTo>
                      <a:cubicBezTo>
                        <a:pt x="206" y="154"/>
                        <a:pt x="212" y="158"/>
                        <a:pt x="220" y="158"/>
                      </a:cubicBezTo>
                      <a:close/>
                      <a:moveTo>
                        <a:pt x="181" y="146"/>
                      </a:moveTo>
                      <a:cubicBezTo>
                        <a:pt x="188" y="146"/>
                        <a:pt x="195" y="142"/>
                        <a:pt x="195" y="136"/>
                      </a:cubicBezTo>
                      <a:cubicBezTo>
                        <a:pt x="195" y="131"/>
                        <a:pt x="188" y="126"/>
                        <a:pt x="181" y="126"/>
                      </a:cubicBezTo>
                      <a:cubicBezTo>
                        <a:pt x="173" y="126"/>
                        <a:pt x="167" y="131"/>
                        <a:pt x="167" y="136"/>
                      </a:cubicBezTo>
                      <a:cubicBezTo>
                        <a:pt x="167" y="142"/>
                        <a:pt x="173" y="146"/>
                        <a:pt x="181" y="146"/>
                      </a:cubicBezTo>
                      <a:close/>
                    </a:path>
                  </a:pathLst>
                </a:custGeom>
                <a:solidFill>
                  <a:srgbClr val="58585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22932" name="Freeform 3"/>
                <p:cNvSpPr>
                  <a:spLocks noChangeAspect="1" noEditPoints="1"/>
                </p:cNvSpPr>
                <p:nvPr/>
              </p:nvSpPr>
              <p:spPr bwMode="auto">
                <a:xfrm>
                  <a:off x="4470" y="1429"/>
                  <a:ext cx="459" cy="239"/>
                </a:xfrm>
                <a:custGeom>
                  <a:avLst/>
                  <a:gdLst>
                    <a:gd name="T0" fmla="*/ 2147483647 w 517"/>
                    <a:gd name="T1" fmla="*/ 2147483647 h 361"/>
                    <a:gd name="T2" fmla="*/ 2147483647 w 517"/>
                    <a:gd name="T3" fmla="*/ 2147483647 h 361"/>
                    <a:gd name="T4" fmla="*/ 2147483647 w 517"/>
                    <a:gd name="T5" fmla="*/ 2147483647 h 361"/>
                    <a:gd name="T6" fmla="*/ 2147483647 w 517"/>
                    <a:gd name="T7" fmla="*/ 2147483647 h 361"/>
                    <a:gd name="T8" fmla="*/ 2147483647 w 517"/>
                    <a:gd name="T9" fmla="*/ 2147483647 h 361"/>
                    <a:gd name="T10" fmla="*/ 2147483647 w 517"/>
                    <a:gd name="T11" fmla="*/ 2147483647 h 361"/>
                    <a:gd name="T12" fmla="*/ 2147483647 w 517"/>
                    <a:gd name="T13" fmla="*/ 2147483647 h 361"/>
                    <a:gd name="T14" fmla="*/ 2147483647 w 517"/>
                    <a:gd name="T15" fmla="*/ 2147483647 h 361"/>
                    <a:gd name="T16" fmla="*/ 2147483647 w 517"/>
                    <a:gd name="T17" fmla="*/ 2147483647 h 361"/>
                    <a:gd name="T18" fmla="*/ 2147483647 w 517"/>
                    <a:gd name="T19" fmla="*/ 2147483647 h 361"/>
                    <a:gd name="T20" fmla="*/ 2147483647 w 517"/>
                    <a:gd name="T21" fmla="*/ 2147483647 h 361"/>
                    <a:gd name="T22" fmla="*/ 2147483647 w 517"/>
                    <a:gd name="T23" fmla="*/ 2147483647 h 361"/>
                    <a:gd name="T24" fmla="*/ 2147483647 w 517"/>
                    <a:gd name="T25" fmla="*/ 0 h 361"/>
                    <a:gd name="T26" fmla="*/ 2147483647 w 517"/>
                    <a:gd name="T27" fmla="*/ 2147483647 h 361"/>
                    <a:gd name="T28" fmla="*/ 2147483647 w 517"/>
                    <a:gd name="T29" fmla="*/ 2147483647 h 361"/>
                    <a:gd name="T30" fmla="*/ 2147483647 w 517"/>
                    <a:gd name="T31" fmla="*/ 2147483647 h 361"/>
                    <a:gd name="T32" fmla="*/ 2147483647 w 517"/>
                    <a:gd name="T33" fmla="*/ 2147483647 h 361"/>
                    <a:gd name="T34" fmla="*/ 2147483647 w 517"/>
                    <a:gd name="T35" fmla="*/ 2147483647 h 361"/>
                    <a:gd name="T36" fmla="*/ 2147483647 w 517"/>
                    <a:gd name="T37" fmla="*/ 2147483647 h 361"/>
                    <a:gd name="T38" fmla="*/ 2147483647 w 517"/>
                    <a:gd name="T39" fmla="*/ 2147483647 h 361"/>
                    <a:gd name="T40" fmla="*/ 2147483647 w 517"/>
                    <a:gd name="T41" fmla="*/ 2147483647 h 361"/>
                    <a:gd name="T42" fmla="*/ 2147483647 w 517"/>
                    <a:gd name="T43" fmla="*/ 2147483647 h 361"/>
                    <a:gd name="T44" fmla="*/ 2147483647 w 517"/>
                    <a:gd name="T45" fmla="*/ 2147483647 h 361"/>
                    <a:gd name="T46" fmla="*/ 2147483647 w 517"/>
                    <a:gd name="T47" fmla="*/ 2147483647 h 361"/>
                    <a:gd name="T48" fmla="*/ 2147483647 w 517"/>
                    <a:gd name="T49" fmla="*/ 2147483647 h 361"/>
                    <a:gd name="T50" fmla="*/ 2147483647 w 517"/>
                    <a:gd name="T51" fmla="*/ 2147483647 h 361"/>
                    <a:gd name="T52" fmla="*/ 2147483647 w 517"/>
                    <a:gd name="T53" fmla="*/ 2147483647 h 361"/>
                    <a:gd name="T54" fmla="*/ 2147483647 w 517"/>
                    <a:gd name="T55" fmla="*/ 2147483647 h 361"/>
                    <a:gd name="T56" fmla="*/ 2147483647 w 517"/>
                    <a:gd name="T57" fmla="*/ 2147483647 h 361"/>
                    <a:gd name="T58" fmla="*/ 2147483647 w 517"/>
                    <a:gd name="T59" fmla="*/ 2147483647 h 361"/>
                    <a:gd name="T60" fmla="*/ 2147483647 w 517"/>
                    <a:gd name="T61" fmla="*/ 2147483647 h 361"/>
                    <a:gd name="T62" fmla="*/ 2147483647 w 517"/>
                    <a:gd name="T63" fmla="*/ 2147483647 h 361"/>
                    <a:gd name="T64" fmla="*/ 2147483647 w 517"/>
                    <a:gd name="T65" fmla="*/ 2147483647 h 361"/>
                    <a:gd name="T66" fmla="*/ 2147483647 w 517"/>
                    <a:gd name="T67" fmla="*/ 2147483647 h 361"/>
                    <a:gd name="T68" fmla="*/ 2147483647 w 517"/>
                    <a:gd name="T69" fmla="*/ 2147483647 h 361"/>
                    <a:gd name="T70" fmla="*/ 2147483647 w 517"/>
                    <a:gd name="T71" fmla="*/ 2147483647 h 361"/>
                    <a:gd name="T72" fmla="*/ 2147483647 w 517"/>
                    <a:gd name="T73" fmla="*/ 2147483647 h 361"/>
                    <a:gd name="T74" fmla="*/ 2147483647 w 517"/>
                    <a:gd name="T75" fmla="*/ 2147483647 h 361"/>
                    <a:gd name="T76" fmla="*/ 2147483647 w 517"/>
                    <a:gd name="T77" fmla="*/ 2147483647 h 361"/>
                    <a:gd name="T78" fmla="*/ 2147483647 w 517"/>
                    <a:gd name="T79" fmla="*/ 2147483647 h 361"/>
                    <a:gd name="T80" fmla="*/ 2147483647 w 517"/>
                    <a:gd name="T81" fmla="*/ 2147483647 h 361"/>
                    <a:gd name="T82" fmla="*/ 2147483647 w 517"/>
                    <a:gd name="T83" fmla="*/ 2147483647 h 361"/>
                    <a:gd name="T84" fmla="*/ 2147483647 w 517"/>
                    <a:gd name="T85" fmla="*/ 2147483647 h 361"/>
                    <a:gd name="T86" fmla="*/ 2147483647 w 517"/>
                    <a:gd name="T87" fmla="*/ 2147483647 h 361"/>
                    <a:gd name="T88" fmla="*/ 2147483647 w 517"/>
                    <a:gd name="T89" fmla="*/ 2147483647 h 361"/>
                    <a:gd name="T90" fmla="*/ 2147483647 w 517"/>
                    <a:gd name="T91" fmla="*/ 2147483647 h 361"/>
                    <a:gd name="T92" fmla="*/ 2147483647 w 517"/>
                    <a:gd name="T93" fmla="*/ 2147483647 h 361"/>
                    <a:gd name="T94" fmla="*/ 2147483647 w 517"/>
                    <a:gd name="T95" fmla="*/ 2147483647 h 361"/>
                    <a:gd name="T96" fmla="*/ 2147483647 w 517"/>
                    <a:gd name="T97" fmla="*/ 2147483647 h 361"/>
                    <a:gd name="T98" fmla="*/ 2147483647 w 517"/>
                    <a:gd name="T99" fmla="*/ 2147483647 h 361"/>
                    <a:gd name="T100" fmla="*/ 2147483647 w 517"/>
                    <a:gd name="T101" fmla="*/ 2147483647 h 361"/>
                    <a:gd name="T102" fmla="*/ 2147483647 w 517"/>
                    <a:gd name="T103" fmla="*/ 2147483647 h 361"/>
                    <a:gd name="T104" fmla="*/ 2147483647 w 517"/>
                    <a:gd name="T105" fmla="*/ 2147483647 h 361"/>
                    <a:gd name="T106" fmla="*/ 2147483647 w 517"/>
                    <a:gd name="T107" fmla="*/ 2147483647 h 361"/>
                    <a:gd name="T108" fmla="*/ 2147483647 w 517"/>
                    <a:gd name="T109" fmla="*/ 2147483647 h 361"/>
                    <a:gd name="T110" fmla="*/ 2147483647 w 517"/>
                    <a:gd name="T111" fmla="*/ 2147483647 h 361"/>
                    <a:gd name="T112" fmla="*/ 2147483647 w 517"/>
                    <a:gd name="T113" fmla="*/ 2147483647 h 361"/>
                    <a:gd name="T114" fmla="*/ 2147483647 w 517"/>
                    <a:gd name="T115" fmla="*/ 2147483647 h 361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0" t="0" r="r" b="b"/>
                  <a:pathLst>
                    <a:path w="517" h="361">
                      <a:moveTo>
                        <a:pt x="106" y="285"/>
                      </a:moveTo>
                      <a:cubicBezTo>
                        <a:pt x="110" y="285"/>
                        <a:pt x="110" y="285"/>
                        <a:pt x="110" y="285"/>
                      </a:cubicBezTo>
                      <a:cubicBezTo>
                        <a:pt x="115" y="285"/>
                        <a:pt x="119" y="281"/>
                        <a:pt x="119" y="276"/>
                      </a:cubicBezTo>
                      <a:cubicBezTo>
                        <a:pt x="119" y="259"/>
                        <a:pt x="119" y="259"/>
                        <a:pt x="119" y="259"/>
                      </a:cubicBezTo>
                      <a:cubicBezTo>
                        <a:pt x="119" y="255"/>
                        <a:pt x="116" y="252"/>
                        <a:pt x="113" y="251"/>
                      </a:cubicBezTo>
                      <a:cubicBezTo>
                        <a:pt x="114" y="236"/>
                        <a:pt x="121" y="215"/>
                        <a:pt x="147" y="215"/>
                      </a:cubicBezTo>
                      <a:cubicBezTo>
                        <a:pt x="184" y="215"/>
                        <a:pt x="182" y="264"/>
                        <a:pt x="182" y="264"/>
                      </a:cubicBezTo>
                      <a:cubicBezTo>
                        <a:pt x="182" y="266"/>
                        <a:pt x="183" y="268"/>
                        <a:pt x="185" y="270"/>
                      </a:cubicBezTo>
                      <a:cubicBezTo>
                        <a:pt x="185" y="276"/>
                        <a:pt x="185" y="286"/>
                        <a:pt x="182" y="294"/>
                      </a:cubicBezTo>
                      <a:cubicBezTo>
                        <a:pt x="178" y="302"/>
                        <a:pt x="174" y="307"/>
                        <a:pt x="166" y="309"/>
                      </a:cubicBezTo>
                      <a:cubicBezTo>
                        <a:pt x="167" y="306"/>
                        <a:pt x="167" y="306"/>
                        <a:pt x="167" y="306"/>
                      </a:cubicBezTo>
                      <a:cubicBezTo>
                        <a:pt x="168" y="302"/>
                        <a:pt x="166" y="298"/>
                        <a:pt x="162" y="296"/>
                      </a:cubicBezTo>
                      <a:cubicBezTo>
                        <a:pt x="147" y="292"/>
                        <a:pt x="147" y="292"/>
                        <a:pt x="147" y="292"/>
                      </a:cubicBezTo>
                      <a:cubicBezTo>
                        <a:pt x="143" y="290"/>
                        <a:pt x="138" y="293"/>
                        <a:pt x="137" y="297"/>
                      </a:cubicBezTo>
                      <a:cubicBezTo>
                        <a:pt x="136" y="300"/>
                        <a:pt x="136" y="300"/>
                        <a:pt x="136" y="300"/>
                      </a:cubicBezTo>
                      <a:cubicBezTo>
                        <a:pt x="135" y="304"/>
                        <a:pt x="137" y="309"/>
                        <a:pt x="141" y="310"/>
                      </a:cubicBezTo>
                      <a:cubicBezTo>
                        <a:pt x="148" y="312"/>
                        <a:pt x="148" y="312"/>
                        <a:pt x="148" y="312"/>
                      </a:cubicBezTo>
                      <a:cubicBezTo>
                        <a:pt x="148" y="313"/>
                        <a:pt x="149" y="313"/>
                        <a:pt x="149" y="313"/>
                      </a:cubicBezTo>
                      <a:cubicBezTo>
                        <a:pt x="151" y="314"/>
                        <a:pt x="153" y="314"/>
                        <a:pt x="156" y="315"/>
                      </a:cubicBezTo>
                      <a:cubicBezTo>
                        <a:pt x="156" y="315"/>
                        <a:pt x="156" y="315"/>
                        <a:pt x="156" y="315"/>
                      </a:cubicBezTo>
                      <a:cubicBezTo>
                        <a:pt x="156" y="315"/>
                        <a:pt x="156" y="315"/>
                        <a:pt x="156" y="315"/>
                      </a:cubicBezTo>
                      <a:cubicBezTo>
                        <a:pt x="156" y="315"/>
                        <a:pt x="156" y="315"/>
                        <a:pt x="156" y="315"/>
                      </a:cubicBezTo>
                      <a:cubicBezTo>
                        <a:pt x="157" y="315"/>
                        <a:pt x="157" y="315"/>
                        <a:pt x="158" y="315"/>
                      </a:cubicBezTo>
                      <a:cubicBezTo>
                        <a:pt x="160" y="315"/>
                        <a:pt x="161" y="316"/>
                        <a:pt x="163" y="316"/>
                      </a:cubicBezTo>
                      <a:cubicBezTo>
                        <a:pt x="163" y="316"/>
                        <a:pt x="163" y="316"/>
                        <a:pt x="163" y="316"/>
                      </a:cubicBezTo>
                      <a:cubicBezTo>
                        <a:pt x="177" y="316"/>
                        <a:pt x="184" y="306"/>
                        <a:pt x="188" y="296"/>
                      </a:cubicBezTo>
                      <a:cubicBezTo>
                        <a:pt x="191" y="287"/>
                        <a:pt x="192" y="276"/>
                        <a:pt x="192" y="269"/>
                      </a:cubicBezTo>
                      <a:cubicBezTo>
                        <a:pt x="194" y="268"/>
                        <a:pt x="195" y="266"/>
                        <a:pt x="195" y="264"/>
                      </a:cubicBezTo>
                      <a:cubicBezTo>
                        <a:pt x="195" y="264"/>
                        <a:pt x="196" y="210"/>
                        <a:pt x="147" y="210"/>
                      </a:cubicBezTo>
                      <a:cubicBezTo>
                        <a:pt x="97" y="210"/>
                        <a:pt x="98" y="263"/>
                        <a:pt x="98" y="263"/>
                      </a:cubicBezTo>
                      <a:cubicBezTo>
                        <a:pt x="98" y="276"/>
                        <a:pt x="98" y="276"/>
                        <a:pt x="98" y="276"/>
                      </a:cubicBezTo>
                      <a:cubicBezTo>
                        <a:pt x="98" y="281"/>
                        <a:pt x="101" y="285"/>
                        <a:pt x="106" y="285"/>
                      </a:cubicBezTo>
                      <a:moveTo>
                        <a:pt x="503" y="249"/>
                      </a:moveTo>
                      <a:cubicBezTo>
                        <a:pt x="486" y="249"/>
                        <a:pt x="486" y="249"/>
                        <a:pt x="486" y="249"/>
                      </a:cubicBezTo>
                      <a:cubicBezTo>
                        <a:pt x="486" y="249"/>
                        <a:pt x="486" y="248"/>
                        <a:pt x="486" y="248"/>
                      </a:cubicBezTo>
                      <a:cubicBezTo>
                        <a:pt x="486" y="70"/>
                        <a:pt x="486" y="70"/>
                        <a:pt x="486" y="70"/>
                      </a:cubicBezTo>
                      <a:cubicBezTo>
                        <a:pt x="486" y="65"/>
                        <a:pt x="483" y="62"/>
                        <a:pt x="478" y="62"/>
                      </a:cubicBezTo>
                      <a:cubicBezTo>
                        <a:pt x="474" y="62"/>
                        <a:pt x="470" y="65"/>
                        <a:pt x="470" y="70"/>
                      </a:cubicBezTo>
                      <a:cubicBezTo>
                        <a:pt x="470" y="248"/>
                        <a:pt x="470" y="248"/>
                        <a:pt x="470" y="248"/>
                      </a:cubicBezTo>
                      <a:cubicBezTo>
                        <a:pt x="470" y="248"/>
                        <a:pt x="470" y="249"/>
                        <a:pt x="471" y="249"/>
                      </a:cubicBezTo>
                      <a:cubicBezTo>
                        <a:pt x="267" y="249"/>
                        <a:pt x="267" y="249"/>
                        <a:pt x="267" y="249"/>
                      </a:cubicBezTo>
                      <a:cubicBezTo>
                        <a:pt x="267" y="218"/>
                        <a:pt x="267" y="218"/>
                        <a:pt x="267" y="218"/>
                      </a:cubicBezTo>
                      <a:cubicBezTo>
                        <a:pt x="267" y="191"/>
                        <a:pt x="267" y="191"/>
                        <a:pt x="267" y="191"/>
                      </a:cubicBezTo>
                      <a:cubicBezTo>
                        <a:pt x="267" y="184"/>
                        <a:pt x="262" y="179"/>
                        <a:pt x="256" y="179"/>
                      </a:cubicBezTo>
                      <a:cubicBezTo>
                        <a:pt x="112" y="179"/>
                        <a:pt x="112" y="179"/>
                        <a:pt x="112" y="179"/>
                      </a:cubicBezTo>
                      <a:cubicBezTo>
                        <a:pt x="112" y="16"/>
                        <a:pt x="112" y="16"/>
                        <a:pt x="112" y="16"/>
                      </a:cubicBezTo>
                      <a:cubicBezTo>
                        <a:pt x="470" y="16"/>
                        <a:pt x="470" y="16"/>
                        <a:pt x="470" y="16"/>
                      </a:cubicBezTo>
                      <a:cubicBezTo>
                        <a:pt x="470" y="38"/>
                        <a:pt x="470" y="38"/>
                        <a:pt x="470" y="38"/>
                      </a:cubicBezTo>
                      <a:cubicBezTo>
                        <a:pt x="470" y="42"/>
                        <a:pt x="474" y="45"/>
                        <a:pt x="478" y="45"/>
                      </a:cubicBezTo>
                      <a:cubicBezTo>
                        <a:pt x="483" y="45"/>
                        <a:pt x="486" y="42"/>
                        <a:pt x="486" y="38"/>
                      </a:cubicBezTo>
                      <a:cubicBezTo>
                        <a:pt x="486" y="14"/>
                        <a:pt x="486" y="14"/>
                        <a:pt x="486" y="14"/>
                      </a:cubicBezTo>
                      <a:cubicBezTo>
                        <a:pt x="486" y="6"/>
                        <a:pt x="480" y="0"/>
                        <a:pt x="473" y="0"/>
                      </a:cubicBezTo>
                      <a:cubicBezTo>
                        <a:pt x="110" y="0"/>
                        <a:pt x="110" y="0"/>
                        <a:pt x="110" y="0"/>
                      </a:cubicBezTo>
                      <a:cubicBezTo>
                        <a:pt x="102" y="0"/>
                        <a:pt x="96" y="6"/>
                        <a:pt x="96" y="14"/>
                      </a:cubicBezTo>
                      <a:cubicBezTo>
                        <a:pt x="96" y="179"/>
                        <a:pt x="96" y="179"/>
                        <a:pt x="96" y="179"/>
                      </a:cubicBezTo>
                      <a:cubicBezTo>
                        <a:pt x="33" y="179"/>
                        <a:pt x="33" y="179"/>
                        <a:pt x="33" y="179"/>
                      </a:cubicBezTo>
                      <a:cubicBezTo>
                        <a:pt x="26" y="179"/>
                        <a:pt x="21" y="184"/>
                        <a:pt x="21" y="191"/>
                      </a:cubicBezTo>
                      <a:cubicBezTo>
                        <a:pt x="21" y="322"/>
                        <a:pt x="21" y="322"/>
                        <a:pt x="21" y="322"/>
                      </a:cubicBezTo>
                      <a:cubicBezTo>
                        <a:pt x="21" y="329"/>
                        <a:pt x="21" y="329"/>
                        <a:pt x="21" y="329"/>
                      </a:cubicBezTo>
                      <a:cubicBezTo>
                        <a:pt x="14" y="329"/>
                        <a:pt x="14" y="329"/>
                        <a:pt x="14" y="329"/>
                      </a:cubicBezTo>
                      <a:cubicBezTo>
                        <a:pt x="6" y="329"/>
                        <a:pt x="0" y="335"/>
                        <a:pt x="0" y="343"/>
                      </a:cubicBezTo>
                      <a:cubicBezTo>
                        <a:pt x="0" y="347"/>
                        <a:pt x="0" y="347"/>
                        <a:pt x="0" y="347"/>
                      </a:cubicBezTo>
                      <a:cubicBezTo>
                        <a:pt x="0" y="355"/>
                        <a:pt x="6" y="361"/>
                        <a:pt x="14" y="361"/>
                      </a:cubicBezTo>
                      <a:cubicBezTo>
                        <a:pt x="273" y="361"/>
                        <a:pt x="273" y="361"/>
                        <a:pt x="273" y="361"/>
                      </a:cubicBezTo>
                      <a:cubicBezTo>
                        <a:pt x="281" y="361"/>
                        <a:pt x="287" y="355"/>
                        <a:pt x="287" y="347"/>
                      </a:cubicBezTo>
                      <a:cubicBezTo>
                        <a:pt x="287" y="343"/>
                        <a:pt x="287" y="343"/>
                        <a:pt x="287" y="343"/>
                      </a:cubicBezTo>
                      <a:cubicBezTo>
                        <a:pt x="287" y="335"/>
                        <a:pt x="281" y="329"/>
                        <a:pt x="273" y="329"/>
                      </a:cubicBezTo>
                      <a:cubicBezTo>
                        <a:pt x="267" y="329"/>
                        <a:pt x="267" y="329"/>
                        <a:pt x="267" y="329"/>
                      </a:cubicBezTo>
                      <a:cubicBezTo>
                        <a:pt x="267" y="296"/>
                        <a:pt x="267" y="296"/>
                        <a:pt x="267" y="296"/>
                      </a:cubicBezTo>
                      <a:cubicBezTo>
                        <a:pt x="503" y="296"/>
                        <a:pt x="503" y="296"/>
                        <a:pt x="503" y="296"/>
                      </a:cubicBezTo>
                      <a:cubicBezTo>
                        <a:pt x="511" y="296"/>
                        <a:pt x="517" y="289"/>
                        <a:pt x="517" y="282"/>
                      </a:cubicBezTo>
                      <a:cubicBezTo>
                        <a:pt x="517" y="263"/>
                        <a:pt x="517" y="263"/>
                        <a:pt x="517" y="263"/>
                      </a:cubicBezTo>
                      <a:cubicBezTo>
                        <a:pt x="517" y="255"/>
                        <a:pt x="511" y="249"/>
                        <a:pt x="503" y="249"/>
                      </a:cubicBezTo>
                      <a:moveTo>
                        <a:pt x="165" y="354"/>
                      </a:moveTo>
                      <a:cubicBezTo>
                        <a:pt x="123" y="354"/>
                        <a:pt x="123" y="354"/>
                        <a:pt x="123" y="354"/>
                      </a:cubicBezTo>
                      <a:cubicBezTo>
                        <a:pt x="118" y="354"/>
                        <a:pt x="115" y="350"/>
                        <a:pt x="115" y="346"/>
                      </a:cubicBezTo>
                      <a:cubicBezTo>
                        <a:pt x="115" y="341"/>
                        <a:pt x="118" y="338"/>
                        <a:pt x="123" y="338"/>
                      </a:cubicBezTo>
                      <a:cubicBezTo>
                        <a:pt x="165" y="338"/>
                        <a:pt x="165" y="338"/>
                        <a:pt x="165" y="338"/>
                      </a:cubicBezTo>
                      <a:cubicBezTo>
                        <a:pt x="169" y="338"/>
                        <a:pt x="173" y="341"/>
                        <a:pt x="173" y="346"/>
                      </a:cubicBezTo>
                      <a:cubicBezTo>
                        <a:pt x="173" y="350"/>
                        <a:pt x="169" y="354"/>
                        <a:pt x="165" y="354"/>
                      </a:cubicBezTo>
                      <a:moveTo>
                        <a:pt x="251" y="329"/>
                      </a:moveTo>
                      <a:cubicBezTo>
                        <a:pt x="37" y="329"/>
                        <a:pt x="37" y="329"/>
                        <a:pt x="37" y="329"/>
                      </a:cubicBezTo>
                      <a:cubicBezTo>
                        <a:pt x="37" y="322"/>
                        <a:pt x="37" y="322"/>
                        <a:pt x="37" y="322"/>
                      </a:cubicBezTo>
                      <a:cubicBezTo>
                        <a:pt x="37" y="312"/>
                        <a:pt x="37" y="312"/>
                        <a:pt x="37" y="312"/>
                      </a:cubicBezTo>
                      <a:cubicBezTo>
                        <a:pt x="37" y="195"/>
                        <a:pt x="37" y="195"/>
                        <a:pt x="37" y="195"/>
                      </a:cubicBezTo>
                      <a:cubicBezTo>
                        <a:pt x="251" y="195"/>
                        <a:pt x="251" y="195"/>
                        <a:pt x="251" y="195"/>
                      </a:cubicBezTo>
                      <a:lnTo>
                        <a:pt x="251" y="329"/>
                      </a:lnTo>
                      <a:close/>
                      <a:moveTo>
                        <a:pt x="501" y="280"/>
                      </a:moveTo>
                      <a:cubicBezTo>
                        <a:pt x="267" y="280"/>
                        <a:pt x="267" y="280"/>
                        <a:pt x="267" y="280"/>
                      </a:cubicBezTo>
                      <a:cubicBezTo>
                        <a:pt x="267" y="271"/>
                        <a:pt x="267" y="271"/>
                        <a:pt x="267" y="271"/>
                      </a:cubicBezTo>
                      <a:cubicBezTo>
                        <a:pt x="325" y="271"/>
                        <a:pt x="325" y="271"/>
                        <a:pt x="325" y="271"/>
                      </a:cubicBezTo>
                      <a:cubicBezTo>
                        <a:pt x="329" y="271"/>
                        <a:pt x="332" y="268"/>
                        <a:pt x="333" y="265"/>
                      </a:cubicBezTo>
                      <a:cubicBezTo>
                        <a:pt x="501" y="265"/>
                        <a:pt x="501" y="265"/>
                        <a:pt x="501" y="265"/>
                      </a:cubicBezTo>
                      <a:lnTo>
                        <a:pt x="501" y="280"/>
                      </a:lnTo>
                      <a:close/>
                      <a:moveTo>
                        <a:pt x="307" y="147"/>
                      </a:moveTo>
                      <a:cubicBezTo>
                        <a:pt x="300" y="157"/>
                        <a:pt x="295" y="168"/>
                        <a:pt x="295" y="179"/>
                      </a:cubicBezTo>
                      <a:cubicBezTo>
                        <a:pt x="295" y="217"/>
                        <a:pt x="295" y="217"/>
                        <a:pt x="295" y="217"/>
                      </a:cubicBezTo>
                      <a:cubicBezTo>
                        <a:pt x="295" y="227"/>
                        <a:pt x="302" y="235"/>
                        <a:pt x="312" y="235"/>
                      </a:cubicBezTo>
                      <a:cubicBezTo>
                        <a:pt x="431" y="235"/>
                        <a:pt x="431" y="235"/>
                        <a:pt x="431" y="235"/>
                      </a:cubicBezTo>
                      <a:cubicBezTo>
                        <a:pt x="440" y="235"/>
                        <a:pt x="447" y="227"/>
                        <a:pt x="447" y="217"/>
                      </a:cubicBezTo>
                      <a:cubicBezTo>
                        <a:pt x="447" y="179"/>
                        <a:pt x="447" y="179"/>
                        <a:pt x="447" y="179"/>
                      </a:cubicBezTo>
                      <a:cubicBezTo>
                        <a:pt x="447" y="168"/>
                        <a:pt x="442" y="157"/>
                        <a:pt x="435" y="147"/>
                      </a:cubicBezTo>
                      <a:cubicBezTo>
                        <a:pt x="431" y="141"/>
                        <a:pt x="425" y="136"/>
                        <a:pt x="419" y="132"/>
                      </a:cubicBezTo>
                      <a:cubicBezTo>
                        <a:pt x="426" y="122"/>
                        <a:pt x="431" y="110"/>
                        <a:pt x="431" y="96"/>
                      </a:cubicBezTo>
                      <a:cubicBezTo>
                        <a:pt x="431" y="87"/>
                        <a:pt x="429" y="78"/>
                        <a:pt x="425" y="71"/>
                      </a:cubicBezTo>
                      <a:cubicBezTo>
                        <a:pt x="423" y="67"/>
                        <a:pt x="419" y="65"/>
                        <a:pt x="415" y="67"/>
                      </a:cubicBezTo>
                      <a:cubicBezTo>
                        <a:pt x="411" y="69"/>
                        <a:pt x="409" y="73"/>
                        <a:pt x="411" y="77"/>
                      </a:cubicBezTo>
                      <a:cubicBezTo>
                        <a:pt x="413" y="83"/>
                        <a:pt x="415" y="89"/>
                        <a:pt x="415" y="96"/>
                      </a:cubicBezTo>
                      <a:cubicBezTo>
                        <a:pt x="415" y="109"/>
                        <a:pt x="409" y="121"/>
                        <a:pt x="400" y="129"/>
                      </a:cubicBezTo>
                      <a:cubicBezTo>
                        <a:pt x="399" y="130"/>
                        <a:pt x="398" y="130"/>
                        <a:pt x="397" y="131"/>
                      </a:cubicBezTo>
                      <a:cubicBezTo>
                        <a:pt x="397" y="131"/>
                        <a:pt x="397" y="131"/>
                        <a:pt x="396" y="131"/>
                      </a:cubicBezTo>
                      <a:cubicBezTo>
                        <a:pt x="396" y="132"/>
                        <a:pt x="395" y="132"/>
                        <a:pt x="394" y="133"/>
                      </a:cubicBezTo>
                      <a:cubicBezTo>
                        <a:pt x="394" y="133"/>
                        <a:pt x="393" y="133"/>
                        <a:pt x="393" y="134"/>
                      </a:cubicBezTo>
                      <a:cubicBezTo>
                        <a:pt x="392" y="134"/>
                        <a:pt x="392" y="134"/>
                        <a:pt x="391" y="135"/>
                      </a:cubicBezTo>
                      <a:cubicBezTo>
                        <a:pt x="390" y="135"/>
                        <a:pt x="390" y="135"/>
                        <a:pt x="389" y="136"/>
                      </a:cubicBezTo>
                      <a:cubicBezTo>
                        <a:pt x="389" y="136"/>
                        <a:pt x="388" y="136"/>
                        <a:pt x="387" y="136"/>
                      </a:cubicBezTo>
                      <a:cubicBezTo>
                        <a:pt x="387" y="137"/>
                        <a:pt x="386" y="137"/>
                        <a:pt x="385" y="137"/>
                      </a:cubicBezTo>
                      <a:cubicBezTo>
                        <a:pt x="385" y="137"/>
                        <a:pt x="384" y="138"/>
                        <a:pt x="384" y="138"/>
                      </a:cubicBezTo>
                      <a:cubicBezTo>
                        <a:pt x="383" y="138"/>
                        <a:pt x="382" y="138"/>
                        <a:pt x="381" y="138"/>
                      </a:cubicBezTo>
                      <a:cubicBezTo>
                        <a:pt x="381" y="139"/>
                        <a:pt x="380" y="139"/>
                        <a:pt x="380" y="139"/>
                      </a:cubicBezTo>
                      <a:cubicBezTo>
                        <a:pt x="379" y="139"/>
                        <a:pt x="378" y="139"/>
                        <a:pt x="377" y="139"/>
                      </a:cubicBezTo>
                      <a:cubicBezTo>
                        <a:pt x="376" y="139"/>
                        <a:pt x="376" y="139"/>
                        <a:pt x="375" y="139"/>
                      </a:cubicBezTo>
                      <a:cubicBezTo>
                        <a:pt x="374" y="140"/>
                        <a:pt x="373" y="140"/>
                        <a:pt x="371" y="140"/>
                      </a:cubicBezTo>
                      <a:cubicBezTo>
                        <a:pt x="371" y="140"/>
                        <a:pt x="371" y="140"/>
                        <a:pt x="371" y="140"/>
                      </a:cubicBezTo>
                      <a:cubicBezTo>
                        <a:pt x="370" y="140"/>
                        <a:pt x="368" y="140"/>
                        <a:pt x="367" y="139"/>
                      </a:cubicBezTo>
                      <a:cubicBezTo>
                        <a:pt x="366" y="139"/>
                        <a:pt x="366" y="139"/>
                        <a:pt x="366" y="139"/>
                      </a:cubicBezTo>
                      <a:cubicBezTo>
                        <a:pt x="365" y="139"/>
                        <a:pt x="364" y="139"/>
                        <a:pt x="363" y="139"/>
                      </a:cubicBezTo>
                      <a:cubicBezTo>
                        <a:pt x="362" y="139"/>
                        <a:pt x="362" y="139"/>
                        <a:pt x="361" y="138"/>
                      </a:cubicBezTo>
                      <a:cubicBezTo>
                        <a:pt x="360" y="138"/>
                        <a:pt x="360" y="138"/>
                        <a:pt x="359" y="138"/>
                      </a:cubicBezTo>
                      <a:cubicBezTo>
                        <a:pt x="358" y="138"/>
                        <a:pt x="358" y="137"/>
                        <a:pt x="357" y="137"/>
                      </a:cubicBezTo>
                      <a:cubicBezTo>
                        <a:pt x="356" y="137"/>
                        <a:pt x="356" y="137"/>
                        <a:pt x="355" y="136"/>
                      </a:cubicBezTo>
                      <a:cubicBezTo>
                        <a:pt x="354" y="136"/>
                        <a:pt x="354" y="136"/>
                        <a:pt x="353" y="136"/>
                      </a:cubicBezTo>
                      <a:cubicBezTo>
                        <a:pt x="353" y="135"/>
                        <a:pt x="352" y="135"/>
                        <a:pt x="351" y="135"/>
                      </a:cubicBezTo>
                      <a:cubicBezTo>
                        <a:pt x="351" y="134"/>
                        <a:pt x="350" y="134"/>
                        <a:pt x="349" y="134"/>
                      </a:cubicBezTo>
                      <a:cubicBezTo>
                        <a:pt x="349" y="133"/>
                        <a:pt x="348" y="133"/>
                        <a:pt x="348" y="133"/>
                      </a:cubicBezTo>
                      <a:cubicBezTo>
                        <a:pt x="347" y="132"/>
                        <a:pt x="347" y="132"/>
                        <a:pt x="346" y="132"/>
                      </a:cubicBezTo>
                      <a:cubicBezTo>
                        <a:pt x="346" y="131"/>
                        <a:pt x="345" y="131"/>
                        <a:pt x="345" y="131"/>
                      </a:cubicBezTo>
                      <a:cubicBezTo>
                        <a:pt x="344" y="130"/>
                        <a:pt x="343" y="130"/>
                        <a:pt x="343" y="129"/>
                      </a:cubicBezTo>
                      <a:cubicBezTo>
                        <a:pt x="333" y="121"/>
                        <a:pt x="327" y="109"/>
                        <a:pt x="327" y="96"/>
                      </a:cubicBezTo>
                      <a:cubicBezTo>
                        <a:pt x="327" y="72"/>
                        <a:pt x="347" y="52"/>
                        <a:pt x="371" y="52"/>
                      </a:cubicBezTo>
                      <a:cubicBezTo>
                        <a:pt x="378" y="52"/>
                        <a:pt x="384" y="54"/>
                        <a:pt x="390" y="56"/>
                      </a:cubicBezTo>
                      <a:cubicBezTo>
                        <a:pt x="394" y="58"/>
                        <a:pt x="398" y="57"/>
                        <a:pt x="400" y="53"/>
                      </a:cubicBezTo>
                      <a:cubicBezTo>
                        <a:pt x="402" y="49"/>
                        <a:pt x="401" y="44"/>
                        <a:pt x="397" y="42"/>
                      </a:cubicBezTo>
                      <a:cubicBezTo>
                        <a:pt x="389" y="38"/>
                        <a:pt x="380" y="36"/>
                        <a:pt x="371" y="36"/>
                      </a:cubicBezTo>
                      <a:cubicBezTo>
                        <a:pt x="338" y="36"/>
                        <a:pt x="311" y="63"/>
                        <a:pt x="311" y="96"/>
                      </a:cubicBezTo>
                      <a:cubicBezTo>
                        <a:pt x="311" y="110"/>
                        <a:pt x="316" y="122"/>
                        <a:pt x="324" y="132"/>
                      </a:cubicBezTo>
                      <a:cubicBezTo>
                        <a:pt x="317" y="136"/>
                        <a:pt x="312" y="141"/>
                        <a:pt x="307" y="147"/>
                      </a:cubicBezTo>
                      <a:moveTo>
                        <a:pt x="336" y="144"/>
                      </a:moveTo>
                      <a:cubicBezTo>
                        <a:pt x="336" y="144"/>
                        <a:pt x="336" y="144"/>
                        <a:pt x="336" y="144"/>
                      </a:cubicBezTo>
                      <a:cubicBezTo>
                        <a:pt x="337" y="145"/>
                        <a:pt x="338" y="146"/>
                        <a:pt x="339" y="146"/>
                      </a:cubicBezTo>
                      <a:cubicBezTo>
                        <a:pt x="340" y="147"/>
                        <a:pt x="340" y="147"/>
                        <a:pt x="341" y="147"/>
                      </a:cubicBezTo>
                      <a:cubicBezTo>
                        <a:pt x="341" y="148"/>
                        <a:pt x="342" y="148"/>
                        <a:pt x="343" y="149"/>
                      </a:cubicBezTo>
                      <a:cubicBezTo>
                        <a:pt x="344" y="149"/>
                        <a:pt x="345" y="149"/>
                        <a:pt x="345" y="150"/>
                      </a:cubicBezTo>
                      <a:cubicBezTo>
                        <a:pt x="347" y="150"/>
                        <a:pt x="348" y="151"/>
                        <a:pt x="350" y="152"/>
                      </a:cubicBezTo>
                      <a:cubicBezTo>
                        <a:pt x="351" y="152"/>
                        <a:pt x="352" y="152"/>
                        <a:pt x="353" y="153"/>
                      </a:cubicBezTo>
                      <a:cubicBezTo>
                        <a:pt x="353" y="153"/>
                        <a:pt x="354" y="153"/>
                        <a:pt x="355" y="153"/>
                      </a:cubicBezTo>
                      <a:cubicBezTo>
                        <a:pt x="356" y="154"/>
                        <a:pt x="357" y="154"/>
                        <a:pt x="358" y="154"/>
                      </a:cubicBezTo>
                      <a:cubicBezTo>
                        <a:pt x="359" y="154"/>
                        <a:pt x="359" y="154"/>
                        <a:pt x="360" y="155"/>
                      </a:cubicBezTo>
                      <a:cubicBezTo>
                        <a:pt x="361" y="155"/>
                        <a:pt x="363" y="155"/>
                        <a:pt x="364" y="155"/>
                      </a:cubicBezTo>
                      <a:cubicBezTo>
                        <a:pt x="364" y="155"/>
                        <a:pt x="365" y="155"/>
                        <a:pt x="366" y="155"/>
                      </a:cubicBezTo>
                      <a:cubicBezTo>
                        <a:pt x="367" y="155"/>
                        <a:pt x="369" y="156"/>
                        <a:pt x="371" y="156"/>
                      </a:cubicBezTo>
                      <a:cubicBezTo>
                        <a:pt x="371" y="156"/>
                        <a:pt x="371" y="156"/>
                        <a:pt x="371" y="156"/>
                      </a:cubicBezTo>
                      <a:cubicBezTo>
                        <a:pt x="373" y="156"/>
                        <a:pt x="375" y="155"/>
                        <a:pt x="377" y="155"/>
                      </a:cubicBezTo>
                      <a:cubicBezTo>
                        <a:pt x="377" y="155"/>
                        <a:pt x="378" y="155"/>
                        <a:pt x="379" y="155"/>
                      </a:cubicBezTo>
                      <a:cubicBezTo>
                        <a:pt x="380" y="155"/>
                        <a:pt x="381" y="155"/>
                        <a:pt x="382" y="155"/>
                      </a:cubicBezTo>
                      <a:cubicBezTo>
                        <a:pt x="383" y="154"/>
                        <a:pt x="384" y="154"/>
                        <a:pt x="384" y="154"/>
                      </a:cubicBezTo>
                      <a:cubicBezTo>
                        <a:pt x="385" y="154"/>
                        <a:pt x="386" y="154"/>
                        <a:pt x="387" y="153"/>
                      </a:cubicBezTo>
                      <a:cubicBezTo>
                        <a:pt x="388" y="153"/>
                        <a:pt x="389" y="153"/>
                        <a:pt x="390" y="153"/>
                      </a:cubicBezTo>
                      <a:cubicBezTo>
                        <a:pt x="391" y="152"/>
                        <a:pt x="391" y="152"/>
                        <a:pt x="392" y="152"/>
                      </a:cubicBezTo>
                      <a:cubicBezTo>
                        <a:pt x="394" y="151"/>
                        <a:pt x="396" y="150"/>
                        <a:pt x="398" y="149"/>
                      </a:cubicBezTo>
                      <a:cubicBezTo>
                        <a:pt x="398" y="149"/>
                        <a:pt x="398" y="149"/>
                        <a:pt x="399" y="149"/>
                      </a:cubicBezTo>
                      <a:cubicBezTo>
                        <a:pt x="400" y="148"/>
                        <a:pt x="401" y="148"/>
                        <a:pt x="402" y="147"/>
                      </a:cubicBezTo>
                      <a:cubicBezTo>
                        <a:pt x="402" y="147"/>
                        <a:pt x="403" y="147"/>
                        <a:pt x="403" y="146"/>
                      </a:cubicBezTo>
                      <a:cubicBezTo>
                        <a:pt x="404" y="146"/>
                        <a:pt x="405" y="145"/>
                        <a:pt x="406" y="144"/>
                      </a:cubicBezTo>
                      <a:cubicBezTo>
                        <a:pt x="406" y="144"/>
                        <a:pt x="406" y="144"/>
                        <a:pt x="407" y="144"/>
                      </a:cubicBezTo>
                      <a:cubicBezTo>
                        <a:pt x="412" y="146"/>
                        <a:pt x="418" y="151"/>
                        <a:pt x="423" y="157"/>
                      </a:cubicBezTo>
                      <a:cubicBezTo>
                        <a:pt x="428" y="164"/>
                        <a:pt x="431" y="173"/>
                        <a:pt x="431" y="179"/>
                      </a:cubicBezTo>
                      <a:cubicBezTo>
                        <a:pt x="431" y="199"/>
                        <a:pt x="431" y="217"/>
                        <a:pt x="431" y="217"/>
                      </a:cubicBezTo>
                      <a:cubicBezTo>
                        <a:pt x="431" y="218"/>
                        <a:pt x="431" y="219"/>
                        <a:pt x="431" y="219"/>
                      </a:cubicBezTo>
                      <a:cubicBezTo>
                        <a:pt x="431" y="219"/>
                        <a:pt x="431" y="219"/>
                        <a:pt x="431" y="219"/>
                      </a:cubicBezTo>
                      <a:cubicBezTo>
                        <a:pt x="421" y="219"/>
                        <a:pt x="421" y="219"/>
                        <a:pt x="421" y="219"/>
                      </a:cubicBezTo>
                      <a:cubicBezTo>
                        <a:pt x="421" y="179"/>
                        <a:pt x="421" y="179"/>
                        <a:pt x="421" y="179"/>
                      </a:cubicBezTo>
                      <a:cubicBezTo>
                        <a:pt x="421" y="174"/>
                        <a:pt x="418" y="171"/>
                        <a:pt x="413" y="171"/>
                      </a:cubicBezTo>
                      <a:cubicBezTo>
                        <a:pt x="409" y="171"/>
                        <a:pt x="405" y="174"/>
                        <a:pt x="405" y="179"/>
                      </a:cubicBezTo>
                      <a:cubicBezTo>
                        <a:pt x="405" y="219"/>
                        <a:pt x="405" y="219"/>
                        <a:pt x="405" y="219"/>
                      </a:cubicBezTo>
                      <a:cubicBezTo>
                        <a:pt x="337" y="219"/>
                        <a:pt x="337" y="219"/>
                        <a:pt x="337" y="219"/>
                      </a:cubicBezTo>
                      <a:cubicBezTo>
                        <a:pt x="337" y="179"/>
                        <a:pt x="337" y="179"/>
                        <a:pt x="337" y="179"/>
                      </a:cubicBezTo>
                      <a:cubicBezTo>
                        <a:pt x="337" y="174"/>
                        <a:pt x="333" y="171"/>
                        <a:pt x="329" y="171"/>
                      </a:cubicBezTo>
                      <a:cubicBezTo>
                        <a:pt x="325" y="171"/>
                        <a:pt x="321" y="174"/>
                        <a:pt x="321" y="179"/>
                      </a:cubicBezTo>
                      <a:cubicBezTo>
                        <a:pt x="321" y="219"/>
                        <a:pt x="321" y="219"/>
                        <a:pt x="321" y="219"/>
                      </a:cubicBezTo>
                      <a:cubicBezTo>
                        <a:pt x="312" y="219"/>
                        <a:pt x="312" y="219"/>
                        <a:pt x="312" y="219"/>
                      </a:cubicBezTo>
                      <a:cubicBezTo>
                        <a:pt x="312" y="219"/>
                        <a:pt x="312" y="219"/>
                        <a:pt x="311" y="219"/>
                      </a:cubicBezTo>
                      <a:cubicBezTo>
                        <a:pt x="311" y="219"/>
                        <a:pt x="311" y="218"/>
                        <a:pt x="311" y="217"/>
                      </a:cubicBezTo>
                      <a:cubicBezTo>
                        <a:pt x="311" y="179"/>
                        <a:pt x="311" y="179"/>
                        <a:pt x="311" y="179"/>
                      </a:cubicBezTo>
                      <a:cubicBezTo>
                        <a:pt x="311" y="173"/>
                        <a:pt x="314" y="164"/>
                        <a:pt x="320" y="157"/>
                      </a:cubicBezTo>
                      <a:cubicBezTo>
                        <a:pt x="324" y="151"/>
                        <a:pt x="330" y="146"/>
                        <a:pt x="336" y="144"/>
                      </a:cubicBezTo>
                      <a:moveTo>
                        <a:pt x="147" y="97"/>
                      </a:moveTo>
                      <a:cubicBezTo>
                        <a:pt x="142" y="97"/>
                        <a:pt x="139" y="100"/>
                        <a:pt x="139" y="105"/>
                      </a:cubicBezTo>
                      <a:cubicBezTo>
                        <a:pt x="139" y="109"/>
                        <a:pt x="142" y="113"/>
                        <a:pt x="147" y="113"/>
                      </a:cubicBezTo>
                      <a:cubicBezTo>
                        <a:pt x="151" y="113"/>
                        <a:pt x="155" y="109"/>
                        <a:pt x="155" y="105"/>
                      </a:cubicBezTo>
                      <a:cubicBezTo>
                        <a:pt x="155" y="100"/>
                        <a:pt x="151" y="97"/>
                        <a:pt x="147" y="97"/>
                      </a:cubicBezTo>
                      <a:moveTo>
                        <a:pt x="147" y="60"/>
                      </a:moveTo>
                      <a:cubicBezTo>
                        <a:pt x="142" y="60"/>
                        <a:pt x="139" y="64"/>
                        <a:pt x="139" y="69"/>
                      </a:cubicBezTo>
                      <a:cubicBezTo>
                        <a:pt x="139" y="73"/>
                        <a:pt x="142" y="77"/>
                        <a:pt x="147" y="77"/>
                      </a:cubicBezTo>
                      <a:cubicBezTo>
                        <a:pt x="151" y="77"/>
                        <a:pt x="155" y="73"/>
                        <a:pt x="155" y="69"/>
                      </a:cubicBezTo>
                      <a:cubicBezTo>
                        <a:pt x="155" y="64"/>
                        <a:pt x="151" y="60"/>
                        <a:pt x="147" y="60"/>
                      </a:cubicBezTo>
                      <a:moveTo>
                        <a:pt x="147" y="133"/>
                      </a:moveTo>
                      <a:cubicBezTo>
                        <a:pt x="142" y="133"/>
                        <a:pt x="139" y="137"/>
                        <a:pt x="139" y="141"/>
                      </a:cubicBezTo>
                      <a:cubicBezTo>
                        <a:pt x="139" y="146"/>
                        <a:pt x="142" y="149"/>
                        <a:pt x="147" y="149"/>
                      </a:cubicBezTo>
                      <a:cubicBezTo>
                        <a:pt x="151" y="149"/>
                        <a:pt x="155" y="146"/>
                        <a:pt x="155" y="141"/>
                      </a:cubicBezTo>
                      <a:cubicBezTo>
                        <a:pt x="155" y="137"/>
                        <a:pt x="151" y="133"/>
                        <a:pt x="147" y="133"/>
                      </a:cubicBezTo>
                      <a:moveTo>
                        <a:pt x="261" y="98"/>
                      </a:moveTo>
                      <a:cubicBezTo>
                        <a:pt x="177" y="98"/>
                        <a:pt x="177" y="98"/>
                        <a:pt x="177" y="98"/>
                      </a:cubicBezTo>
                      <a:cubicBezTo>
                        <a:pt x="173" y="98"/>
                        <a:pt x="169" y="102"/>
                        <a:pt x="169" y="106"/>
                      </a:cubicBezTo>
                      <a:cubicBezTo>
                        <a:pt x="169" y="111"/>
                        <a:pt x="173" y="114"/>
                        <a:pt x="177" y="114"/>
                      </a:cubicBezTo>
                      <a:cubicBezTo>
                        <a:pt x="261" y="114"/>
                        <a:pt x="261" y="114"/>
                        <a:pt x="261" y="114"/>
                      </a:cubicBezTo>
                      <a:cubicBezTo>
                        <a:pt x="265" y="114"/>
                        <a:pt x="269" y="111"/>
                        <a:pt x="269" y="106"/>
                      </a:cubicBezTo>
                      <a:cubicBezTo>
                        <a:pt x="269" y="102"/>
                        <a:pt x="265" y="98"/>
                        <a:pt x="261" y="98"/>
                      </a:cubicBezTo>
                      <a:moveTo>
                        <a:pt x="261" y="133"/>
                      </a:moveTo>
                      <a:cubicBezTo>
                        <a:pt x="177" y="133"/>
                        <a:pt x="177" y="133"/>
                        <a:pt x="177" y="133"/>
                      </a:cubicBezTo>
                      <a:cubicBezTo>
                        <a:pt x="173" y="133"/>
                        <a:pt x="169" y="137"/>
                        <a:pt x="169" y="141"/>
                      </a:cubicBezTo>
                      <a:cubicBezTo>
                        <a:pt x="169" y="146"/>
                        <a:pt x="173" y="149"/>
                        <a:pt x="177" y="149"/>
                      </a:cubicBezTo>
                      <a:cubicBezTo>
                        <a:pt x="261" y="149"/>
                        <a:pt x="261" y="149"/>
                        <a:pt x="261" y="149"/>
                      </a:cubicBezTo>
                      <a:cubicBezTo>
                        <a:pt x="265" y="149"/>
                        <a:pt x="269" y="146"/>
                        <a:pt x="269" y="141"/>
                      </a:cubicBezTo>
                      <a:cubicBezTo>
                        <a:pt x="269" y="137"/>
                        <a:pt x="265" y="133"/>
                        <a:pt x="261" y="133"/>
                      </a:cubicBezTo>
                      <a:moveTo>
                        <a:pt x="261" y="61"/>
                      </a:moveTo>
                      <a:cubicBezTo>
                        <a:pt x="177" y="61"/>
                        <a:pt x="177" y="61"/>
                        <a:pt x="177" y="61"/>
                      </a:cubicBezTo>
                      <a:cubicBezTo>
                        <a:pt x="173" y="61"/>
                        <a:pt x="169" y="64"/>
                        <a:pt x="169" y="69"/>
                      </a:cubicBezTo>
                      <a:cubicBezTo>
                        <a:pt x="169" y="73"/>
                        <a:pt x="173" y="77"/>
                        <a:pt x="177" y="77"/>
                      </a:cubicBezTo>
                      <a:cubicBezTo>
                        <a:pt x="261" y="77"/>
                        <a:pt x="261" y="77"/>
                        <a:pt x="261" y="77"/>
                      </a:cubicBezTo>
                      <a:cubicBezTo>
                        <a:pt x="265" y="77"/>
                        <a:pt x="269" y="73"/>
                        <a:pt x="269" y="69"/>
                      </a:cubicBezTo>
                      <a:cubicBezTo>
                        <a:pt x="269" y="64"/>
                        <a:pt x="265" y="61"/>
                        <a:pt x="261" y="61"/>
                      </a:cubicBezTo>
                    </a:path>
                  </a:pathLst>
                </a:custGeom>
                <a:solidFill>
                  <a:srgbClr val="58585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122957" name="Group 77"/>
                <p:cNvGrpSpPr>
                  <a:grpSpLocks/>
                </p:cNvGrpSpPr>
                <p:nvPr/>
              </p:nvGrpSpPr>
              <p:grpSpPr bwMode="auto">
                <a:xfrm>
                  <a:off x="5571" y="1329"/>
                  <a:ext cx="1416" cy="912"/>
                  <a:chOff x="4152" y="1248"/>
                  <a:chExt cx="1416" cy="912"/>
                </a:xfrm>
              </p:grpSpPr>
              <p:sp>
                <p:nvSpPr>
                  <p:cNvPr id="27" name="Rounded Rectangle 26"/>
                  <p:cNvSpPr>
                    <a:spLocks noChangeArrowheads="1"/>
                  </p:cNvSpPr>
                  <p:nvPr/>
                </p:nvSpPr>
                <p:spPr bwMode="auto">
                  <a:xfrm>
                    <a:off x="4152" y="1248"/>
                    <a:ext cx="1416" cy="912"/>
                  </a:xfrm>
                  <a:prstGeom prst="roundRect">
                    <a:avLst>
                      <a:gd name="adj" fmla="val 4225"/>
                    </a:avLst>
                  </a:prstGeom>
                  <a:solidFill>
                    <a:srgbClr val="FFFFFF"/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style>
                  <a:lnRef idx="2">
                    <a:schemeClr val="accent5"/>
                  </a:lnRef>
                  <a:fillRef idx="1">
                    <a:schemeClr val="lt1"/>
                  </a:fillRef>
                  <a:effectRef idx="0">
                    <a:schemeClr val="accent5"/>
                  </a:effectRef>
                  <a:fontRef idx="minor">
                    <a:schemeClr val="dk1"/>
                  </a:fontRef>
                </p:style>
                <p:txBody>
                  <a:bodyPr lIns="36000" tIns="0" rIns="36000" bIns="0" anchor="b"/>
                  <a:lstStyle/>
                  <a:p>
                    <a:pPr algn="ctr">
                      <a:spcBef>
                        <a:spcPct val="50000"/>
                      </a:spcBef>
                      <a:defRPr/>
                    </a:pPr>
                    <a:r>
                      <a:rPr lang="en-AU" sz="1050" b="1" i="1" dirty="0">
                        <a:solidFill>
                          <a:srgbClr val="000000"/>
                        </a:solidFill>
                      </a:rPr>
                      <a:t>Enterprise &amp; OTT Services</a:t>
                    </a:r>
                  </a:p>
                </p:txBody>
              </p:sp>
              <p:sp>
                <p:nvSpPr>
                  <p:cNvPr id="28" name="Rounded Rectangle 27"/>
                  <p:cNvSpPr/>
                  <p:nvPr/>
                </p:nvSpPr>
                <p:spPr bwMode="auto">
                  <a:xfrm>
                    <a:off x="5088" y="1331"/>
                    <a:ext cx="384" cy="289"/>
                  </a:xfrm>
                  <a:prstGeom prst="roundRect">
                    <a:avLst>
                      <a:gd name="adj" fmla="val 11420"/>
                    </a:avLst>
                  </a:prstGeom>
                  <a:solidFill>
                    <a:srgbClr val="FFFFFF"/>
                  </a:solidFill>
                  <a:ln w="25400" cap="flat" cmpd="sng" algn="ctr">
                    <a:solidFill>
                      <a:srgbClr val="00285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wrap="none" lIns="72000" rIns="72000" bIns="0" anchor="b"/>
                  <a:lstStyle/>
                  <a:p>
                    <a:pPr algn="ctr">
                      <a:spcBef>
                        <a:spcPct val="50000"/>
                      </a:spcBef>
                      <a:defRPr/>
                    </a:pPr>
                    <a:r>
                      <a:rPr lang="en-US" sz="900" b="1" i="1" dirty="0">
                        <a:solidFill>
                          <a:srgbClr val="58585A"/>
                        </a:solidFill>
                      </a:rPr>
                      <a:t>Access</a:t>
                    </a:r>
                  </a:p>
                </p:txBody>
              </p:sp>
              <p:sp>
                <p:nvSpPr>
                  <p:cNvPr id="122960" name="Freeform 3"/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5089" y="1371"/>
                    <a:ext cx="144" cy="145"/>
                  </a:xfrm>
                  <a:custGeom>
                    <a:avLst/>
                    <a:gdLst>
                      <a:gd name="T0" fmla="*/ 2147483647 w 283"/>
                      <a:gd name="T1" fmla="*/ 2147483647 h 345"/>
                      <a:gd name="T2" fmla="*/ 2147483647 w 283"/>
                      <a:gd name="T3" fmla="*/ 2147483647 h 345"/>
                      <a:gd name="T4" fmla="*/ 2147483647 w 283"/>
                      <a:gd name="T5" fmla="*/ 2147483647 h 345"/>
                      <a:gd name="T6" fmla="*/ 2147483647 w 283"/>
                      <a:gd name="T7" fmla="*/ 2147483647 h 345"/>
                      <a:gd name="T8" fmla="*/ 2147483647 w 283"/>
                      <a:gd name="T9" fmla="*/ 2147483647 h 345"/>
                      <a:gd name="T10" fmla="*/ 2147483647 w 283"/>
                      <a:gd name="T11" fmla="*/ 2147483647 h 345"/>
                      <a:gd name="T12" fmla="*/ 2147483647 w 283"/>
                      <a:gd name="T13" fmla="*/ 2147483647 h 345"/>
                      <a:gd name="T14" fmla="*/ 2147483647 w 283"/>
                      <a:gd name="T15" fmla="*/ 2147483647 h 345"/>
                      <a:gd name="T16" fmla="*/ 2147483647 w 283"/>
                      <a:gd name="T17" fmla="*/ 0 h 345"/>
                      <a:gd name="T18" fmla="*/ 2147483647 w 283"/>
                      <a:gd name="T19" fmla="*/ 2147483647 h 345"/>
                      <a:gd name="T20" fmla="*/ 2147483647 w 283"/>
                      <a:gd name="T21" fmla="*/ 2147483647 h 345"/>
                      <a:gd name="T22" fmla="*/ 2147483647 w 283"/>
                      <a:gd name="T23" fmla="*/ 2147483647 h 345"/>
                      <a:gd name="T24" fmla="*/ 2147483647 w 283"/>
                      <a:gd name="T25" fmla="*/ 2147483647 h 345"/>
                      <a:gd name="T26" fmla="*/ 2147483647 w 283"/>
                      <a:gd name="T27" fmla="*/ 2147483647 h 345"/>
                      <a:gd name="T28" fmla="*/ 2147483647 w 283"/>
                      <a:gd name="T29" fmla="*/ 2147483647 h 345"/>
                      <a:gd name="T30" fmla="*/ 2147483647 w 283"/>
                      <a:gd name="T31" fmla="*/ 2147483647 h 345"/>
                      <a:gd name="T32" fmla="*/ 2147483647 w 283"/>
                      <a:gd name="T33" fmla="*/ 2147483647 h 345"/>
                      <a:gd name="T34" fmla="*/ 2147483647 w 283"/>
                      <a:gd name="T35" fmla="*/ 2147483647 h 345"/>
                      <a:gd name="T36" fmla="*/ 2147483647 w 283"/>
                      <a:gd name="T37" fmla="*/ 2147483647 h 345"/>
                      <a:gd name="T38" fmla="*/ 2147483647 w 283"/>
                      <a:gd name="T39" fmla="*/ 2147483647 h 345"/>
                      <a:gd name="T40" fmla="*/ 2147483647 w 283"/>
                      <a:gd name="T41" fmla="*/ 2147483647 h 345"/>
                      <a:gd name="T42" fmla="*/ 2147483647 w 283"/>
                      <a:gd name="T43" fmla="*/ 2147483647 h 345"/>
                      <a:gd name="T44" fmla="*/ 2147483647 w 283"/>
                      <a:gd name="T45" fmla="*/ 2147483647 h 345"/>
                      <a:gd name="T46" fmla="*/ 2147483647 w 283"/>
                      <a:gd name="T47" fmla="*/ 2147483647 h 345"/>
                      <a:gd name="T48" fmla="*/ 2147483647 w 283"/>
                      <a:gd name="T49" fmla="*/ 2147483647 h 345"/>
                      <a:gd name="T50" fmla="*/ 2147483647 w 283"/>
                      <a:gd name="T51" fmla="*/ 2147483647 h 345"/>
                      <a:gd name="T52" fmla="*/ 2147483647 w 283"/>
                      <a:gd name="T53" fmla="*/ 2147483647 h 345"/>
                      <a:gd name="T54" fmla="*/ 2147483647 w 283"/>
                      <a:gd name="T55" fmla="*/ 2147483647 h 345"/>
                      <a:gd name="T56" fmla="*/ 2147483647 w 283"/>
                      <a:gd name="T57" fmla="*/ 2147483647 h 345"/>
                      <a:gd name="T58" fmla="*/ 2147483647 w 283"/>
                      <a:gd name="T59" fmla="*/ 2147483647 h 345"/>
                      <a:gd name="T60" fmla="*/ 0 w 283"/>
                      <a:gd name="T61" fmla="*/ 2147483647 h 345"/>
                      <a:gd name="T62" fmla="*/ 2147483647 w 283"/>
                      <a:gd name="T63" fmla="*/ 2147483647 h 345"/>
                      <a:gd name="T64" fmla="*/ 2147483647 w 283"/>
                      <a:gd name="T65" fmla="*/ 2147483647 h 345"/>
                      <a:gd name="T66" fmla="*/ 2147483647 w 283"/>
                      <a:gd name="T67" fmla="*/ 2147483647 h 345"/>
                      <a:gd name="T68" fmla="*/ 2147483647 w 283"/>
                      <a:gd name="T69" fmla="*/ 2147483647 h 345"/>
                      <a:gd name="T70" fmla="*/ 2147483647 w 283"/>
                      <a:gd name="T71" fmla="*/ 2147483647 h 345"/>
                      <a:gd name="T72" fmla="*/ 2147483647 w 283"/>
                      <a:gd name="T73" fmla="*/ 2147483647 h 345"/>
                      <a:gd name="T74" fmla="*/ 2147483647 w 283"/>
                      <a:gd name="T75" fmla="*/ 2147483647 h 345"/>
                      <a:gd name="T76" fmla="*/ 2147483647 w 283"/>
                      <a:gd name="T77" fmla="*/ 2147483647 h 345"/>
                      <a:gd name="T78" fmla="*/ 2147483647 w 283"/>
                      <a:gd name="T79" fmla="*/ 2147483647 h 345"/>
                      <a:gd name="T80" fmla="*/ 2147483647 w 283"/>
                      <a:gd name="T81" fmla="*/ 2147483647 h 345"/>
                      <a:gd name="T82" fmla="*/ 2147483647 w 283"/>
                      <a:gd name="T83" fmla="*/ 2147483647 h 345"/>
                      <a:gd name="T84" fmla="*/ 2147483647 w 283"/>
                      <a:gd name="T85" fmla="*/ 2147483647 h 345"/>
                      <a:gd name="T86" fmla="*/ 2147483647 w 283"/>
                      <a:gd name="T87" fmla="*/ 2147483647 h 345"/>
                      <a:gd name="T88" fmla="*/ 2147483647 w 283"/>
                      <a:gd name="T89" fmla="*/ 2147483647 h 345"/>
                      <a:gd name="T90" fmla="*/ 2147483647 w 283"/>
                      <a:gd name="T91" fmla="*/ 2147483647 h 345"/>
                      <a:gd name="T92" fmla="*/ 2147483647 w 283"/>
                      <a:gd name="T93" fmla="*/ 2147483647 h 345"/>
                      <a:gd name="T94" fmla="*/ 2147483647 w 283"/>
                      <a:gd name="T95" fmla="*/ 2147483647 h 345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283"/>
                      <a:gd name="T145" fmla="*/ 0 h 345"/>
                      <a:gd name="T146" fmla="*/ 283 w 283"/>
                      <a:gd name="T147" fmla="*/ 345 h 345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283" h="345">
                        <a:moveTo>
                          <a:pt x="238" y="94"/>
                        </a:moveTo>
                        <a:cubicBezTo>
                          <a:pt x="240" y="94"/>
                          <a:pt x="242" y="93"/>
                          <a:pt x="243" y="92"/>
                        </a:cubicBezTo>
                        <a:cubicBezTo>
                          <a:pt x="246" y="89"/>
                          <a:pt x="246" y="84"/>
                          <a:pt x="243" y="80"/>
                        </a:cubicBezTo>
                        <a:cubicBezTo>
                          <a:pt x="220" y="58"/>
                          <a:pt x="191" y="46"/>
                          <a:pt x="161" y="46"/>
                        </a:cubicBezTo>
                        <a:cubicBezTo>
                          <a:pt x="131" y="46"/>
                          <a:pt x="101" y="58"/>
                          <a:pt x="78" y="80"/>
                        </a:cubicBezTo>
                        <a:cubicBezTo>
                          <a:pt x="75" y="83"/>
                          <a:pt x="75" y="89"/>
                          <a:pt x="78" y="92"/>
                        </a:cubicBezTo>
                        <a:cubicBezTo>
                          <a:pt x="82" y="95"/>
                          <a:pt x="87" y="95"/>
                          <a:pt x="90" y="92"/>
                        </a:cubicBezTo>
                        <a:cubicBezTo>
                          <a:pt x="109" y="72"/>
                          <a:pt x="135" y="62"/>
                          <a:pt x="161" y="62"/>
                        </a:cubicBezTo>
                        <a:cubicBezTo>
                          <a:pt x="187" y="62"/>
                          <a:pt x="212" y="72"/>
                          <a:pt x="232" y="92"/>
                        </a:cubicBezTo>
                        <a:cubicBezTo>
                          <a:pt x="233" y="93"/>
                          <a:pt x="235" y="94"/>
                          <a:pt x="238" y="94"/>
                        </a:cubicBezTo>
                        <a:close/>
                        <a:moveTo>
                          <a:pt x="57" y="59"/>
                        </a:moveTo>
                        <a:cubicBezTo>
                          <a:pt x="86" y="30"/>
                          <a:pt x="123" y="16"/>
                          <a:pt x="161" y="16"/>
                        </a:cubicBezTo>
                        <a:cubicBezTo>
                          <a:pt x="198" y="16"/>
                          <a:pt x="236" y="30"/>
                          <a:pt x="265" y="59"/>
                        </a:cubicBezTo>
                        <a:cubicBezTo>
                          <a:pt x="266" y="60"/>
                          <a:pt x="268" y="61"/>
                          <a:pt x="270" y="61"/>
                        </a:cubicBezTo>
                        <a:cubicBezTo>
                          <a:pt x="272" y="61"/>
                          <a:pt x="274" y="60"/>
                          <a:pt x="276" y="59"/>
                        </a:cubicBezTo>
                        <a:cubicBezTo>
                          <a:pt x="279" y="56"/>
                          <a:pt x="279" y="51"/>
                          <a:pt x="276" y="48"/>
                        </a:cubicBezTo>
                        <a:cubicBezTo>
                          <a:pt x="276" y="48"/>
                          <a:pt x="276" y="48"/>
                          <a:pt x="276" y="48"/>
                        </a:cubicBezTo>
                        <a:cubicBezTo>
                          <a:pt x="244" y="16"/>
                          <a:pt x="202" y="0"/>
                          <a:pt x="161" y="0"/>
                        </a:cubicBezTo>
                        <a:cubicBezTo>
                          <a:pt x="119" y="0"/>
                          <a:pt x="77" y="16"/>
                          <a:pt x="46" y="48"/>
                        </a:cubicBezTo>
                        <a:cubicBezTo>
                          <a:pt x="42" y="51"/>
                          <a:pt x="42" y="56"/>
                          <a:pt x="46" y="59"/>
                        </a:cubicBezTo>
                        <a:cubicBezTo>
                          <a:pt x="49" y="62"/>
                          <a:pt x="54" y="62"/>
                          <a:pt x="57" y="59"/>
                        </a:cubicBezTo>
                        <a:close/>
                        <a:moveTo>
                          <a:pt x="205" y="127"/>
                        </a:moveTo>
                        <a:cubicBezTo>
                          <a:pt x="207" y="127"/>
                          <a:pt x="209" y="126"/>
                          <a:pt x="210" y="125"/>
                        </a:cubicBezTo>
                        <a:cubicBezTo>
                          <a:pt x="213" y="121"/>
                          <a:pt x="213" y="116"/>
                          <a:pt x="210" y="113"/>
                        </a:cubicBezTo>
                        <a:cubicBezTo>
                          <a:pt x="197" y="100"/>
                          <a:pt x="179" y="93"/>
                          <a:pt x="161" y="93"/>
                        </a:cubicBezTo>
                        <a:cubicBezTo>
                          <a:pt x="143" y="93"/>
                          <a:pt x="125" y="100"/>
                          <a:pt x="111" y="113"/>
                        </a:cubicBezTo>
                        <a:cubicBezTo>
                          <a:pt x="108" y="116"/>
                          <a:pt x="108" y="121"/>
                          <a:pt x="111" y="125"/>
                        </a:cubicBezTo>
                        <a:cubicBezTo>
                          <a:pt x="114" y="128"/>
                          <a:pt x="119" y="128"/>
                          <a:pt x="123" y="125"/>
                        </a:cubicBezTo>
                        <a:cubicBezTo>
                          <a:pt x="133" y="114"/>
                          <a:pt x="147" y="109"/>
                          <a:pt x="161" y="109"/>
                        </a:cubicBezTo>
                        <a:cubicBezTo>
                          <a:pt x="175" y="109"/>
                          <a:pt x="188" y="114"/>
                          <a:pt x="199" y="125"/>
                        </a:cubicBezTo>
                        <a:cubicBezTo>
                          <a:pt x="201" y="126"/>
                          <a:pt x="203" y="127"/>
                          <a:pt x="205" y="127"/>
                        </a:cubicBezTo>
                        <a:close/>
                        <a:moveTo>
                          <a:pt x="140" y="150"/>
                        </a:moveTo>
                        <a:cubicBezTo>
                          <a:pt x="129" y="162"/>
                          <a:pt x="129" y="180"/>
                          <a:pt x="140" y="191"/>
                        </a:cubicBezTo>
                        <a:cubicBezTo>
                          <a:pt x="152" y="203"/>
                          <a:pt x="170" y="203"/>
                          <a:pt x="181" y="191"/>
                        </a:cubicBezTo>
                        <a:cubicBezTo>
                          <a:pt x="192" y="180"/>
                          <a:pt x="192" y="162"/>
                          <a:pt x="181" y="150"/>
                        </a:cubicBezTo>
                        <a:cubicBezTo>
                          <a:pt x="170" y="139"/>
                          <a:pt x="152" y="139"/>
                          <a:pt x="140" y="150"/>
                        </a:cubicBezTo>
                        <a:close/>
                        <a:moveTo>
                          <a:pt x="242" y="269"/>
                        </a:moveTo>
                        <a:cubicBezTo>
                          <a:pt x="282" y="269"/>
                          <a:pt x="282" y="269"/>
                          <a:pt x="282" y="269"/>
                        </a:cubicBezTo>
                        <a:cubicBezTo>
                          <a:pt x="282" y="269"/>
                          <a:pt x="282" y="269"/>
                          <a:pt x="283" y="269"/>
                        </a:cubicBezTo>
                        <a:cubicBezTo>
                          <a:pt x="283" y="267"/>
                          <a:pt x="283" y="267"/>
                          <a:pt x="283" y="267"/>
                        </a:cubicBezTo>
                        <a:cubicBezTo>
                          <a:pt x="283" y="259"/>
                          <a:pt x="276" y="252"/>
                          <a:pt x="268" y="252"/>
                        </a:cubicBezTo>
                        <a:cubicBezTo>
                          <a:pt x="144" y="252"/>
                          <a:pt x="144" y="252"/>
                          <a:pt x="144" y="252"/>
                        </a:cubicBezTo>
                        <a:cubicBezTo>
                          <a:pt x="138" y="252"/>
                          <a:pt x="132" y="256"/>
                          <a:pt x="130" y="262"/>
                        </a:cubicBezTo>
                        <a:cubicBezTo>
                          <a:pt x="115" y="257"/>
                          <a:pt x="102" y="248"/>
                          <a:pt x="92" y="238"/>
                        </a:cubicBezTo>
                        <a:cubicBezTo>
                          <a:pt x="73" y="219"/>
                          <a:pt x="62" y="194"/>
                          <a:pt x="62" y="167"/>
                        </a:cubicBezTo>
                        <a:cubicBezTo>
                          <a:pt x="62" y="156"/>
                          <a:pt x="64" y="145"/>
                          <a:pt x="67" y="137"/>
                        </a:cubicBezTo>
                        <a:cubicBezTo>
                          <a:pt x="68" y="133"/>
                          <a:pt x="69" y="130"/>
                          <a:pt x="70" y="128"/>
                        </a:cubicBezTo>
                        <a:cubicBezTo>
                          <a:pt x="71" y="126"/>
                          <a:pt x="71" y="125"/>
                          <a:pt x="71" y="125"/>
                        </a:cubicBezTo>
                        <a:cubicBezTo>
                          <a:pt x="73" y="121"/>
                          <a:pt x="71" y="116"/>
                          <a:pt x="67" y="114"/>
                        </a:cubicBezTo>
                        <a:cubicBezTo>
                          <a:pt x="63" y="112"/>
                          <a:pt x="59" y="114"/>
                          <a:pt x="57" y="118"/>
                        </a:cubicBezTo>
                        <a:cubicBezTo>
                          <a:pt x="57" y="119"/>
                          <a:pt x="46" y="140"/>
                          <a:pt x="46" y="167"/>
                        </a:cubicBezTo>
                        <a:cubicBezTo>
                          <a:pt x="46" y="219"/>
                          <a:pt x="81" y="264"/>
                          <a:pt x="129" y="278"/>
                        </a:cubicBezTo>
                        <a:cubicBezTo>
                          <a:pt x="129" y="310"/>
                          <a:pt x="129" y="310"/>
                          <a:pt x="129" y="310"/>
                        </a:cubicBezTo>
                        <a:cubicBezTo>
                          <a:pt x="67" y="296"/>
                          <a:pt x="20" y="243"/>
                          <a:pt x="16" y="178"/>
                        </a:cubicBezTo>
                        <a:cubicBezTo>
                          <a:pt x="16" y="178"/>
                          <a:pt x="16" y="178"/>
                          <a:pt x="16" y="178"/>
                        </a:cubicBezTo>
                        <a:cubicBezTo>
                          <a:pt x="16" y="169"/>
                          <a:pt x="16" y="169"/>
                          <a:pt x="16" y="169"/>
                        </a:cubicBezTo>
                        <a:cubicBezTo>
                          <a:pt x="16" y="169"/>
                          <a:pt x="16" y="169"/>
                          <a:pt x="16" y="169"/>
                        </a:cubicBezTo>
                        <a:cubicBezTo>
                          <a:pt x="16" y="166"/>
                          <a:pt x="16" y="125"/>
                          <a:pt x="30" y="101"/>
                        </a:cubicBezTo>
                        <a:cubicBezTo>
                          <a:pt x="32" y="97"/>
                          <a:pt x="30" y="93"/>
                          <a:pt x="26" y="90"/>
                        </a:cubicBezTo>
                        <a:cubicBezTo>
                          <a:pt x="23" y="88"/>
                          <a:pt x="18" y="90"/>
                          <a:pt x="16" y="94"/>
                        </a:cubicBezTo>
                        <a:cubicBezTo>
                          <a:pt x="0" y="123"/>
                          <a:pt x="0" y="165"/>
                          <a:pt x="0" y="169"/>
                        </a:cubicBezTo>
                        <a:cubicBezTo>
                          <a:pt x="0" y="169"/>
                          <a:pt x="0" y="169"/>
                          <a:pt x="0" y="169"/>
                        </a:cubicBezTo>
                        <a:cubicBezTo>
                          <a:pt x="0" y="169"/>
                          <a:pt x="0" y="170"/>
                          <a:pt x="0" y="170"/>
                        </a:cubicBezTo>
                        <a:cubicBezTo>
                          <a:pt x="0" y="214"/>
                          <a:pt x="18" y="255"/>
                          <a:pt x="48" y="283"/>
                        </a:cubicBezTo>
                        <a:cubicBezTo>
                          <a:pt x="69" y="305"/>
                          <a:pt x="98" y="320"/>
                          <a:pt x="129" y="326"/>
                        </a:cubicBezTo>
                        <a:cubicBezTo>
                          <a:pt x="129" y="330"/>
                          <a:pt x="129" y="330"/>
                          <a:pt x="129" y="330"/>
                        </a:cubicBezTo>
                        <a:cubicBezTo>
                          <a:pt x="129" y="338"/>
                          <a:pt x="136" y="345"/>
                          <a:pt x="144" y="345"/>
                        </a:cubicBezTo>
                        <a:cubicBezTo>
                          <a:pt x="268" y="345"/>
                          <a:pt x="268" y="345"/>
                          <a:pt x="268" y="345"/>
                        </a:cubicBezTo>
                        <a:cubicBezTo>
                          <a:pt x="276" y="345"/>
                          <a:pt x="283" y="338"/>
                          <a:pt x="283" y="330"/>
                        </a:cubicBezTo>
                        <a:cubicBezTo>
                          <a:pt x="283" y="328"/>
                          <a:pt x="283" y="328"/>
                          <a:pt x="283" y="328"/>
                        </a:cubicBezTo>
                        <a:cubicBezTo>
                          <a:pt x="282" y="328"/>
                          <a:pt x="282" y="328"/>
                          <a:pt x="282" y="328"/>
                        </a:cubicBezTo>
                        <a:cubicBezTo>
                          <a:pt x="242" y="328"/>
                          <a:pt x="242" y="328"/>
                          <a:pt x="242" y="328"/>
                        </a:cubicBezTo>
                        <a:cubicBezTo>
                          <a:pt x="239" y="328"/>
                          <a:pt x="236" y="325"/>
                          <a:pt x="236" y="322"/>
                        </a:cubicBezTo>
                        <a:cubicBezTo>
                          <a:pt x="236" y="318"/>
                          <a:pt x="239" y="316"/>
                          <a:pt x="242" y="316"/>
                        </a:cubicBezTo>
                        <a:cubicBezTo>
                          <a:pt x="282" y="316"/>
                          <a:pt x="282" y="316"/>
                          <a:pt x="282" y="316"/>
                        </a:cubicBezTo>
                        <a:cubicBezTo>
                          <a:pt x="282" y="316"/>
                          <a:pt x="282" y="316"/>
                          <a:pt x="283" y="316"/>
                        </a:cubicBezTo>
                        <a:cubicBezTo>
                          <a:pt x="283" y="304"/>
                          <a:pt x="283" y="304"/>
                          <a:pt x="283" y="304"/>
                        </a:cubicBezTo>
                        <a:cubicBezTo>
                          <a:pt x="282" y="304"/>
                          <a:pt x="282" y="304"/>
                          <a:pt x="282" y="304"/>
                        </a:cubicBezTo>
                        <a:cubicBezTo>
                          <a:pt x="242" y="304"/>
                          <a:pt x="242" y="304"/>
                          <a:pt x="242" y="304"/>
                        </a:cubicBezTo>
                        <a:cubicBezTo>
                          <a:pt x="239" y="304"/>
                          <a:pt x="236" y="302"/>
                          <a:pt x="236" y="298"/>
                        </a:cubicBezTo>
                        <a:cubicBezTo>
                          <a:pt x="236" y="295"/>
                          <a:pt x="239" y="292"/>
                          <a:pt x="242" y="292"/>
                        </a:cubicBezTo>
                        <a:cubicBezTo>
                          <a:pt x="282" y="292"/>
                          <a:pt x="282" y="292"/>
                          <a:pt x="282" y="292"/>
                        </a:cubicBezTo>
                        <a:cubicBezTo>
                          <a:pt x="282" y="292"/>
                          <a:pt x="282" y="293"/>
                          <a:pt x="283" y="293"/>
                        </a:cubicBezTo>
                        <a:cubicBezTo>
                          <a:pt x="283" y="281"/>
                          <a:pt x="283" y="281"/>
                          <a:pt x="283" y="281"/>
                        </a:cubicBezTo>
                        <a:cubicBezTo>
                          <a:pt x="282" y="281"/>
                          <a:pt x="282" y="281"/>
                          <a:pt x="282" y="281"/>
                        </a:cubicBezTo>
                        <a:cubicBezTo>
                          <a:pt x="242" y="281"/>
                          <a:pt x="242" y="281"/>
                          <a:pt x="242" y="281"/>
                        </a:cubicBezTo>
                        <a:cubicBezTo>
                          <a:pt x="239" y="281"/>
                          <a:pt x="236" y="279"/>
                          <a:pt x="236" y="275"/>
                        </a:cubicBezTo>
                        <a:cubicBezTo>
                          <a:pt x="236" y="272"/>
                          <a:pt x="239" y="269"/>
                          <a:pt x="242" y="269"/>
                        </a:cubicBezTo>
                        <a:close/>
                        <a:moveTo>
                          <a:pt x="186" y="316"/>
                        </a:moveTo>
                        <a:cubicBezTo>
                          <a:pt x="186" y="320"/>
                          <a:pt x="182" y="324"/>
                          <a:pt x="178" y="324"/>
                        </a:cubicBezTo>
                        <a:cubicBezTo>
                          <a:pt x="149" y="324"/>
                          <a:pt x="149" y="324"/>
                          <a:pt x="149" y="324"/>
                        </a:cubicBezTo>
                        <a:cubicBezTo>
                          <a:pt x="144" y="324"/>
                          <a:pt x="140" y="320"/>
                          <a:pt x="140" y="316"/>
                        </a:cubicBezTo>
                        <a:cubicBezTo>
                          <a:pt x="140" y="281"/>
                          <a:pt x="140" y="281"/>
                          <a:pt x="140" y="281"/>
                        </a:cubicBezTo>
                        <a:cubicBezTo>
                          <a:pt x="140" y="277"/>
                          <a:pt x="144" y="273"/>
                          <a:pt x="149" y="273"/>
                        </a:cubicBezTo>
                        <a:cubicBezTo>
                          <a:pt x="178" y="273"/>
                          <a:pt x="178" y="273"/>
                          <a:pt x="178" y="273"/>
                        </a:cubicBezTo>
                        <a:cubicBezTo>
                          <a:pt x="182" y="273"/>
                          <a:pt x="186" y="277"/>
                          <a:pt x="186" y="281"/>
                        </a:cubicBezTo>
                        <a:lnTo>
                          <a:pt x="186" y="316"/>
                        </a:lnTo>
                        <a:close/>
                      </a:path>
                    </a:pathLst>
                  </a:custGeom>
                  <a:solidFill>
                    <a:srgbClr val="58585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22961" name="Freeform 3"/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5250" y="1372"/>
                    <a:ext cx="203" cy="148"/>
                  </a:xfrm>
                  <a:custGeom>
                    <a:avLst/>
                    <a:gdLst>
                      <a:gd name="T0" fmla="*/ 2147483647 w 522"/>
                      <a:gd name="T1" fmla="*/ 2147483647 h 399"/>
                      <a:gd name="T2" fmla="*/ 2147483647 w 522"/>
                      <a:gd name="T3" fmla="*/ 2147483647 h 399"/>
                      <a:gd name="T4" fmla="*/ 2147483647 w 522"/>
                      <a:gd name="T5" fmla="*/ 2147483647 h 399"/>
                      <a:gd name="T6" fmla="*/ 2147483647 w 522"/>
                      <a:gd name="T7" fmla="*/ 2147483647 h 399"/>
                      <a:gd name="T8" fmla="*/ 2147483647 w 522"/>
                      <a:gd name="T9" fmla="*/ 2147483647 h 399"/>
                      <a:gd name="T10" fmla="*/ 2147483647 w 522"/>
                      <a:gd name="T11" fmla="*/ 2147483647 h 399"/>
                      <a:gd name="T12" fmla="*/ 2147483647 w 522"/>
                      <a:gd name="T13" fmla="*/ 2147483647 h 399"/>
                      <a:gd name="T14" fmla="*/ 2147483647 w 522"/>
                      <a:gd name="T15" fmla="*/ 2147483647 h 399"/>
                      <a:gd name="T16" fmla="*/ 2147483647 w 522"/>
                      <a:gd name="T17" fmla="*/ 2147483647 h 399"/>
                      <a:gd name="T18" fmla="*/ 2147483647 w 522"/>
                      <a:gd name="T19" fmla="*/ 2147483647 h 399"/>
                      <a:gd name="T20" fmla="*/ 2147483647 w 522"/>
                      <a:gd name="T21" fmla="*/ 2147483647 h 399"/>
                      <a:gd name="T22" fmla="*/ 2147483647 w 522"/>
                      <a:gd name="T23" fmla="*/ 2147483647 h 399"/>
                      <a:gd name="T24" fmla="*/ 2147483647 w 522"/>
                      <a:gd name="T25" fmla="*/ 2147483647 h 399"/>
                      <a:gd name="T26" fmla="*/ 2147483647 w 522"/>
                      <a:gd name="T27" fmla="*/ 2147483647 h 399"/>
                      <a:gd name="T28" fmla="*/ 2147483647 w 522"/>
                      <a:gd name="T29" fmla="*/ 2147483647 h 399"/>
                      <a:gd name="T30" fmla="*/ 2147483647 w 522"/>
                      <a:gd name="T31" fmla="*/ 2147483647 h 399"/>
                      <a:gd name="T32" fmla="*/ 2147483647 w 522"/>
                      <a:gd name="T33" fmla="*/ 2147483647 h 399"/>
                      <a:gd name="T34" fmla="*/ 2147483647 w 522"/>
                      <a:gd name="T35" fmla="*/ 2147483647 h 399"/>
                      <a:gd name="T36" fmla="*/ 2147483647 w 522"/>
                      <a:gd name="T37" fmla="*/ 2147483647 h 399"/>
                      <a:gd name="T38" fmla="*/ 2147483647 w 522"/>
                      <a:gd name="T39" fmla="*/ 2147483647 h 399"/>
                      <a:gd name="T40" fmla="*/ 2147483647 w 522"/>
                      <a:gd name="T41" fmla="*/ 2147483647 h 399"/>
                      <a:gd name="T42" fmla="*/ 2147483647 w 522"/>
                      <a:gd name="T43" fmla="*/ 2147483647 h 399"/>
                      <a:gd name="T44" fmla="*/ 2147483647 w 522"/>
                      <a:gd name="T45" fmla="*/ 2147483647 h 399"/>
                      <a:gd name="T46" fmla="*/ 2147483647 w 522"/>
                      <a:gd name="T47" fmla="*/ 2147483647 h 399"/>
                      <a:gd name="T48" fmla="*/ 2147483647 w 522"/>
                      <a:gd name="T49" fmla="*/ 2147483647 h 399"/>
                      <a:gd name="T50" fmla="*/ 2147483647 w 522"/>
                      <a:gd name="T51" fmla="*/ 2147483647 h 399"/>
                      <a:gd name="T52" fmla="*/ 2147483647 w 522"/>
                      <a:gd name="T53" fmla="*/ 2147483647 h 399"/>
                      <a:gd name="T54" fmla="*/ 2147483647 w 522"/>
                      <a:gd name="T55" fmla="*/ 2147483647 h 399"/>
                      <a:gd name="T56" fmla="*/ 2147483647 w 522"/>
                      <a:gd name="T57" fmla="*/ 2147483647 h 399"/>
                      <a:gd name="T58" fmla="*/ 2147483647 w 522"/>
                      <a:gd name="T59" fmla="*/ 2147483647 h 399"/>
                      <a:gd name="T60" fmla="*/ 2147483647 w 522"/>
                      <a:gd name="T61" fmla="*/ 2147483647 h 399"/>
                      <a:gd name="T62" fmla="*/ 2147483647 w 522"/>
                      <a:gd name="T63" fmla="*/ 2147483647 h 399"/>
                      <a:gd name="T64" fmla="*/ 2147483647 w 522"/>
                      <a:gd name="T65" fmla="*/ 2147483647 h 399"/>
                      <a:gd name="T66" fmla="*/ 2147483647 w 522"/>
                      <a:gd name="T67" fmla="*/ 2147483647 h 399"/>
                      <a:gd name="T68" fmla="*/ 2147483647 w 522"/>
                      <a:gd name="T69" fmla="*/ 2147483647 h 399"/>
                      <a:gd name="T70" fmla="*/ 2147483647 w 522"/>
                      <a:gd name="T71" fmla="*/ 2147483647 h 399"/>
                      <a:gd name="T72" fmla="*/ 2147483647 w 522"/>
                      <a:gd name="T73" fmla="*/ 2147483647 h 399"/>
                      <a:gd name="T74" fmla="*/ 2147483647 w 522"/>
                      <a:gd name="T75" fmla="*/ 2147483647 h 399"/>
                      <a:gd name="T76" fmla="*/ 2147483647 w 522"/>
                      <a:gd name="T77" fmla="*/ 2147483647 h 399"/>
                      <a:gd name="T78" fmla="*/ 2147483647 w 522"/>
                      <a:gd name="T79" fmla="*/ 2147483647 h 399"/>
                      <a:gd name="T80" fmla="*/ 2147483647 w 522"/>
                      <a:gd name="T81" fmla="*/ 2147483647 h 399"/>
                      <a:gd name="T82" fmla="*/ 2147483647 w 522"/>
                      <a:gd name="T83" fmla="*/ 2147483647 h 399"/>
                      <a:gd name="T84" fmla="*/ 2147483647 w 522"/>
                      <a:gd name="T85" fmla="*/ 2147483647 h 399"/>
                      <a:gd name="T86" fmla="*/ 2147483647 w 522"/>
                      <a:gd name="T87" fmla="*/ 2147483647 h 399"/>
                      <a:gd name="T88" fmla="*/ 2147483647 w 522"/>
                      <a:gd name="T89" fmla="*/ 2147483647 h 399"/>
                      <a:gd name="T90" fmla="*/ 2147483647 w 522"/>
                      <a:gd name="T91" fmla="*/ 2147483647 h 399"/>
                      <a:gd name="T92" fmla="*/ 2147483647 w 522"/>
                      <a:gd name="T93" fmla="*/ 2147483647 h 399"/>
                      <a:gd name="T94" fmla="*/ 2147483647 w 522"/>
                      <a:gd name="T95" fmla="*/ 2147483647 h 399"/>
                      <a:gd name="T96" fmla="*/ 2147483647 w 522"/>
                      <a:gd name="T97" fmla="*/ 2147483647 h 399"/>
                      <a:gd name="T98" fmla="*/ 2147483647 w 522"/>
                      <a:gd name="T99" fmla="*/ 2147483647 h 399"/>
                      <a:gd name="T100" fmla="*/ 2147483647 w 522"/>
                      <a:gd name="T101" fmla="*/ 2147483647 h 399"/>
                      <a:gd name="T102" fmla="*/ 2147483647 w 522"/>
                      <a:gd name="T103" fmla="*/ 2147483647 h 399"/>
                      <a:gd name="T104" fmla="*/ 2147483647 w 522"/>
                      <a:gd name="T105" fmla="*/ 2147483647 h 399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w 522"/>
                      <a:gd name="T160" fmla="*/ 0 h 399"/>
                      <a:gd name="T161" fmla="*/ 522 w 522"/>
                      <a:gd name="T162" fmla="*/ 399 h 399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T159" t="T160" r="T161" b="T162"/>
                    <a:pathLst>
                      <a:path w="522" h="399">
                        <a:moveTo>
                          <a:pt x="388" y="161"/>
                        </a:moveTo>
                        <a:cubicBezTo>
                          <a:pt x="388" y="147"/>
                          <a:pt x="376" y="135"/>
                          <a:pt x="362" y="135"/>
                        </a:cubicBezTo>
                        <a:cubicBezTo>
                          <a:pt x="356" y="135"/>
                          <a:pt x="351" y="137"/>
                          <a:pt x="347" y="140"/>
                        </a:cubicBezTo>
                        <a:cubicBezTo>
                          <a:pt x="307" y="111"/>
                          <a:pt x="307" y="111"/>
                          <a:pt x="307" y="111"/>
                        </a:cubicBezTo>
                        <a:cubicBezTo>
                          <a:pt x="308" y="109"/>
                          <a:pt x="309" y="106"/>
                          <a:pt x="309" y="103"/>
                        </a:cubicBezTo>
                        <a:cubicBezTo>
                          <a:pt x="309" y="89"/>
                          <a:pt x="297" y="78"/>
                          <a:pt x="283" y="78"/>
                        </a:cubicBezTo>
                        <a:cubicBezTo>
                          <a:pt x="269" y="78"/>
                          <a:pt x="258" y="88"/>
                          <a:pt x="257" y="101"/>
                        </a:cubicBezTo>
                        <a:cubicBezTo>
                          <a:pt x="187" y="115"/>
                          <a:pt x="187" y="115"/>
                          <a:pt x="187" y="115"/>
                        </a:cubicBezTo>
                        <a:cubicBezTo>
                          <a:pt x="182" y="108"/>
                          <a:pt x="174" y="103"/>
                          <a:pt x="164" y="103"/>
                        </a:cubicBezTo>
                        <a:cubicBezTo>
                          <a:pt x="150" y="103"/>
                          <a:pt x="138" y="114"/>
                          <a:pt x="138" y="128"/>
                        </a:cubicBezTo>
                        <a:cubicBezTo>
                          <a:pt x="138" y="140"/>
                          <a:pt x="146" y="150"/>
                          <a:pt x="157" y="153"/>
                        </a:cubicBezTo>
                        <a:cubicBezTo>
                          <a:pt x="158" y="226"/>
                          <a:pt x="158" y="226"/>
                          <a:pt x="158" y="226"/>
                        </a:cubicBezTo>
                        <a:cubicBezTo>
                          <a:pt x="148" y="230"/>
                          <a:pt x="141" y="239"/>
                          <a:pt x="141" y="251"/>
                        </a:cubicBezTo>
                        <a:cubicBezTo>
                          <a:pt x="141" y="265"/>
                          <a:pt x="152" y="277"/>
                          <a:pt x="166" y="277"/>
                        </a:cubicBezTo>
                        <a:cubicBezTo>
                          <a:pt x="170" y="277"/>
                          <a:pt x="173" y="276"/>
                          <a:pt x="175" y="275"/>
                        </a:cubicBezTo>
                        <a:cubicBezTo>
                          <a:pt x="195" y="300"/>
                          <a:pt x="195" y="300"/>
                          <a:pt x="195" y="300"/>
                        </a:cubicBezTo>
                        <a:cubicBezTo>
                          <a:pt x="192" y="304"/>
                          <a:pt x="191" y="309"/>
                          <a:pt x="191" y="314"/>
                        </a:cubicBezTo>
                        <a:cubicBezTo>
                          <a:pt x="191" y="329"/>
                          <a:pt x="202" y="340"/>
                          <a:pt x="216" y="340"/>
                        </a:cubicBezTo>
                        <a:cubicBezTo>
                          <a:pt x="230" y="340"/>
                          <a:pt x="241" y="329"/>
                          <a:pt x="242" y="316"/>
                        </a:cubicBezTo>
                        <a:cubicBezTo>
                          <a:pt x="328" y="293"/>
                          <a:pt x="328" y="293"/>
                          <a:pt x="328" y="293"/>
                        </a:cubicBezTo>
                        <a:cubicBezTo>
                          <a:pt x="333" y="300"/>
                          <a:pt x="341" y="305"/>
                          <a:pt x="350" y="305"/>
                        </a:cubicBezTo>
                        <a:cubicBezTo>
                          <a:pt x="364" y="305"/>
                          <a:pt x="376" y="293"/>
                          <a:pt x="376" y="279"/>
                        </a:cubicBezTo>
                        <a:cubicBezTo>
                          <a:pt x="376" y="268"/>
                          <a:pt x="370" y="259"/>
                          <a:pt x="361" y="255"/>
                        </a:cubicBezTo>
                        <a:cubicBezTo>
                          <a:pt x="368" y="186"/>
                          <a:pt x="368" y="186"/>
                          <a:pt x="368" y="186"/>
                        </a:cubicBezTo>
                        <a:cubicBezTo>
                          <a:pt x="379" y="184"/>
                          <a:pt x="388" y="173"/>
                          <a:pt x="388" y="161"/>
                        </a:cubicBezTo>
                        <a:close/>
                        <a:moveTo>
                          <a:pt x="291" y="193"/>
                        </a:moveTo>
                        <a:cubicBezTo>
                          <a:pt x="283" y="193"/>
                          <a:pt x="276" y="197"/>
                          <a:pt x="271" y="203"/>
                        </a:cubicBezTo>
                        <a:cubicBezTo>
                          <a:pt x="245" y="193"/>
                          <a:pt x="245" y="193"/>
                          <a:pt x="245" y="193"/>
                        </a:cubicBezTo>
                        <a:cubicBezTo>
                          <a:pt x="330" y="173"/>
                          <a:pt x="330" y="173"/>
                          <a:pt x="330" y="173"/>
                        </a:cubicBezTo>
                        <a:cubicBezTo>
                          <a:pt x="304" y="196"/>
                          <a:pt x="304" y="196"/>
                          <a:pt x="304" y="196"/>
                        </a:cubicBezTo>
                        <a:cubicBezTo>
                          <a:pt x="300" y="194"/>
                          <a:pt x="296" y="193"/>
                          <a:pt x="291" y="193"/>
                        </a:cubicBezTo>
                        <a:close/>
                        <a:moveTo>
                          <a:pt x="301" y="219"/>
                        </a:moveTo>
                        <a:cubicBezTo>
                          <a:pt x="301" y="224"/>
                          <a:pt x="296" y="229"/>
                          <a:pt x="291" y="229"/>
                        </a:cubicBezTo>
                        <a:cubicBezTo>
                          <a:pt x="286" y="229"/>
                          <a:pt x="281" y="224"/>
                          <a:pt x="281" y="219"/>
                        </a:cubicBezTo>
                        <a:cubicBezTo>
                          <a:pt x="281" y="213"/>
                          <a:pt x="286" y="209"/>
                          <a:pt x="291" y="209"/>
                        </a:cubicBezTo>
                        <a:cubicBezTo>
                          <a:pt x="296" y="209"/>
                          <a:pt x="301" y="213"/>
                          <a:pt x="301" y="219"/>
                        </a:cubicBezTo>
                        <a:close/>
                        <a:moveTo>
                          <a:pt x="208" y="192"/>
                        </a:moveTo>
                        <a:cubicBezTo>
                          <a:pt x="208" y="186"/>
                          <a:pt x="212" y="182"/>
                          <a:pt x="218" y="182"/>
                        </a:cubicBezTo>
                        <a:cubicBezTo>
                          <a:pt x="223" y="182"/>
                          <a:pt x="228" y="186"/>
                          <a:pt x="228" y="192"/>
                        </a:cubicBezTo>
                        <a:cubicBezTo>
                          <a:pt x="228" y="192"/>
                          <a:pt x="228" y="192"/>
                          <a:pt x="228" y="192"/>
                        </a:cubicBezTo>
                        <a:cubicBezTo>
                          <a:pt x="228" y="197"/>
                          <a:pt x="223" y="202"/>
                          <a:pt x="218" y="202"/>
                        </a:cubicBezTo>
                        <a:cubicBezTo>
                          <a:pt x="212" y="202"/>
                          <a:pt x="208" y="197"/>
                          <a:pt x="208" y="192"/>
                        </a:cubicBezTo>
                        <a:close/>
                        <a:moveTo>
                          <a:pt x="209" y="216"/>
                        </a:moveTo>
                        <a:cubicBezTo>
                          <a:pt x="209" y="249"/>
                          <a:pt x="209" y="249"/>
                          <a:pt x="209" y="249"/>
                        </a:cubicBezTo>
                        <a:cubicBezTo>
                          <a:pt x="192" y="247"/>
                          <a:pt x="192" y="247"/>
                          <a:pt x="192" y="247"/>
                        </a:cubicBezTo>
                        <a:cubicBezTo>
                          <a:pt x="191" y="243"/>
                          <a:pt x="190" y="240"/>
                          <a:pt x="189" y="237"/>
                        </a:cubicBezTo>
                        <a:cubicBezTo>
                          <a:pt x="208" y="216"/>
                          <a:pt x="208" y="216"/>
                          <a:pt x="208" y="216"/>
                        </a:cubicBezTo>
                        <a:cubicBezTo>
                          <a:pt x="208" y="216"/>
                          <a:pt x="209" y="216"/>
                          <a:pt x="209" y="216"/>
                        </a:cubicBezTo>
                        <a:close/>
                        <a:moveTo>
                          <a:pt x="225" y="216"/>
                        </a:moveTo>
                        <a:cubicBezTo>
                          <a:pt x="230" y="215"/>
                          <a:pt x="235" y="212"/>
                          <a:pt x="238" y="208"/>
                        </a:cubicBezTo>
                        <a:cubicBezTo>
                          <a:pt x="265" y="218"/>
                          <a:pt x="265" y="218"/>
                          <a:pt x="265" y="218"/>
                        </a:cubicBezTo>
                        <a:cubicBezTo>
                          <a:pt x="265" y="218"/>
                          <a:pt x="265" y="218"/>
                          <a:pt x="265" y="219"/>
                        </a:cubicBezTo>
                        <a:cubicBezTo>
                          <a:pt x="265" y="224"/>
                          <a:pt x="267" y="229"/>
                          <a:pt x="270" y="233"/>
                        </a:cubicBezTo>
                        <a:cubicBezTo>
                          <a:pt x="252" y="256"/>
                          <a:pt x="252" y="256"/>
                          <a:pt x="252" y="256"/>
                        </a:cubicBezTo>
                        <a:cubicBezTo>
                          <a:pt x="225" y="252"/>
                          <a:pt x="225" y="252"/>
                          <a:pt x="225" y="252"/>
                        </a:cubicBezTo>
                        <a:lnTo>
                          <a:pt x="225" y="216"/>
                        </a:lnTo>
                        <a:close/>
                        <a:moveTo>
                          <a:pt x="283" y="94"/>
                        </a:moveTo>
                        <a:cubicBezTo>
                          <a:pt x="288" y="94"/>
                          <a:pt x="293" y="98"/>
                          <a:pt x="293" y="103"/>
                        </a:cubicBezTo>
                        <a:cubicBezTo>
                          <a:pt x="293" y="109"/>
                          <a:pt x="288" y="113"/>
                          <a:pt x="283" y="113"/>
                        </a:cubicBezTo>
                        <a:cubicBezTo>
                          <a:pt x="277" y="113"/>
                          <a:pt x="273" y="109"/>
                          <a:pt x="273" y="103"/>
                        </a:cubicBezTo>
                        <a:cubicBezTo>
                          <a:pt x="273" y="98"/>
                          <a:pt x="277" y="94"/>
                          <a:pt x="283" y="94"/>
                        </a:cubicBezTo>
                        <a:close/>
                        <a:moveTo>
                          <a:pt x="275" y="128"/>
                        </a:moveTo>
                        <a:cubicBezTo>
                          <a:pt x="277" y="129"/>
                          <a:pt x="280" y="129"/>
                          <a:pt x="283" y="129"/>
                        </a:cubicBezTo>
                        <a:cubicBezTo>
                          <a:pt x="288" y="129"/>
                          <a:pt x="294" y="127"/>
                          <a:pt x="298" y="124"/>
                        </a:cubicBezTo>
                        <a:cubicBezTo>
                          <a:pt x="326" y="145"/>
                          <a:pt x="326" y="145"/>
                          <a:pt x="326" y="145"/>
                        </a:cubicBezTo>
                        <a:cubicBezTo>
                          <a:pt x="269" y="136"/>
                          <a:pt x="269" y="136"/>
                          <a:pt x="269" y="136"/>
                        </a:cubicBezTo>
                        <a:lnTo>
                          <a:pt x="275" y="128"/>
                        </a:lnTo>
                        <a:close/>
                        <a:moveTo>
                          <a:pt x="318" y="160"/>
                        </a:moveTo>
                        <a:cubicBezTo>
                          <a:pt x="240" y="178"/>
                          <a:pt x="240" y="178"/>
                          <a:pt x="240" y="178"/>
                        </a:cubicBezTo>
                        <a:cubicBezTo>
                          <a:pt x="239" y="178"/>
                          <a:pt x="239" y="177"/>
                          <a:pt x="239" y="177"/>
                        </a:cubicBezTo>
                        <a:cubicBezTo>
                          <a:pt x="258" y="151"/>
                          <a:pt x="258" y="151"/>
                          <a:pt x="258" y="151"/>
                        </a:cubicBezTo>
                        <a:lnTo>
                          <a:pt x="318" y="160"/>
                        </a:lnTo>
                        <a:close/>
                        <a:moveTo>
                          <a:pt x="260" y="116"/>
                        </a:moveTo>
                        <a:cubicBezTo>
                          <a:pt x="261" y="117"/>
                          <a:pt x="261" y="118"/>
                          <a:pt x="262" y="118"/>
                        </a:cubicBezTo>
                        <a:cubicBezTo>
                          <a:pt x="251" y="133"/>
                          <a:pt x="251" y="133"/>
                          <a:pt x="251" y="133"/>
                        </a:cubicBezTo>
                        <a:cubicBezTo>
                          <a:pt x="209" y="127"/>
                          <a:pt x="209" y="127"/>
                          <a:pt x="209" y="127"/>
                        </a:cubicBezTo>
                        <a:lnTo>
                          <a:pt x="260" y="116"/>
                        </a:lnTo>
                        <a:close/>
                        <a:moveTo>
                          <a:pt x="187" y="140"/>
                        </a:moveTo>
                        <a:cubicBezTo>
                          <a:pt x="240" y="148"/>
                          <a:pt x="240" y="148"/>
                          <a:pt x="240" y="148"/>
                        </a:cubicBezTo>
                        <a:cubicBezTo>
                          <a:pt x="226" y="167"/>
                          <a:pt x="226" y="167"/>
                          <a:pt x="226" y="167"/>
                        </a:cubicBezTo>
                        <a:cubicBezTo>
                          <a:pt x="223" y="166"/>
                          <a:pt x="221" y="166"/>
                          <a:pt x="218" y="166"/>
                        </a:cubicBezTo>
                        <a:cubicBezTo>
                          <a:pt x="214" y="166"/>
                          <a:pt x="211" y="167"/>
                          <a:pt x="208" y="168"/>
                        </a:cubicBezTo>
                        <a:cubicBezTo>
                          <a:pt x="186" y="142"/>
                          <a:pt x="186" y="142"/>
                          <a:pt x="186" y="142"/>
                        </a:cubicBezTo>
                        <a:cubicBezTo>
                          <a:pt x="187" y="141"/>
                          <a:pt x="187" y="141"/>
                          <a:pt x="187" y="140"/>
                        </a:cubicBezTo>
                        <a:close/>
                        <a:moveTo>
                          <a:pt x="154" y="128"/>
                        </a:moveTo>
                        <a:cubicBezTo>
                          <a:pt x="154" y="123"/>
                          <a:pt x="159" y="119"/>
                          <a:pt x="164" y="119"/>
                        </a:cubicBezTo>
                        <a:cubicBezTo>
                          <a:pt x="170" y="119"/>
                          <a:pt x="174" y="123"/>
                          <a:pt x="174" y="128"/>
                        </a:cubicBezTo>
                        <a:cubicBezTo>
                          <a:pt x="174" y="134"/>
                          <a:pt x="170" y="138"/>
                          <a:pt x="164" y="138"/>
                        </a:cubicBezTo>
                        <a:cubicBezTo>
                          <a:pt x="159" y="138"/>
                          <a:pt x="154" y="134"/>
                          <a:pt x="154" y="128"/>
                        </a:cubicBezTo>
                        <a:close/>
                        <a:moveTo>
                          <a:pt x="166" y="261"/>
                        </a:moveTo>
                        <a:cubicBezTo>
                          <a:pt x="161" y="261"/>
                          <a:pt x="157" y="256"/>
                          <a:pt x="157" y="251"/>
                        </a:cubicBezTo>
                        <a:cubicBezTo>
                          <a:pt x="157" y="245"/>
                          <a:pt x="161" y="241"/>
                          <a:pt x="166" y="241"/>
                        </a:cubicBezTo>
                        <a:cubicBezTo>
                          <a:pt x="172" y="241"/>
                          <a:pt x="176" y="245"/>
                          <a:pt x="176" y="251"/>
                        </a:cubicBezTo>
                        <a:cubicBezTo>
                          <a:pt x="176" y="256"/>
                          <a:pt x="172" y="261"/>
                          <a:pt x="166" y="261"/>
                        </a:cubicBezTo>
                        <a:close/>
                        <a:moveTo>
                          <a:pt x="174" y="226"/>
                        </a:moveTo>
                        <a:cubicBezTo>
                          <a:pt x="173" y="153"/>
                          <a:pt x="173" y="153"/>
                          <a:pt x="173" y="153"/>
                        </a:cubicBezTo>
                        <a:cubicBezTo>
                          <a:pt x="173" y="153"/>
                          <a:pt x="173" y="152"/>
                          <a:pt x="174" y="152"/>
                        </a:cubicBezTo>
                        <a:cubicBezTo>
                          <a:pt x="196" y="178"/>
                          <a:pt x="196" y="178"/>
                          <a:pt x="196" y="178"/>
                        </a:cubicBezTo>
                        <a:cubicBezTo>
                          <a:pt x="193" y="182"/>
                          <a:pt x="192" y="187"/>
                          <a:pt x="192" y="192"/>
                        </a:cubicBezTo>
                        <a:cubicBezTo>
                          <a:pt x="192" y="197"/>
                          <a:pt x="193" y="201"/>
                          <a:pt x="196" y="205"/>
                        </a:cubicBezTo>
                        <a:cubicBezTo>
                          <a:pt x="176" y="227"/>
                          <a:pt x="176" y="227"/>
                          <a:pt x="176" y="227"/>
                        </a:cubicBezTo>
                        <a:cubicBezTo>
                          <a:pt x="176" y="227"/>
                          <a:pt x="175" y="226"/>
                          <a:pt x="174" y="226"/>
                        </a:cubicBezTo>
                        <a:close/>
                        <a:moveTo>
                          <a:pt x="188" y="265"/>
                        </a:moveTo>
                        <a:cubicBezTo>
                          <a:pt x="188" y="264"/>
                          <a:pt x="189" y="263"/>
                          <a:pt x="189" y="262"/>
                        </a:cubicBezTo>
                        <a:cubicBezTo>
                          <a:pt x="209" y="265"/>
                          <a:pt x="209" y="265"/>
                          <a:pt x="209" y="265"/>
                        </a:cubicBezTo>
                        <a:cubicBezTo>
                          <a:pt x="209" y="290"/>
                          <a:pt x="209" y="290"/>
                          <a:pt x="209" y="290"/>
                        </a:cubicBezTo>
                        <a:cubicBezTo>
                          <a:pt x="208" y="290"/>
                          <a:pt x="208" y="290"/>
                          <a:pt x="208" y="290"/>
                        </a:cubicBezTo>
                        <a:lnTo>
                          <a:pt x="188" y="265"/>
                        </a:lnTo>
                        <a:close/>
                        <a:moveTo>
                          <a:pt x="216" y="324"/>
                        </a:moveTo>
                        <a:cubicBezTo>
                          <a:pt x="211" y="324"/>
                          <a:pt x="207" y="320"/>
                          <a:pt x="207" y="314"/>
                        </a:cubicBezTo>
                        <a:cubicBezTo>
                          <a:pt x="207" y="309"/>
                          <a:pt x="211" y="304"/>
                          <a:pt x="216" y="304"/>
                        </a:cubicBezTo>
                        <a:cubicBezTo>
                          <a:pt x="222" y="304"/>
                          <a:pt x="226" y="309"/>
                          <a:pt x="226" y="314"/>
                        </a:cubicBezTo>
                        <a:cubicBezTo>
                          <a:pt x="226" y="320"/>
                          <a:pt x="222" y="324"/>
                          <a:pt x="216" y="324"/>
                        </a:cubicBezTo>
                        <a:close/>
                        <a:moveTo>
                          <a:pt x="225" y="290"/>
                        </a:moveTo>
                        <a:cubicBezTo>
                          <a:pt x="225" y="290"/>
                          <a:pt x="225" y="290"/>
                          <a:pt x="225" y="290"/>
                        </a:cubicBezTo>
                        <a:cubicBezTo>
                          <a:pt x="225" y="268"/>
                          <a:pt x="225" y="268"/>
                          <a:pt x="225" y="268"/>
                        </a:cubicBezTo>
                        <a:cubicBezTo>
                          <a:pt x="241" y="270"/>
                          <a:pt x="241" y="270"/>
                          <a:pt x="241" y="270"/>
                        </a:cubicBezTo>
                        <a:lnTo>
                          <a:pt x="225" y="290"/>
                        </a:lnTo>
                        <a:close/>
                        <a:moveTo>
                          <a:pt x="238" y="300"/>
                        </a:moveTo>
                        <a:cubicBezTo>
                          <a:pt x="238" y="300"/>
                          <a:pt x="238" y="300"/>
                          <a:pt x="238" y="300"/>
                        </a:cubicBezTo>
                        <a:cubicBezTo>
                          <a:pt x="259" y="273"/>
                          <a:pt x="259" y="273"/>
                          <a:pt x="259" y="273"/>
                        </a:cubicBezTo>
                        <a:cubicBezTo>
                          <a:pt x="311" y="281"/>
                          <a:pt x="311" y="281"/>
                          <a:pt x="311" y="281"/>
                        </a:cubicBezTo>
                        <a:lnTo>
                          <a:pt x="238" y="300"/>
                        </a:lnTo>
                        <a:close/>
                        <a:moveTo>
                          <a:pt x="327" y="267"/>
                        </a:moveTo>
                        <a:cubicBezTo>
                          <a:pt x="270" y="259"/>
                          <a:pt x="270" y="259"/>
                          <a:pt x="270" y="259"/>
                        </a:cubicBezTo>
                        <a:cubicBezTo>
                          <a:pt x="282" y="243"/>
                          <a:pt x="282" y="243"/>
                          <a:pt x="282" y="243"/>
                        </a:cubicBezTo>
                        <a:cubicBezTo>
                          <a:pt x="285" y="244"/>
                          <a:pt x="288" y="245"/>
                          <a:pt x="291" y="245"/>
                        </a:cubicBezTo>
                        <a:cubicBezTo>
                          <a:pt x="295" y="245"/>
                          <a:pt x="299" y="244"/>
                          <a:pt x="303" y="242"/>
                        </a:cubicBezTo>
                        <a:cubicBezTo>
                          <a:pt x="327" y="267"/>
                          <a:pt x="327" y="267"/>
                          <a:pt x="327" y="267"/>
                        </a:cubicBezTo>
                        <a:cubicBezTo>
                          <a:pt x="327" y="267"/>
                          <a:pt x="327" y="267"/>
                          <a:pt x="327" y="267"/>
                        </a:cubicBezTo>
                        <a:close/>
                        <a:moveTo>
                          <a:pt x="314" y="231"/>
                        </a:moveTo>
                        <a:cubicBezTo>
                          <a:pt x="316" y="227"/>
                          <a:pt x="317" y="223"/>
                          <a:pt x="317" y="219"/>
                        </a:cubicBezTo>
                        <a:cubicBezTo>
                          <a:pt x="317" y="215"/>
                          <a:pt x="316" y="211"/>
                          <a:pt x="315" y="208"/>
                        </a:cubicBezTo>
                        <a:cubicBezTo>
                          <a:pt x="345" y="181"/>
                          <a:pt x="345" y="181"/>
                          <a:pt x="345" y="181"/>
                        </a:cubicBezTo>
                        <a:cubicBezTo>
                          <a:pt x="347" y="182"/>
                          <a:pt x="349" y="184"/>
                          <a:pt x="352" y="185"/>
                        </a:cubicBezTo>
                        <a:cubicBezTo>
                          <a:pt x="345" y="254"/>
                          <a:pt x="345" y="254"/>
                          <a:pt x="345" y="254"/>
                        </a:cubicBezTo>
                        <a:cubicBezTo>
                          <a:pt x="343" y="254"/>
                          <a:pt x="341" y="255"/>
                          <a:pt x="339" y="256"/>
                        </a:cubicBezTo>
                        <a:lnTo>
                          <a:pt x="314" y="231"/>
                        </a:lnTo>
                        <a:close/>
                        <a:moveTo>
                          <a:pt x="350" y="289"/>
                        </a:moveTo>
                        <a:cubicBezTo>
                          <a:pt x="345" y="289"/>
                          <a:pt x="340" y="284"/>
                          <a:pt x="340" y="279"/>
                        </a:cubicBezTo>
                        <a:cubicBezTo>
                          <a:pt x="340" y="274"/>
                          <a:pt x="345" y="269"/>
                          <a:pt x="350" y="269"/>
                        </a:cubicBezTo>
                        <a:cubicBezTo>
                          <a:pt x="356" y="269"/>
                          <a:pt x="360" y="274"/>
                          <a:pt x="360" y="279"/>
                        </a:cubicBezTo>
                        <a:cubicBezTo>
                          <a:pt x="360" y="284"/>
                          <a:pt x="356" y="289"/>
                          <a:pt x="350" y="289"/>
                        </a:cubicBezTo>
                        <a:close/>
                        <a:moveTo>
                          <a:pt x="352" y="161"/>
                        </a:moveTo>
                        <a:cubicBezTo>
                          <a:pt x="352" y="155"/>
                          <a:pt x="357" y="151"/>
                          <a:pt x="362" y="151"/>
                        </a:cubicBezTo>
                        <a:cubicBezTo>
                          <a:pt x="367" y="151"/>
                          <a:pt x="372" y="155"/>
                          <a:pt x="372" y="161"/>
                        </a:cubicBezTo>
                        <a:cubicBezTo>
                          <a:pt x="372" y="166"/>
                          <a:pt x="367" y="171"/>
                          <a:pt x="362" y="171"/>
                        </a:cubicBezTo>
                        <a:cubicBezTo>
                          <a:pt x="357" y="171"/>
                          <a:pt x="352" y="166"/>
                          <a:pt x="352" y="161"/>
                        </a:cubicBezTo>
                        <a:close/>
                        <a:moveTo>
                          <a:pt x="469" y="164"/>
                        </a:moveTo>
                        <a:cubicBezTo>
                          <a:pt x="469" y="162"/>
                          <a:pt x="469" y="160"/>
                          <a:pt x="469" y="158"/>
                        </a:cubicBezTo>
                        <a:cubicBezTo>
                          <a:pt x="469" y="140"/>
                          <a:pt x="464" y="123"/>
                          <a:pt x="454" y="109"/>
                        </a:cubicBezTo>
                        <a:cubicBezTo>
                          <a:pt x="452" y="105"/>
                          <a:pt x="447" y="104"/>
                          <a:pt x="443" y="107"/>
                        </a:cubicBezTo>
                        <a:cubicBezTo>
                          <a:pt x="439" y="109"/>
                          <a:pt x="438" y="114"/>
                          <a:pt x="441" y="118"/>
                        </a:cubicBezTo>
                        <a:cubicBezTo>
                          <a:pt x="449" y="129"/>
                          <a:pt x="453" y="143"/>
                          <a:pt x="453" y="158"/>
                        </a:cubicBezTo>
                        <a:cubicBezTo>
                          <a:pt x="453" y="162"/>
                          <a:pt x="453" y="165"/>
                          <a:pt x="453" y="169"/>
                        </a:cubicBezTo>
                        <a:cubicBezTo>
                          <a:pt x="452" y="171"/>
                          <a:pt x="453" y="173"/>
                          <a:pt x="454" y="175"/>
                        </a:cubicBezTo>
                        <a:cubicBezTo>
                          <a:pt x="456" y="177"/>
                          <a:pt x="457" y="178"/>
                          <a:pt x="460" y="178"/>
                        </a:cubicBezTo>
                        <a:cubicBezTo>
                          <a:pt x="485" y="181"/>
                          <a:pt x="506" y="203"/>
                          <a:pt x="506" y="229"/>
                        </a:cubicBezTo>
                        <a:cubicBezTo>
                          <a:pt x="506" y="255"/>
                          <a:pt x="487" y="276"/>
                          <a:pt x="462" y="280"/>
                        </a:cubicBezTo>
                        <a:cubicBezTo>
                          <a:pt x="458" y="281"/>
                          <a:pt x="455" y="284"/>
                          <a:pt x="455" y="288"/>
                        </a:cubicBezTo>
                        <a:cubicBezTo>
                          <a:pt x="455" y="288"/>
                          <a:pt x="455" y="289"/>
                          <a:pt x="455" y="289"/>
                        </a:cubicBezTo>
                        <a:cubicBezTo>
                          <a:pt x="455" y="289"/>
                          <a:pt x="455" y="289"/>
                          <a:pt x="455" y="289"/>
                        </a:cubicBezTo>
                        <a:cubicBezTo>
                          <a:pt x="455" y="322"/>
                          <a:pt x="428" y="349"/>
                          <a:pt x="394" y="349"/>
                        </a:cubicBezTo>
                        <a:cubicBezTo>
                          <a:pt x="380" y="349"/>
                          <a:pt x="366" y="344"/>
                          <a:pt x="356" y="336"/>
                        </a:cubicBezTo>
                        <a:cubicBezTo>
                          <a:pt x="354" y="334"/>
                          <a:pt x="352" y="334"/>
                          <a:pt x="349" y="334"/>
                        </a:cubicBezTo>
                        <a:cubicBezTo>
                          <a:pt x="347" y="334"/>
                          <a:pt x="345" y="336"/>
                          <a:pt x="344" y="338"/>
                        </a:cubicBezTo>
                        <a:cubicBezTo>
                          <a:pt x="332" y="357"/>
                          <a:pt x="312" y="369"/>
                          <a:pt x="288" y="369"/>
                        </a:cubicBezTo>
                        <a:cubicBezTo>
                          <a:pt x="273" y="369"/>
                          <a:pt x="259" y="364"/>
                          <a:pt x="248" y="355"/>
                        </a:cubicBezTo>
                        <a:cubicBezTo>
                          <a:pt x="246" y="354"/>
                          <a:pt x="244" y="353"/>
                          <a:pt x="242" y="353"/>
                        </a:cubicBezTo>
                        <a:cubicBezTo>
                          <a:pt x="240" y="354"/>
                          <a:pt x="238" y="355"/>
                          <a:pt x="236" y="357"/>
                        </a:cubicBezTo>
                        <a:cubicBezTo>
                          <a:pt x="224" y="373"/>
                          <a:pt x="205" y="383"/>
                          <a:pt x="184" y="383"/>
                        </a:cubicBezTo>
                        <a:cubicBezTo>
                          <a:pt x="156" y="383"/>
                          <a:pt x="132" y="366"/>
                          <a:pt x="122" y="341"/>
                        </a:cubicBezTo>
                        <a:cubicBezTo>
                          <a:pt x="122" y="339"/>
                          <a:pt x="120" y="338"/>
                          <a:pt x="118" y="337"/>
                        </a:cubicBezTo>
                        <a:cubicBezTo>
                          <a:pt x="116" y="336"/>
                          <a:pt x="114" y="336"/>
                          <a:pt x="112" y="337"/>
                        </a:cubicBezTo>
                        <a:cubicBezTo>
                          <a:pt x="105" y="340"/>
                          <a:pt x="98" y="341"/>
                          <a:pt x="91" y="341"/>
                        </a:cubicBezTo>
                        <a:cubicBezTo>
                          <a:pt x="62" y="341"/>
                          <a:pt x="38" y="318"/>
                          <a:pt x="38" y="289"/>
                        </a:cubicBezTo>
                        <a:cubicBezTo>
                          <a:pt x="38" y="282"/>
                          <a:pt x="39" y="275"/>
                          <a:pt x="42" y="269"/>
                        </a:cubicBezTo>
                        <a:cubicBezTo>
                          <a:pt x="43" y="266"/>
                          <a:pt x="42" y="263"/>
                          <a:pt x="40" y="260"/>
                        </a:cubicBezTo>
                        <a:cubicBezTo>
                          <a:pt x="25" y="247"/>
                          <a:pt x="16" y="227"/>
                          <a:pt x="16" y="205"/>
                        </a:cubicBezTo>
                        <a:cubicBezTo>
                          <a:pt x="16" y="165"/>
                          <a:pt x="49" y="131"/>
                          <a:pt x="89" y="130"/>
                        </a:cubicBezTo>
                        <a:cubicBezTo>
                          <a:pt x="92" y="130"/>
                          <a:pt x="94" y="129"/>
                          <a:pt x="95" y="128"/>
                        </a:cubicBezTo>
                        <a:cubicBezTo>
                          <a:pt x="97" y="126"/>
                          <a:pt x="97" y="123"/>
                          <a:pt x="97" y="121"/>
                        </a:cubicBezTo>
                        <a:cubicBezTo>
                          <a:pt x="96" y="118"/>
                          <a:pt x="96" y="114"/>
                          <a:pt x="96" y="111"/>
                        </a:cubicBezTo>
                        <a:cubicBezTo>
                          <a:pt x="96" y="81"/>
                          <a:pt x="120" y="58"/>
                          <a:pt x="149" y="58"/>
                        </a:cubicBezTo>
                        <a:cubicBezTo>
                          <a:pt x="163" y="58"/>
                          <a:pt x="176" y="63"/>
                          <a:pt x="185" y="72"/>
                        </a:cubicBezTo>
                        <a:cubicBezTo>
                          <a:pt x="187" y="73"/>
                          <a:pt x="190" y="74"/>
                          <a:pt x="192" y="74"/>
                        </a:cubicBezTo>
                        <a:cubicBezTo>
                          <a:pt x="195" y="73"/>
                          <a:pt x="197" y="71"/>
                          <a:pt x="198" y="69"/>
                        </a:cubicBezTo>
                        <a:cubicBezTo>
                          <a:pt x="211" y="38"/>
                          <a:pt x="242" y="16"/>
                          <a:pt x="278" y="16"/>
                        </a:cubicBezTo>
                        <a:cubicBezTo>
                          <a:pt x="319" y="16"/>
                          <a:pt x="353" y="44"/>
                          <a:pt x="362" y="82"/>
                        </a:cubicBezTo>
                        <a:cubicBezTo>
                          <a:pt x="363" y="87"/>
                          <a:pt x="367" y="89"/>
                          <a:pt x="371" y="89"/>
                        </a:cubicBezTo>
                        <a:cubicBezTo>
                          <a:pt x="375" y="88"/>
                          <a:pt x="379" y="88"/>
                          <a:pt x="383" y="88"/>
                        </a:cubicBezTo>
                        <a:cubicBezTo>
                          <a:pt x="395" y="88"/>
                          <a:pt x="406" y="91"/>
                          <a:pt x="416" y="96"/>
                        </a:cubicBezTo>
                        <a:cubicBezTo>
                          <a:pt x="420" y="98"/>
                          <a:pt x="425" y="97"/>
                          <a:pt x="427" y="93"/>
                        </a:cubicBezTo>
                        <a:cubicBezTo>
                          <a:pt x="429" y="89"/>
                          <a:pt x="428" y="84"/>
                          <a:pt x="424" y="82"/>
                        </a:cubicBezTo>
                        <a:cubicBezTo>
                          <a:pt x="424" y="82"/>
                          <a:pt x="424" y="82"/>
                          <a:pt x="424" y="82"/>
                        </a:cubicBezTo>
                        <a:cubicBezTo>
                          <a:pt x="412" y="75"/>
                          <a:pt x="398" y="72"/>
                          <a:pt x="383" y="72"/>
                        </a:cubicBezTo>
                        <a:cubicBezTo>
                          <a:pt x="381" y="72"/>
                          <a:pt x="378" y="72"/>
                          <a:pt x="376" y="72"/>
                        </a:cubicBezTo>
                        <a:cubicBezTo>
                          <a:pt x="363" y="30"/>
                          <a:pt x="324" y="0"/>
                          <a:pt x="278" y="0"/>
                        </a:cubicBezTo>
                        <a:cubicBezTo>
                          <a:pt x="239" y="0"/>
                          <a:pt x="205" y="21"/>
                          <a:pt x="188" y="53"/>
                        </a:cubicBezTo>
                        <a:cubicBezTo>
                          <a:pt x="177" y="46"/>
                          <a:pt x="164" y="41"/>
                          <a:pt x="149" y="42"/>
                        </a:cubicBezTo>
                        <a:cubicBezTo>
                          <a:pt x="111" y="42"/>
                          <a:pt x="80" y="73"/>
                          <a:pt x="80" y="111"/>
                        </a:cubicBezTo>
                        <a:cubicBezTo>
                          <a:pt x="80" y="112"/>
                          <a:pt x="80" y="114"/>
                          <a:pt x="80" y="115"/>
                        </a:cubicBezTo>
                        <a:cubicBezTo>
                          <a:pt x="35" y="120"/>
                          <a:pt x="0" y="159"/>
                          <a:pt x="0" y="205"/>
                        </a:cubicBezTo>
                        <a:cubicBezTo>
                          <a:pt x="0" y="230"/>
                          <a:pt x="9" y="252"/>
                          <a:pt x="25" y="268"/>
                        </a:cubicBezTo>
                        <a:cubicBezTo>
                          <a:pt x="23" y="275"/>
                          <a:pt x="22" y="282"/>
                          <a:pt x="22" y="289"/>
                        </a:cubicBezTo>
                        <a:cubicBezTo>
                          <a:pt x="22" y="326"/>
                          <a:pt x="53" y="357"/>
                          <a:pt x="91" y="357"/>
                        </a:cubicBezTo>
                        <a:cubicBezTo>
                          <a:pt x="98" y="357"/>
                          <a:pt x="104" y="356"/>
                          <a:pt x="111" y="354"/>
                        </a:cubicBezTo>
                        <a:cubicBezTo>
                          <a:pt x="124" y="381"/>
                          <a:pt x="152" y="399"/>
                          <a:pt x="184" y="399"/>
                        </a:cubicBezTo>
                        <a:cubicBezTo>
                          <a:pt x="208" y="399"/>
                          <a:pt x="229" y="389"/>
                          <a:pt x="244" y="372"/>
                        </a:cubicBezTo>
                        <a:cubicBezTo>
                          <a:pt x="257" y="380"/>
                          <a:pt x="272" y="385"/>
                          <a:pt x="288" y="385"/>
                        </a:cubicBezTo>
                        <a:cubicBezTo>
                          <a:pt x="314" y="385"/>
                          <a:pt x="338" y="373"/>
                          <a:pt x="353" y="353"/>
                        </a:cubicBezTo>
                        <a:cubicBezTo>
                          <a:pt x="365" y="361"/>
                          <a:pt x="379" y="365"/>
                          <a:pt x="394" y="365"/>
                        </a:cubicBezTo>
                        <a:cubicBezTo>
                          <a:pt x="435" y="365"/>
                          <a:pt x="468" y="334"/>
                          <a:pt x="471" y="294"/>
                        </a:cubicBezTo>
                        <a:cubicBezTo>
                          <a:pt x="500" y="287"/>
                          <a:pt x="521" y="261"/>
                          <a:pt x="522" y="229"/>
                        </a:cubicBezTo>
                        <a:cubicBezTo>
                          <a:pt x="522" y="197"/>
                          <a:pt x="499" y="170"/>
                          <a:pt x="469" y="164"/>
                        </a:cubicBezTo>
                        <a:close/>
                      </a:path>
                    </a:pathLst>
                  </a:custGeom>
                  <a:solidFill>
                    <a:srgbClr val="58585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6" name="Rounded Rectangle 35"/>
                  <p:cNvSpPr/>
                  <p:nvPr/>
                </p:nvSpPr>
                <p:spPr bwMode="auto">
                  <a:xfrm>
                    <a:off x="4608" y="1331"/>
                    <a:ext cx="424" cy="288"/>
                  </a:xfrm>
                  <a:prstGeom prst="roundRect">
                    <a:avLst>
                      <a:gd name="adj" fmla="val 11420"/>
                    </a:avLst>
                  </a:prstGeom>
                  <a:solidFill>
                    <a:srgbClr val="FFFFFF"/>
                  </a:solidFill>
                  <a:ln w="25400" cap="flat" cmpd="sng" algn="ctr">
                    <a:solidFill>
                      <a:srgbClr val="00285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wrap="none" lIns="72000" rIns="72000" bIns="0" anchor="b"/>
                  <a:lstStyle/>
                  <a:p>
                    <a:pPr algn="ctr">
                      <a:spcBef>
                        <a:spcPct val="50000"/>
                      </a:spcBef>
                      <a:defRPr/>
                    </a:pPr>
                    <a:r>
                      <a:rPr lang="en-US" sz="900" b="1" i="1" dirty="0">
                        <a:solidFill>
                          <a:schemeClr val="tx1"/>
                        </a:solidFill>
                      </a:rPr>
                      <a:t>Security</a:t>
                    </a:r>
                  </a:p>
                </p:txBody>
              </p:sp>
              <p:sp>
                <p:nvSpPr>
                  <p:cNvPr id="122963" name="Freeform 3"/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4656" y="1369"/>
                    <a:ext cx="153" cy="150"/>
                  </a:xfrm>
                  <a:custGeom>
                    <a:avLst/>
                    <a:gdLst>
                      <a:gd name="T0" fmla="*/ 2147483647 w 270"/>
                      <a:gd name="T1" fmla="*/ 2147483647 h 356"/>
                      <a:gd name="T2" fmla="*/ 2147483647 w 270"/>
                      <a:gd name="T3" fmla="*/ 2147483647 h 356"/>
                      <a:gd name="T4" fmla="*/ 2147483647 w 270"/>
                      <a:gd name="T5" fmla="*/ 2147483647 h 356"/>
                      <a:gd name="T6" fmla="*/ 2147483647 w 270"/>
                      <a:gd name="T7" fmla="*/ 2147483647 h 356"/>
                      <a:gd name="T8" fmla="*/ 2147483647 w 270"/>
                      <a:gd name="T9" fmla="*/ 2147483647 h 356"/>
                      <a:gd name="T10" fmla="*/ 2147483647 w 270"/>
                      <a:gd name="T11" fmla="*/ 2147483647 h 356"/>
                      <a:gd name="T12" fmla="*/ 2147483647 w 270"/>
                      <a:gd name="T13" fmla="*/ 2147483647 h 356"/>
                      <a:gd name="T14" fmla="*/ 2147483647 w 270"/>
                      <a:gd name="T15" fmla="*/ 2147483647 h 356"/>
                      <a:gd name="T16" fmla="*/ 2147483647 w 270"/>
                      <a:gd name="T17" fmla="*/ 2147483647 h 356"/>
                      <a:gd name="T18" fmla="*/ 2147483647 w 270"/>
                      <a:gd name="T19" fmla="*/ 2147483647 h 356"/>
                      <a:gd name="T20" fmla="*/ 2147483647 w 270"/>
                      <a:gd name="T21" fmla="*/ 2147483647 h 356"/>
                      <a:gd name="T22" fmla="*/ 2147483647 w 270"/>
                      <a:gd name="T23" fmla="*/ 2147483647 h 356"/>
                      <a:gd name="T24" fmla="*/ 2147483647 w 270"/>
                      <a:gd name="T25" fmla="*/ 2147483647 h 356"/>
                      <a:gd name="T26" fmla="*/ 2147483647 w 270"/>
                      <a:gd name="T27" fmla="*/ 2147483647 h 356"/>
                      <a:gd name="T28" fmla="*/ 0 w 270"/>
                      <a:gd name="T29" fmla="*/ 2147483647 h 356"/>
                      <a:gd name="T30" fmla="*/ 2147483647 w 270"/>
                      <a:gd name="T31" fmla="*/ 2147483647 h 356"/>
                      <a:gd name="T32" fmla="*/ 2147483647 w 270"/>
                      <a:gd name="T33" fmla="*/ 2147483647 h 356"/>
                      <a:gd name="T34" fmla="*/ 2147483647 w 270"/>
                      <a:gd name="T35" fmla="*/ 2147483647 h 356"/>
                      <a:gd name="T36" fmla="*/ 2147483647 w 270"/>
                      <a:gd name="T37" fmla="*/ 2147483647 h 356"/>
                      <a:gd name="T38" fmla="*/ 2147483647 w 270"/>
                      <a:gd name="T39" fmla="*/ 2147483647 h 356"/>
                      <a:gd name="T40" fmla="*/ 2147483647 w 270"/>
                      <a:gd name="T41" fmla="*/ 2147483647 h 356"/>
                      <a:gd name="T42" fmla="*/ 2147483647 w 270"/>
                      <a:gd name="T43" fmla="*/ 2147483647 h 356"/>
                      <a:gd name="T44" fmla="*/ 2147483647 w 270"/>
                      <a:gd name="T45" fmla="*/ 2147483647 h 356"/>
                      <a:gd name="T46" fmla="*/ 2147483647 w 270"/>
                      <a:gd name="T47" fmla="*/ 2147483647 h 356"/>
                      <a:gd name="T48" fmla="*/ 2147483647 w 270"/>
                      <a:gd name="T49" fmla="*/ 2147483647 h 356"/>
                      <a:gd name="T50" fmla="*/ 2147483647 w 270"/>
                      <a:gd name="T51" fmla="*/ 2147483647 h 356"/>
                      <a:gd name="T52" fmla="*/ 2147483647 w 270"/>
                      <a:gd name="T53" fmla="*/ 2147483647 h 356"/>
                      <a:gd name="T54" fmla="*/ 2147483647 w 270"/>
                      <a:gd name="T55" fmla="*/ 2147483647 h 356"/>
                      <a:gd name="T56" fmla="*/ 2147483647 w 270"/>
                      <a:gd name="T57" fmla="*/ 2147483647 h 356"/>
                      <a:gd name="T58" fmla="*/ 2147483647 w 270"/>
                      <a:gd name="T59" fmla="*/ 2147483647 h 356"/>
                      <a:gd name="T60" fmla="*/ 2147483647 w 270"/>
                      <a:gd name="T61" fmla="*/ 2147483647 h 356"/>
                      <a:gd name="T62" fmla="*/ 2147483647 w 270"/>
                      <a:gd name="T63" fmla="*/ 2147483647 h 356"/>
                      <a:gd name="T64" fmla="*/ 2147483647 w 270"/>
                      <a:gd name="T65" fmla="*/ 2147483647 h 356"/>
                      <a:gd name="T66" fmla="*/ 2147483647 w 270"/>
                      <a:gd name="T67" fmla="*/ 2147483647 h 35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w 270"/>
                      <a:gd name="T103" fmla="*/ 0 h 356"/>
                      <a:gd name="T104" fmla="*/ 270 w 270"/>
                      <a:gd name="T105" fmla="*/ 356 h 35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T102" t="T103" r="T104" b="T105"/>
                    <a:pathLst>
                      <a:path w="270" h="356">
                        <a:moveTo>
                          <a:pt x="256" y="142"/>
                        </a:moveTo>
                        <a:cubicBezTo>
                          <a:pt x="243" y="142"/>
                          <a:pt x="243" y="142"/>
                          <a:pt x="243" y="142"/>
                        </a:cubicBezTo>
                        <a:cubicBezTo>
                          <a:pt x="243" y="106"/>
                          <a:pt x="243" y="106"/>
                          <a:pt x="243" y="106"/>
                        </a:cubicBezTo>
                        <a:cubicBezTo>
                          <a:pt x="243" y="106"/>
                          <a:pt x="243" y="106"/>
                          <a:pt x="243" y="105"/>
                        </a:cubicBezTo>
                        <a:cubicBezTo>
                          <a:pt x="243" y="93"/>
                          <a:pt x="242" y="82"/>
                          <a:pt x="238" y="71"/>
                        </a:cubicBezTo>
                        <a:cubicBezTo>
                          <a:pt x="236" y="67"/>
                          <a:pt x="232" y="65"/>
                          <a:pt x="227" y="66"/>
                        </a:cubicBezTo>
                        <a:cubicBezTo>
                          <a:pt x="223" y="68"/>
                          <a:pt x="221" y="72"/>
                          <a:pt x="223" y="76"/>
                        </a:cubicBezTo>
                        <a:cubicBezTo>
                          <a:pt x="226" y="86"/>
                          <a:pt x="227" y="95"/>
                          <a:pt x="227" y="107"/>
                        </a:cubicBezTo>
                        <a:cubicBezTo>
                          <a:pt x="227" y="107"/>
                          <a:pt x="227" y="107"/>
                          <a:pt x="227" y="107"/>
                        </a:cubicBezTo>
                        <a:cubicBezTo>
                          <a:pt x="227" y="142"/>
                          <a:pt x="227" y="142"/>
                          <a:pt x="227" y="142"/>
                        </a:cubicBezTo>
                        <a:cubicBezTo>
                          <a:pt x="211" y="142"/>
                          <a:pt x="211" y="142"/>
                          <a:pt x="211" y="142"/>
                        </a:cubicBezTo>
                        <a:cubicBezTo>
                          <a:pt x="211" y="106"/>
                          <a:pt x="211" y="106"/>
                          <a:pt x="211" y="106"/>
                        </a:cubicBezTo>
                        <a:cubicBezTo>
                          <a:pt x="211" y="90"/>
                          <a:pt x="204" y="71"/>
                          <a:pt x="190" y="56"/>
                        </a:cubicBezTo>
                        <a:cubicBezTo>
                          <a:pt x="177" y="42"/>
                          <a:pt x="158" y="30"/>
                          <a:pt x="135" y="30"/>
                        </a:cubicBezTo>
                        <a:cubicBezTo>
                          <a:pt x="93" y="30"/>
                          <a:pt x="59" y="64"/>
                          <a:pt x="59" y="106"/>
                        </a:cubicBezTo>
                        <a:cubicBezTo>
                          <a:pt x="59" y="142"/>
                          <a:pt x="59" y="142"/>
                          <a:pt x="59" y="142"/>
                        </a:cubicBezTo>
                        <a:cubicBezTo>
                          <a:pt x="43" y="142"/>
                          <a:pt x="43" y="142"/>
                          <a:pt x="43" y="142"/>
                        </a:cubicBezTo>
                        <a:cubicBezTo>
                          <a:pt x="43" y="107"/>
                          <a:pt x="43" y="107"/>
                          <a:pt x="43" y="107"/>
                        </a:cubicBezTo>
                        <a:cubicBezTo>
                          <a:pt x="43" y="107"/>
                          <a:pt x="43" y="106"/>
                          <a:pt x="43" y="106"/>
                        </a:cubicBezTo>
                        <a:cubicBezTo>
                          <a:pt x="44" y="56"/>
                          <a:pt x="85" y="17"/>
                          <a:pt x="135" y="17"/>
                        </a:cubicBezTo>
                        <a:cubicBezTo>
                          <a:pt x="179" y="17"/>
                          <a:pt x="199" y="40"/>
                          <a:pt x="207" y="51"/>
                        </a:cubicBezTo>
                        <a:cubicBezTo>
                          <a:pt x="210" y="54"/>
                          <a:pt x="215" y="55"/>
                          <a:pt x="218" y="52"/>
                        </a:cubicBezTo>
                        <a:cubicBezTo>
                          <a:pt x="222" y="50"/>
                          <a:pt x="223" y="45"/>
                          <a:pt x="220" y="41"/>
                        </a:cubicBezTo>
                        <a:cubicBezTo>
                          <a:pt x="211" y="29"/>
                          <a:pt x="185" y="0"/>
                          <a:pt x="135" y="1"/>
                        </a:cubicBezTo>
                        <a:cubicBezTo>
                          <a:pt x="77" y="1"/>
                          <a:pt x="29" y="47"/>
                          <a:pt x="27" y="105"/>
                        </a:cubicBezTo>
                        <a:cubicBezTo>
                          <a:pt x="27" y="105"/>
                          <a:pt x="27" y="106"/>
                          <a:pt x="27" y="106"/>
                        </a:cubicBezTo>
                        <a:cubicBezTo>
                          <a:pt x="27" y="142"/>
                          <a:pt x="27" y="142"/>
                          <a:pt x="27" y="142"/>
                        </a:cubicBezTo>
                        <a:cubicBezTo>
                          <a:pt x="14" y="142"/>
                          <a:pt x="14" y="142"/>
                          <a:pt x="14" y="142"/>
                        </a:cubicBezTo>
                        <a:cubicBezTo>
                          <a:pt x="6" y="142"/>
                          <a:pt x="0" y="148"/>
                          <a:pt x="0" y="156"/>
                        </a:cubicBezTo>
                        <a:cubicBezTo>
                          <a:pt x="0" y="342"/>
                          <a:pt x="0" y="342"/>
                          <a:pt x="0" y="342"/>
                        </a:cubicBezTo>
                        <a:cubicBezTo>
                          <a:pt x="0" y="350"/>
                          <a:pt x="6" y="356"/>
                          <a:pt x="14" y="356"/>
                        </a:cubicBezTo>
                        <a:cubicBezTo>
                          <a:pt x="14" y="356"/>
                          <a:pt x="256" y="356"/>
                          <a:pt x="256" y="356"/>
                        </a:cubicBezTo>
                        <a:cubicBezTo>
                          <a:pt x="264" y="356"/>
                          <a:pt x="270" y="350"/>
                          <a:pt x="270" y="342"/>
                        </a:cubicBezTo>
                        <a:cubicBezTo>
                          <a:pt x="270" y="156"/>
                          <a:pt x="270" y="156"/>
                          <a:pt x="270" y="156"/>
                        </a:cubicBezTo>
                        <a:cubicBezTo>
                          <a:pt x="270" y="148"/>
                          <a:pt x="264" y="142"/>
                          <a:pt x="256" y="142"/>
                        </a:cubicBezTo>
                        <a:close/>
                        <a:moveTo>
                          <a:pt x="75" y="106"/>
                        </a:moveTo>
                        <a:cubicBezTo>
                          <a:pt x="75" y="73"/>
                          <a:pt x="102" y="46"/>
                          <a:pt x="135" y="46"/>
                        </a:cubicBezTo>
                        <a:cubicBezTo>
                          <a:pt x="153" y="46"/>
                          <a:pt x="168" y="55"/>
                          <a:pt x="178" y="67"/>
                        </a:cubicBezTo>
                        <a:cubicBezTo>
                          <a:pt x="189" y="79"/>
                          <a:pt x="195" y="95"/>
                          <a:pt x="195" y="106"/>
                        </a:cubicBezTo>
                        <a:cubicBezTo>
                          <a:pt x="195" y="142"/>
                          <a:pt x="195" y="142"/>
                          <a:pt x="195" y="142"/>
                        </a:cubicBezTo>
                        <a:cubicBezTo>
                          <a:pt x="75" y="142"/>
                          <a:pt x="75" y="142"/>
                          <a:pt x="75" y="142"/>
                        </a:cubicBezTo>
                        <a:lnTo>
                          <a:pt x="75" y="106"/>
                        </a:lnTo>
                        <a:close/>
                        <a:moveTo>
                          <a:pt x="254" y="340"/>
                        </a:moveTo>
                        <a:cubicBezTo>
                          <a:pt x="254" y="340"/>
                          <a:pt x="21" y="340"/>
                          <a:pt x="16" y="340"/>
                        </a:cubicBezTo>
                        <a:cubicBezTo>
                          <a:pt x="16" y="158"/>
                          <a:pt x="16" y="158"/>
                          <a:pt x="16" y="158"/>
                        </a:cubicBezTo>
                        <a:cubicBezTo>
                          <a:pt x="254" y="158"/>
                          <a:pt x="254" y="158"/>
                          <a:pt x="254" y="158"/>
                        </a:cubicBezTo>
                        <a:lnTo>
                          <a:pt x="254" y="340"/>
                        </a:lnTo>
                        <a:close/>
                        <a:moveTo>
                          <a:pt x="121" y="255"/>
                        </a:moveTo>
                        <a:cubicBezTo>
                          <a:pt x="111" y="298"/>
                          <a:pt x="111" y="298"/>
                          <a:pt x="111" y="298"/>
                        </a:cubicBezTo>
                        <a:cubicBezTo>
                          <a:pt x="110" y="300"/>
                          <a:pt x="111" y="303"/>
                          <a:pt x="112" y="304"/>
                        </a:cubicBezTo>
                        <a:cubicBezTo>
                          <a:pt x="114" y="306"/>
                          <a:pt x="116" y="308"/>
                          <a:pt x="118" y="308"/>
                        </a:cubicBezTo>
                        <a:cubicBezTo>
                          <a:pt x="162" y="308"/>
                          <a:pt x="162" y="308"/>
                          <a:pt x="162" y="308"/>
                        </a:cubicBezTo>
                        <a:cubicBezTo>
                          <a:pt x="165" y="308"/>
                          <a:pt x="167" y="306"/>
                          <a:pt x="169" y="304"/>
                        </a:cubicBezTo>
                        <a:cubicBezTo>
                          <a:pt x="170" y="303"/>
                          <a:pt x="171" y="300"/>
                          <a:pt x="170" y="298"/>
                        </a:cubicBezTo>
                        <a:cubicBezTo>
                          <a:pt x="160" y="255"/>
                          <a:pt x="160" y="255"/>
                          <a:pt x="160" y="255"/>
                        </a:cubicBezTo>
                        <a:cubicBezTo>
                          <a:pt x="169" y="248"/>
                          <a:pt x="175" y="238"/>
                          <a:pt x="175" y="225"/>
                        </a:cubicBezTo>
                        <a:cubicBezTo>
                          <a:pt x="175" y="206"/>
                          <a:pt x="160" y="190"/>
                          <a:pt x="140" y="190"/>
                        </a:cubicBezTo>
                        <a:cubicBezTo>
                          <a:pt x="121" y="190"/>
                          <a:pt x="105" y="206"/>
                          <a:pt x="105" y="225"/>
                        </a:cubicBezTo>
                        <a:cubicBezTo>
                          <a:pt x="105" y="238"/>
                          <a:pt x="111" y="248"/>
                          <a:pt x="121" y="255"/>
                        </a:cubicBezTo>
                        <a:close/>
                        <a:moveTo>
                          <a:pt x="140" y="206"/>
                        </a:moveTo>
                        <a:cubicBezTo>
                          <a:pt x="151" y="206"/>
                          <a:pt x="159" y="215"/>
                          <a:pt x="159" y="225"/>
                        </a:cubicBezTo>
                        <a:cubicBezTo>
                          <a:pt x="159" y="233"/>
                          <a:pt x="155" y="240"/>
                          <a:pt x="148" y="243"/>
                        </a:cubicBezTo>
                        <a:cubicBezTo>
                          <a:pt x="144" y="245"/>
                          <a:pt x="142" y="249"/>
                          <a:pt x="143" y="252"/>
                        </a:cubicBezTo>
                        <a:cubicBezTo>
                          <a:pt x="152" y="292"/>
                          <a:pt x="152" y="292"/>
                          <a:pt x="152" y="292"/>
                        </a:cubicBezTo>
                        <a:cubicBezTo>
                          <a:pt x="128" y="292"/>
                          <a:pt x="128" y="292"/>
                          <a:pt x="128" y="292"/>
                        </a:cubicBezTo>
                        <a:cubicBezTo>
                          <a:pt x="138" y="252"/>
                          <a:pt x="138" y="252"/>
                          <a:pt x="138" y="252"/>
                        </a:cubicBezTo>
                        <a:cubicBezTo>
                          <a:pt x="139" y="249"/>
                          <a:pt x="137" y="245"/>
                          <a:pt x="133" y="243"/>
                        </a:cubicBezTo>
                        <a:cubicBezTo>
                          <a:pt x="126" y="240"/>
                          <a:pt x="121" y="233"/>
                          <a:pt x="121" y="225"/>
                        </a:cubicBezTo>
                        <a:cubicBezTo>
                          <a:pt x="121" y="215"/>
                          <a:pt x="130" y="206"/>
                          <a:pt x="140" y="206"/>
                        </a:cubicBezTo>
                        <a:close/>
                      </a:path>
                    </a:pathLst>
                  </a:custGeom>
                  <a:solidFill>
                    <a:srgbClr val="58585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22964" name="Freeform 3"/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4843" y="1369"/>
                    <a:ext cx="169" cy="153"/>
                  </a:xfrm>
                  <a:custGeom>
                    <a:avLst/>
                    <a:gdLst>
                      <a:gd name="T0" fmla="*/ 2147483647 w 372"/>
                      <a:gd name="T1" fmla="*/ 2147483647 h 330"/>
                      <a:gd name="T2" fmla="*/ 2147483647 w 372"/>
                      <a:gd name="T3" fmla="*/ 2147483647 h 330"/>
                      <a:gd name="T4" fmla="*/ 2147483647 w 372"/>
                      <a:gd name="T5" fmla="*/ 2147483647 h 330"/>
                      <a:gd name="T6" fmla="*/ 2147483647 w 372"/>
                      <a:gd name="T7" fmla="*/ 2147483647 h 330"/>
                      <a:gd name="T8" fmla="*/ 2147483647 w 372"/>
                      <a:gd name="T9" fmla="*/ 2147483647 h 330"/>
                      <a:gd name="T10" fmla="*/ 2147483647 w 372"/>
                      <a:gd name="T11" fmla="*/ 2147483647 h 330"/>
                      <a:gd name="T12" fmla="*/ 2147483647 w 372"/>
                      <a:gd name="T13" fmla="*/ 2147483647 h 330"/>
                      <a:gd name="T14" fmla="*/ 2147483647 w 372"/>
                      <a:gd name="T15" fmla="*/ 2147483647 h 330"/>
                      <a:gd name="T16" fmla="*/ 2147483647 w 372"/>
                      <a:gd name="T17" fmla="*/ 2147483647 h 330"/>
                      <a:gd name="T18" fmla="*/ 2147483647 w 372"/>
                      <a:gd name="T19" fmla="*/ 2147483647 h 330"/>
                      <a:gd name="T20" fmla="*/ 2147483647 w 372"/>
                      <a:gd name="T21" fmla="*/ 2147483647 h 330"/>
                      <a:gd name="T22" fmla="*/ 2147483647 w 372"/>
                      <a:gd name="T23" fmla="*/ 2147483647 h 330"/>
                      <a:gd name="T24" fmla="*/ 2147483647 w 372"/>
                      <a:gd name="T25" fmla="*/ 2147483647 h 330"/>
                      <a:gd name="T26" fmla="*/ 2147483647 w 372"/>
                      <a:gd name="T27" fmla="*/ 2147483647 h 330"/>
                      <a:gd name="T28" fmla="*/ 2147483647 w 372"/>
                      <a:gd name="T29" fmla="*/ 2147483647 h 330"/>
                      <a:gd name="T30" fmla="*/ 2147483647 w 372"/>
                      <a:gd name="T31" fmla="*/ 2147483647 h 330"/>
                      <a:gd name="T32" fmla="*/ 2147483647 w 372"/>
                      <a:gd name="T33" fmla="*/ 2147483647 h 330"/>
                      <a:gd name="T34" fmla="*/ 2147483647 w 372"/>
                      <a:gd name="T35" fmla="*/ 2147483647 h 330"/>
                      <a:gd name="T36" fmla="*/ 2147483647 w 372"/>
                      <a:gd name="T37" fmla="*/ 2147483647 h 330"/>
                      <a:gd name="T38" fmla="*/ 2147483647 w 372"/>
                      <a:gd name="T39" fmla="*/ 2147483647 h 330"/>
                      <a:gd name="T40" fmla="*/ 2147483647 w 372"/>
                      <a:gd name="T41" fmla="*/ 2147483647 h 330"/>
                      <a:gd name="T42" fmla="*/ 2147483647 w 372"/>
                      <a:gd name="T43" fmla="*/ 2147483647 h 330"/>
                      <a:gd name="T44" fmla="*/ 2147483647 w 372"/>
                      <a:gd name="T45" fmla="*/ 2147483647 h 330"/>
                      <a:gd name="T46" fmla="*/ 2147483647 w 372"/>
                      <a:gd name="T47" fmla="*/ 2147483647 h 330"/>
                      <a:gd name="T48" fmla="*/ 2147483647 w 372"/>
                      <a:gd name="T49" fmla="*/ 2147483647 h 330"/>
                      <a:gd name="T50" fmla="*/ 2147483647 w 372"/>
                      <a:gd name="T51" fmla="*/ 2147483647 h 330"/>
                      <a:gd name="T52" fmla="*/ 2147483647 w 372"/>
                      <a:gd name="T53" fmla="*/ 0 h 330"/>
                      <a:gd name="T54" fmla="*/ 2147483647 w 372"/>
                      <a:gd name="T55" fmla="*/ 2147483647 h 330"/>
                      <a:gd name="T56" fmla="*/ 2147483647 w 372"/>
                      <a:gd name="T57" fmla="*/ 2147483647 h 330"/>
                      <a:gd name="T58" fmla="*/ 2147483647 w 372"/>
                      <a:gd name="T59" fmla="*/ 2147483647 h 330"/>
                      <a:gd name="T60" fmla="*/ 2147483647 w 372"/>
                      <a:gd name="T61" fmla="*/ 2147483647 h 330"/>
                      <a:gd name="T62" fmla="*/ 2147483647 w 372"/>
                      <a:gd name="T63" fmla="*/ 2147483647 h 330"/>
                      <a:gd name="T64" fmla="*/ 2147483647 w 372"/>
                      <a:gd name="T65" fmla="*/ 2147483647 h 330"/>
                      <a:gd name="T66" fmla="*/ 2147483647 w 372"/>
                      <a:gd name="T67" fmla="*/ 2147483647 h 330"/>
                      <a:gd name="T68" fmla="*/ 2147483647 w 372"/>
                      <a:gd name="T69" fmla="*/ 2147483647 h 330"/>
                      <a:gd name="T70" fmla="*/ 2147483647 w 372"/>
                      <a:gd name="T71" fmla="*/ 2147483647 h 330"/>
                      <a:gd name="T72" fmla="*/ 2147483647 w 372"/>
                      <a:gd name="T73" fmla="*/ 2147483647 h 330"/>
                      <a:gd name="T74" fmla="*/ 2147483647 w 372"/>
                      <a:gd name="T75" fmla="*/ 2147483647 h 330"/>
                      <a:gd name="T76" fmla="*/ 2147483647 w 372"/>
                      <a:gd name="T77" fmla="*/ 2147483647 h 330"/>
                      <a:gd name="T78" fmla="*/ 2147483647 w 372"/>
                      <a:gd name="T79" fmla="*/ 2147483647 h 330"/>
                      <a:gd name="T80" fmla="*/ 2147483647 w 372"/>
                      <a:gd name="T81" fmla="*/ 2147483647 h 330"/>
                      <a:gd name="T82" fmla="*/ 2147483647 w 372"/>
                      <a:gd name="T83" fmla="*/ 2147483647 h 330"/>
                      <a:gd name="T84" fmla="*/ 2147483647 w 372"/>
                      <a:gd name="T85" fmla="*/ 2147483647 h 330"/>
                      <a:gd name="T86" fmla="*/ 2147483647 w 372"/>
                      <a:gd name="T87" fmla="*/ 2147483647 h 330"/>
                      <a:gd name="T88" fmla="*/ 2147483647 w 372"/>
                      <a:gd name="T89" fmla="*/ 2147483647 h 330"/>
                      <a:gd name="T90" fmla="*/ 2147483647 w 372"/>
                      <a:gd name="T91" fmla="*/ 2147483647 h 330"/>
                      <a:gd name="T92" fmla="*/ 2147483647 w 372"/>
                      <a:gd name="T93" fmla="*/ 2147483647 h 330"/>
                      <a:gd name="T94" fmla="*/ 2147483647 w 372"/>
                      <a:gd name="T95" fmla="*/ 2147483647 h 330"/>
                      <a:gd name="T96" fmla="*/ 2147483647 w 372"/>
                      <a:gd name="T97" fmla="*/ 2147483647 h 330"/>
                      <a:gd name="T98" fmla="*/ 2147483647 w 372"/>
                      <a:gd name="T99" fmla="*/ 2147483647 h 330"/>
                      <a:gd name="T100" fmla="*/ 2147483647 w 372"/>
                      <a:gd name="T101" fmla="*/ 2147483647 h 330"/>
                      <a:gd name="T102" fmla="*/ 2147483647 w 372"/>
                      <a:gd name="T103" fmla="*/ 2147483647 h 330"/>
                      <a:gd name="T104" fmla="*/ 2147483647 w 372"/>
                      <a:gd name="T105" fmla="*/ 2147483647 h 330"/>
                      <a:gd name="T106" fmla="*/ 2147483647 w 372"/>
                      <a:gd name="T107" fmla="*/ 2147483647 h 330"/>
                      <a:gd name="T108" fmla="*/ 2147483647 w 372"/>
                      <a:gd name="T109" fmla="*/ 2147483647 h 330"/>
                      <a:gd name="T110" fmla="*/ 2147483647 w 372"/>
                      <a:gd name="T111" fmla="*/ 2147483647 h 330"/>
                      <a:gd name="T112" fmla="*/ 2147483647 w 372"/>
                      <a:gd name="T113" fmla="*/ 2147483647 h 330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w 372"/>
                      <a:gd name="T172" fmla="*/ 0 h 330"/>
                      <a:gd name="T173" fmla="*/ 372 w 372"/>
                      <a:gd name="T174" fmla="*/ 330 h 330"/>
                    </a:gdLst>
                    <a:ahLst/>
                    <a:cxnLst>
                      <a:cxn ang="T114">
                        <a:pos x="T0" y="T1"/>
                      </a:cxn>
                      <a:cxn ang="T115">
                        <a:pos x="T2" y="T3"/>
                      </a:cxn>
                      <a:cxn ang="T116">
                        <a:pos x="T4" y="T5"/>
                      </a:cxn>
                      <a:cxn ang="T117">
                        <a:pos x="T6" y="T7"/>
                      </a:cxn>
                      <a:cxn ang="T118">
                        <a:pos x="T8" y="T9"/>
                      </a:cxn>
                      <a:cxn ang="T119">
                        <a:pos x="T10" y="T11"/>
                      </a:cxn>
                      <a:cxn ang="T120">
                        <a:pos x="T12" y="T13"/>
                      </a:cxn>
                      <a:cxn ang="T121">
                        <a:pos x="T14" y="T15"/>
                      </a:cxn>
                      <a:cxn ang="T122">
                        <a:pos x="T16" y="T17"/>
                      </a:cxn>
                      <a:cxn ang="T123">
                        <a:pos x="T18" y="T19"/>
                      </a:cxn>
                      <a:cxn ang="T124">
                        <a:pos x="T20" y="T21"/>
                      </a:cxn>
                      <a:cxn ang="T125">
                        <a:pos x="T22" y="T23"/>
                      </a:cxn>
                      <a:cxn ang="T126">
                        <a:pos x="T24" y="T25"/>
                      </a:cxn>
                      <a:cxn ang="T127">
                        <a:pos x="T26" y="T27"/>
                      </a:cxn>
                      <a:cxn ang="T128">
                        <a:pos x="T28" y="T29"/>
                      </a:cxn>
                      <a:cxn ang="T129">
                        <a:pos x="T30" y="T31"/>
                      </a:cxn>
                      <a:cxn ang="T130">
                        <a:pos x="T32" y="T33"/>
                      </a:cxn>
                      <a:cxn ang="T131">
                        <a:pos x="T34" y="T35"/>
                      </a:cxn>
                      <a:cxn ang="T132">
                        <a:pos x="T36" y="T37"/>
                      </a:cxn>
                      <a:cxn ang="T133">
                        <a:pos x="T38" y="T39"/>
                      </a:cxn>
                      <a:cxn ang="T134">
                        <a:pos x="T40" y="T41"/>
                      </a:cxn>
                      <a:cxn ang="T135">
                        <a:pos x="T42" y="T43"/>
                      </a:cxn>
                      <a:cxn ang="T136">
                        <a:pos x="T44" y="T45"/>
                      </a:cxn>
                      <a:cxn ang="T137">
                        <a:pos x="T46" y="T47"/>
                      </a:cxn>
                      <a:cxn ang="T138">
                        <a:pos x="T48" y="T49"/>
                      </a:cxn>
                      <a:cxn ang="T139">
                        <a:pos x="T50" y="T51"/>
                      </a:cxn>
                      <a:cxn ang="T140">
                        <a:pos x="T52" y="T53"/>
                      </a:cxn>
                      <a:cxn ang="T141">
                        <a:pos x="T54" y="T55"/>
                      </a:cxn>
                      <a:cxn ang="T142">
                        <a:pos x="T56" y="T57"/>
                      </a:cxn>
                      <a:cxn ang="T143">
                        <a:pos x="T58" y="T59"/>
                      </a:cxn>
                      <a:cxn ang="T144">
                        <a:pos x="T60" y="T61"/>
                      </a:cxn>
                      <a:cxn ang="T145">
                        <a:pos x="T62" y="T63"/>
                      </a:cxn>
                      <a:cxn ang="T146">
                        <a:pos x="T64" y="T65"/>
                      </a:cxn>
                      <a:cxn ang="T147">
                        <a:pos x="T66" y="T67"/>
                      </a:cxn>
                      <a:cxn ang="T148">
                        <a:pos x="T68" y="T69"/>
                      </a:cxn>
                      <a:cxn ang="T149">
                        <a:pos x="T70" y="T71"/>
                      </a:cxn>
                      <a:cxn ang="T150">
                        <a:pos x="T72" y="T73"/>
                      </a:cxn>
                      <a:cxn ang="T151">
                        <a:pos x="T74" y="T75"/>
                      </a:cxn>
                      <a:cxn ang="T152">
                        <a:pos x="T76" y="T77"/>
                      </a:cxn>
                      <a:cxn ang="T153">
                        <a:pos x="T78" y="T79"/>
                      </a:cxn>
                      <a:cxn ang="T154">
                        <a:pos x="T80" y="T81"/>
                      </a:cxn>
                      <a:cxn ang="T155">
                        <a:pos x="T82" y="T83"/>
                      </a:cxn>
                      <a:cxn ang="T156">
                        <a:pos x="T84" y="T85"/>
                      </a:cxn>
                      <a:cxn ang="T157">
                        <a:pos x="T86" y="T87"/>
                      </a:cxn>
                      <a:cxn ang="T158">
                        <a:pos x="T88" y="T89"/>
                      </a:cxn>
                      <a:cxn ang="T159">
                        <a:pos x="T90" y="T91"/>
                      </a:cxn>
                      <a:cxn ang="T160">
                        <a:pos x="T92" y="T93"/>
                      </a:cxn>
                      <a:cxn ang="T161">
                        <a:pos x="T94" y="T95"/>
                      </a:cxn>
                      <a:cxn ang="T162">
                        <a:pos x="T96" y="T97"/>
                      </a:cxn>
                      <a:cxn ang="T163">
                        <a:pos x="T98" y="T99"/>
                      </a:cxn>
                      <a:cxn ang="T164">
                        <a:pos x="T100" y="T101"/>
                      </a:cxn>
                      <a:cxn ang="T165">
                        <a:pos x="T102" y="T103"/>
                      </a:cxn>
                      <a:cxn ang="T166">
                        <a:pos x="T104" y="T105"/>
                      </a:cxn>
                      <a:cxn ang="T167">
                        <a:pos x="T106" y="T107"/>
                      </a:cxn>
                      <a:cxn ang="T168">
                        <a:pos x="T108" y="T109"/>
                      </a:cxn>
                      <a:cxn ang="T169">
                        <a:pos x="T110" y="T111"/>
                      </a:cxn>
                      <a:cxn ang="T170">
                        <a:pos x="T112" y="T113"/>
                      </a:cxn>
                    </a:cxnLst>
                    <a:rect l="T171" t="T172" r="T173" b="T174"/>
                    <a:pathLst>
                      <a:path w="372" h="330">
                        <a:moveTo>
                          <a:pt x="307" y="33"/>
                        </a:moveTo>
                        <a:cubicBezTo>
                          <a:pt x="305" y="29"/>
                          <a:pt x="300" y="27"/>
                          <a:pt x="296" y="29"/>
                        </a:cubicBezTo>
                        <a:cubicBezTo>
                          <a:pt x="108" y="116"/>
                          <a:pt x="108" y="116"/>
                          <a:pt x="108" y="116"/>
                        </a:cubicBezTo>
                        <a:cubicBezTo>
                          <a:pt x="104" y="118"/>
                          <a:pt x="103" y="123"/>
                          <a:pt x="104" y="127"/>
                        </a:cubicBezTo>
                        <a:cubicBezTo>
                          <a:pt x="106" y="130"/>
                          <a:pt x="109" y="131"/>
                          <a:pt x="112" y="131"/>
                        </a:cubicBezTo>
                        <a:cubicBezTo>
                          <a:pt x="113" y="131"/>
                          <a:pt x="114" y="131"/>
                          <a:pt x="115" y="130"/>
                        </a:cubicBezTo>
                        <a:cubicBezTo>
                          <a:pt x="303" y="44"/>
                          <a:pt x="303" y="44"/>
                          <a:pt x="303" y="44"/>
                        </a:cubicBezTo>
                        <a:cubicBezTo>
                          <a:pt x="307" y="42"/>
                          <a:pt x="309" y="37"/>
                          <a:pt x="307" y="33"/>
                        </a:cubicBezTo>
                        <a:close/>
                        <a:moveTo>
                          <a:pt x="144" y="209"/>
                        </a:moveTo>
                        <a:cubicBezTo>
                          <a:pt x="146" y="209"/>
                          <a:pt x="147" y="209"/>
                          <a:pt x="148" y="208"/>
                        </a:cubicBezTo>
                        <a:cubicBezTo>
                          <a:pt x="336" y="121"/>
                          <a:pt x="336" y="121"/>
                          <a:pt x="336" y="121"/>
                        </a:cubicBezTo>
                        <a:cubicBezTo>
                          <a:pt x="340" y="120"/>
                          <a:pt x="341" y="115"/>
                          <a:pt x="340" y="111"/>
                        </a:cubicBezTo>
                        <a:cubicBezTo>
                          <a:pt x="338" y="107"/>
                          <a:pt x="333" y="105"/>
                          <a:pt x="329" y="107"/>
                        </a:cubicBezTo>
                        <a:cubicBezTo>
                          <a:pt x="141" y="194"/>
                          <a:pt x="141" y="194"/>
                          <a:pt x="141" y="194"/>
                        </a:cubicBezTo>
                        <a:cubicBezTo>
                          <a:pt x="137" y="196"/>
                          <a:pt x="135" y="200"/>
                          <a:pt x="137" y="204"/>
                        </a:cubicBezTo>
                        <a:cubicBezTo>
                          <a:pt x="139" y="207"/>
                          <a:pt x="141" y="209"/>
                          <a:pt x="144" y="209"/>
                        </a:cubicBezTo>
                        <a:close/>
                        <a:moveTo>
                          <a:pt x="360" y="284"/>
                        </a:moveTo>
                        <a:cubicBezTo>
                          <a:pt x="265" y="284"/>
                          <a:pt x="265" y="284"/>
                          <a:pt x="265" y="284"/>
                        </a:cubicBezTo>
                        <a:cubicBezTo>
                          <a:pt x="262" y="284"/>
                          <a:pt x="260" y="284"/>
                          <a:pt x="258" y="284"/>
                        </a:cubicBezTo>
                        <a:cubicBezTo>
                          <a:pt x="256" y="283"/>
                          <a:pt x="257" y="283"/>
                          <a:pt x="257" y="283"/>
                        </a:cubicBezTo>
                        <a:cubicBezTo>
                          <a:pt x="257" y="283"/>
                          <a:pt x="256" y="281"/>
                          <a:pt x="256" y="277"/>
                        </a:cubicBezTo>
                        <a:cubicBezTo>
                          <a:pt x="256" y="251"/>
                          <a:pt x="256" y="251"/>
                          <a:pt x="256" y="251"/>
                        </a:cubicBezTo>
                        <a:cubicBezTo>
                          <a:pt x="269" y="251"/>
                          <a:pt x="269" y="251"/>
                          <a:pt x="269" y="251"/>
                        </a:cubicBezTo>
                        <a:cubicBezTo>
                          <a:pt x="271" y="251"/>
                          <a:pt x="273" y="250"/>
                          <a:pt x="275" y="249"/>
                        </a:cubicBezTo>
                        <a:cubicBezTo>
                          <a:pt x="276" y="248"/>
                          <a:pt x="277" y="245"/>
                          <a:pt x="277" y="243"/>
                        </a:cubicBezTo>
                        <a:cubicBezTo>
                          <a:pt x="277" y="177"/>
                          <a:pt x="277" y="177"/>
                          <a:pt x="277" y="177"/>
                        </a:cubicBezTo>
                        <a:cubicBezTo>
                          <a:pt x="355" y="141"/>
                          <a:pt x="355" y="141"/>
                          <a:pt x="355" y="141"/>
                        </a:cubicBezTo>
                        <a:cubicBezTo>
                          <a:pt x="366" y="136"/>
                          <a:pt x="372" y="125"/>
                          <a:pt x="372" y="114"/>
                        </a:cubicBezTo>
                        <a:cubicBezTo>
                          <a:pt x="372" y="110"/>
                          <a:pt x="371" y="106"/>
                          <a:pt x="370" y="102"/>
                        </a:cubicBezTo>
                        <a:cubicBezTo>
                          <a:pt x="345" y="49"/>
                          <a:pt x="345" y="49"/>
                          <a:pt x="345" y="49"/>
                        </a:cubicBezTo>
                        <a:cubicBezTo>
                          <a:pt x="343" y="45"/>
                          <a:pt x="339" y="43"/>
                          <a:pt x="335" y="45"/>
                        </a:cubicBezTo>
                        <a:cubicBezTo>
                          <a:pt x="331" y="47"/>
                          <a:pt x="329" y="52"/>
                          <a:pt x="331" y="56"/>
                        </a:cubicBezTo>
                        <a:cubicBezTo>
                          <a:pt x="331" y="56"/>
                          <a:pt x="331" y="56"/>
                          <a:pt x="331" y="56"/>
                        </a:cubicBezTo>
                        <a:cubicBezTo>
                          <a:pt x="355" y="109"/>
                          <a:pt x="355" y="109"/>
                          <a:pt x="355" y="109"/>
                        </a:cubicBezTo>
                        <a:cubicBezTo>
                          <a:pt x="356" y="111"/>
                          <a:pt x="356" y="113"/>
                          <a:pt x="356" y="114"/>
                        </a:cubicBezTo>
                        <a:cubicBezTo>
                          <a:pt x="356" y="119"/>
                          <a:pt x="354" y="124"/>
                          <a:pt x="349" y="126"/>
                        </a:cubicBezTo>
                        <a:cubicBezTo>
                          <a:pt x="147" y="220"/>
                          <a:pt x="147" y="220"/>
                          <a:pt x="147" y="220"/>
                        </a:cubicBezTo>
                        <a:cubicBezTo>
                          <a:pt x="145" y="221"/>
                          <a:pt x="143" y="221"/>
                          <a:pt x="141" y="221"/>
                        </a:cubicBezTo>
                        <a:cubicBezTo>
                          <a:pt x="136" y="221"/>
                          <a:pt x="131" y="218"/>
                          <a:pt x="129" y="213"/>
                        </a:cubicBezTo>
                        <a:cubicBezTo>
                          <a:pt x="122" y="198"/>
                          <a:pt x="122" y="198"/>
                          <a:pt x="122" y="198"/>
                        </a:cubicBezTo>
                        <a:cubicBezTo>
                          <a:pt x="122" y="198"/>
                          <a:pt x="122" y="198"/>
                          <a:pt x="122" y="198"/>
                        </a:cubicBezTo>
                        <a:cubicBezTo>
                          <a:pt x="122" y="198"/>
                          <a:pt x="122" y="198"/>
                          <a:pt x="122" y="198"/>
                        </a:cubicBezTo>
                        <a:cubicBezTo>
                          <a:pt x="96" y="141"/>
                          <a:pt x="96" y="141"/>
                          <a:pt x="96" y="141"/>
                        </a:cubicBezTo>
                        <a:cubicBezTo>
                          <a:pt x="96" y="141"/>
                          <a:pt x="96" y="141"/>
                          <a:pt x="96" y="141"/>
                        </a:cubicBezTo>
                        <a:cubicBezTo>
                          <a:pt x="96" y="141"/>
                          <a:pt x="96" y="141"/>
                          <a:pt x="96" y="141"/>
                        </a:cubicBezTo>
                        <a:cubicBezTo>
                          <a:pt x="90" y="128"/>
                          <a:pt x="90" y="128"/>
                          <a:pt x="90" y="128"/>
                        </a:cubicBezTo>
                        <a:cubicBezTo>
                          <a:pt x="89" y="126"/>
                          <a:pt x="89" y="124"/>
                          <a:pt x="89" y="123"/>
                        </a:cubicBezTo>
                        <a:cubicBezTo>
                          <a:pt x="89" y="118"/>
                          <a:pt x="91" y="113"/>
                          <a:pt x="96" y="111"/>
                        </a:cubicBezTo>
                        <a:cubicBezTo>
                          <a:pt x="298" y="17"/>
                          <a:pt x="298" y="17"/>
                          <a:pt x="298" y="17"/>
                        </a:cubicBezTo>
                        <a:cubicBezTo>
                          <a:pt x="300" y="16"/>
                          <a:pt x="302" y="16"/>
                          <a:pt x="304" y="16"/>
                        </a:cubicBezTo>
                        <a:cubicBezTo>
                          <a:pt x="309" y="16"/>
                          <a:pt x="314" y="19"/>
                          <a:pt x="316" y="24"/>
                        </a:cubicBezTo>
                        <a:cubicBezTo>
                          <a:pt x="318" y="28"/>
                          <a:pt x="322" y="29"/>
                          <a:pt x="326" y="28"/>
                        </a:cubicBezTo>
                        <a:cubicBezTo>
                          <a:pt x="330" y="26"/>
                          <a:pt x="332" y="21"/>
                          <a:pt x="330" y="17"/>
                        </a:cubicBezTo>
                        <a:cubicBezTo>
                          <a:pt x="325" y="6"/>
                          <a:pt x="315" y="0"/>
                          <a:pt x="304" y="0"/>
                        </a:cubicBezTo>
                        <a:cubicBezTo>
                          <a:pt x="300" y="0"/>
                          <a:pt x="296" y="1"/>
                          <a:pt x="292" y="3"/>
                        </a:cubicBezTo>
                        <a:cubicBezTo>
                          <a:pt x="90" y="96"/>
                          <a:pt x="90" y="96"/>
                          <a:pt x="90" y="96"/>
                        </a:cubicBezTo>
                        <a:cubicBezTo>
                          <a:pt x="79" y="101"/>
                          <a:pt x="73" y="112"/>
                          <a:pt x="73" y="123"/>
                        </a:cubicBezTo>
                        <a:cubicBezTo>
                          <a:pt x="73" y="127"/>
                          <a:pt x="73" y="131"/>
                          <a:pt x="75" y="135"/>
                        </a:cubicBezTo>
                        <a:cubicBezTo>
                          <a:pt x="78" y="140"/>
                          <a:pt x="78" y="140"/>
                          <a:pt x="78" y="140"/>
                        </a:cubicBezTo>
                        <a:cubicBezTo>
                          <a:pt x="67" y="146"/>
                          <a:pt x="67" y="146"/>
                          <a:pt x="67" y="146"/>
                        </a:cubicBezTo>
                        <a:cubicBezTo>
                          <a:pt x="42" y="136"/>
                          <a:pt x="42" y="136"/>
                          <a:pt x="42" y="136"/>
                        </a:cubicBezTo>
                        <a:cubicBezTo>
                          <a:pt x="40" y="135"/>
                          <a:pt x="37" y="136"/>
                          <a:pt x="36" y="136"/>
                        </a:cubicBezTo>
                        <a:cubicBezTo>
                          <a:pt x="6" y="150"/>
                          <a:pt x="6" y="150"/>
                          <a:pt x="6" y="150"/>
                        </a:cubicBezTo>
                        <a:cubicBezTo>
                          <a:pt x="2" y="152"/>
                          <a:pt x="0" y="157"/>
                          <a:pt x="2" y="161"/>
                        </a:cubicBezTo>
                        <a:cubicBezTo>
                          <a:pt x="46" y="257"/>
                          <a:pt x="46" y="257"/>
                          <a:pt x="46" y="257"/>
                        </a:cubicBezTo>
                        <a:cubicBezTo>
                          <a:pt x="47" y="259"/>
                          <a:pt x="49" y="260"/>
                          <a:pt x="51" y="261"/>
                        </a:cubicBezTo>
                        <a:cubicBezTo>
                          <a:pt x="52" y="261"/>
                          <a:pt x="53" y="262"/>
                          <a:pt x="54" y="262"/>
                        </a:cubicBezTo>
                        <a:cubicBezTo>
                          <a:pt x="55" y="262"/>
                          <a:pt x="56" y="261"/>
                          <a:pt x="57" y="261"/>
                        </a:cubicBezTo>
                        <a:cubicBezTo>
                          <a:pt x="87" y="247"/>
                          <a:pt x="87" y="247"/>
                          <a:pt x="87" y="247"/>
                        </a:cubicBezTo>
                        <a:cubicBezTo>
                          <a:pt x="89" y="246"/>
                          <a:pt x="90" y="245"/>
                          <a:pt x="91" y="243"/>
                        </a:cubicBezTo>
                        <a:cubicBezTo>
                          <a:pt x="100" y="217"/>
                          <a:pt x="100" y="217"/>
                          <a:pt x="100" y="217"/>
                        </a:cubicBezTo>
                        <a:cubicBezTo>
                          <a:pt x="111" y="212"/>
                          <a:pt x="111" y="212"/>
                          <a:pt x="111" y="212"/>
                        </a:cubicBezTo>
                        <a:cubicBezTo>
                          <a:pt x="115" y="220"/>
                          <a:pt x="115" y="220"/>
                          <a:pt x="115" y="220"/>
                        </a:cubicBezTo>
                        <a:cubicBezTo>
                          <a:pt x="120" y="231"/>
                          <a:pt x="130" y="237"/>
                          <a:pt x="141" y="237"/>
                        </a:cubicBezTo>
                        <a:cubicBezTo>
                          <a:pt x="145" y="237"/>
                          <a:pt x="149" y="236"/>
                          <a:pt x="153" y="234"/>
                        </a:cubicBezTo>
                        <a:cubicBezTo>
                          <a:pt x="184" y="220"/>
                          <a:pt x="184" y="220"/>
                          <a:pt x="184" y="220"/>
                        </a:cubicBezTo>
                        <a:cubicBezTo>
                          <a:pt x="184" y="243"/>
                          <a:pt x="184" y="243"/>
                          <a:pt x="184" y="243"/>
                        </a:cubicBezTo>
                        <a:cubicBezTo>
                          <a:pt x="184" y="245"/>
                          <a:pt x="185" y="248"/>
                          <a:pt x="187" y="249"/>
                        </a:cubicBezTo>
                        <a:cubicBezTo>
                          <a:pt x="188" y="250"/>
                          <a:pt x="190" y="251"/>
                          <a:pt x="192" y="251"/>
                        </a:cubicBezTo>
                        <a:cubicBezTo>
                          <a:pt x="207" y="251"/>
                          <a:pt x="207" y="251"/>
                          <a:pt x="207" y="251"/>
                        </a:cubicBezTo>
                        <a:cubicBezTo>
                          <a:pt x="207" y="300"/>
                          <a:pt x="207" y="300"/>
                          <a:pt x="207" y="300"/>
                        </a:cubicBezTo>
                        <a:cubicBezTo>
                          <a:pt x="207" y="317"/>
                          <a:pt x="221" y="330"/>
                          <a:pt x="237" y="330"/>
                        </a:cubicBezTo>
                        <a:cubicBezTo>
                          <a:pt x="360" y="330"/>
                          <a:pt x="360" y="330"/>
                          <a:pt x="360" y="330"/>
                        </a:cubicBezTo>
                        <a:cubicBezTo>
                          <a:pt x="362" y="330"/>
                          <a:pt x="364" y="330"/>
                          <a:pt x="365" y="328"/>
                        </a:cubicBezTo>
                        <a:cubicBezTo>
                          <a:pt x="367" y="326"/>
                          <a:pt x="368" y="324"/>
                          <a:pt x="368" y="322"/>
                        </a:cubicBezTo>
                        <a:cubicBezTo>
                          <a:pt x="368" y="292"/>
                          <a:pt x="368" y="292"/>
                          <a:pt x="368" y="292"/>
                        </a:cubicBezTo>
                        <a:cubicBezTo>
                          <a:pt x="368" y="290"/>
                          <a:pt x="367" y="288"/>
                          <a:pt x="365" y="286"/>
                        </a:cubicBezTo>
                        <a:cubicBezTo>
                          <a:pt x="364" y="285"/>
                          <a:pt x="362" y="284"/>
                          <a:pt x="360" y="284"/>
                        </a:cubicBezTo>
                        <a:close/>
                        <a:moveTo>
                          <a:pt x="90" y="204"/>
                        </a:moveTo>
                        <a:cubicBezTo>
                          <a:pt x="88" y="205"/>
                          <a:pt x="87" y="207"/>
                          <a:pt x="86" y="209"/>
                        </a:cubicBezTo>
                        <a:cubicBezTo>
                          <a:pt x="77" y="234"/>
                          <a:pt x="77" y="234"/>
                          <a:pt x="77" y="234"/>
                        </a:cubicBezTo>
                        <a:cubicBezTo>
                          <a:pt x="58" y="243"/>
                          <a:pt x="58" y="243"/>
                          <a:pt x="58" y="243"/>
                        </a:cubicBezTo>
                        <a:cubicBezTo>
                          <a:pt x="20" y="161"/>
                          <a:pt x="20" y="161"/>
                          <a:pt x="20" y="161"/>
                        </a:cubicBezTo>
                        <a:cubicBezTo>
                          <a:pt x="39" y="152"/>
                          <a:pt x="39" y="152"/>
                          <a:pt x="39" y="152"/>
                        </a:cubicBezTo>
                        <a:cubicBezTo>
                          <a:pt x="65" y="162"/>
                          <a:pt x="65" y="162"/>
                          <a:pt x="65" y="162"/>
                        </a:cubicBezTo>
                        <a:cubicBezTo>
                          <a:pt x="67" y="162"/>
                          <a:pt x="69" y="162"/>
                          <a:pt x="71" y="161"/>
                        </a:cubicBezTo>
                        <a:cubicBezTo>
                          <a:pt x="85" y="155"/>
                          <a:pt x="85" y="155"/>
                          <a:pt x="85" y="155"/>
                        </a:cubicBezTo>
                        <a:cubicBezTo>
                          <a:pt x="104" y="198"/>
                          <a:pt x="104" y="198"/>
                          <a:pt x="104" y="198"/>
                        </a:cubicBezTo>
                        <a:lnTo>
                          <a:pt x="90" y="204"/>
                        </a:lnTo>
                        <a:close/>
                        <a:moveTo>
                          <a:pt x="200" y="235"/>
                        </a:moveTo>
                        <a:cubicBezTo>
                          <a:pt x="200" y="213"/>
                          <a:pt x="200" y="213"/>
                          <a:pt x="200" y="213"/>
                        </a:cubicBezTo>
                        <a:cubicBezTo>
                          <a:pt x="261" y="184"/>
                          <a:pt x="261" y="184"/>
                          <a:pt x="261" y="184"/>
                        </a:cubicBezTo>
                        <a:cubicBezTo>
                          <a:pt x="261" y="235"/>
                          <a:pt x="261" y="235"/>
                          <a:pt x="261" y="235"/>
                        </a:cubicBezTo>
                        <a:lnTo>
                          <a:pt x="200" y="235"/>
                        </a:lnTo>
                        <a:close/>
                        <a:moveTo>
                          <a:pt x="352" y="314"/>
                        </a:moveTo>
                        <a:cubicBezTo>
                          <a:pt x="237" y="314"/>
                          <a:pt x="237" y="314"/>
                          <a:pt x="237" y="314"/>
                        </a:cubicBezTo>
                        <a:cubicBezTo>
                          <a:pt x="229" y="314"/>
                          <a:pt x="223" y="308"/>
                          <a:pt x="223" y="300"/>
                        </a:cubicBezTo>
                        <a:cubicBezTo>
                          <a:pt x="223" y="251"/>
                          <a:pt x="223" y="251"/>
                          <a:pt x="223" y="251"/>
                        </a:cubicBezTo>
                        <a:cubicBezTo>
                          <a:pt x="240" y="251"/>
                          <a:pt x="240" y="251"/>
                          <a:pt x="240" y="251"/>
                        </a:cubicBezTo>
                        <a:cubicBezTo>
                          <a:pt x="240" y="277"/>
                          <a:pt x="240" y="277"/>
                          <a:pt x="240" y="277"/>
                        </a:cubicBezTo>
                        <a:cubicBezTo>
                          <a:pt x="240" y="283"/>
                          <a:pt x="241" y="290"/>
                          <a:pt x="246" y="295"/>
                        </a:cubicBezTo>
                        <a:cubicBezTo>
                          <a:pt x="252" y="300"/>
                          <a:pt x="258" y="300"/>
                          <a:pt x="265" y="300"/>
                        </a:cubicBezTo>
                        <a:cubicBezTo>
                          <a:pt x="352" y="300"/>
                          <a:pt x="352" y="300"/>
                          <a:pt x="352" y="300"/>
                        </a:cubicBezTo>
                        <a:lnTo>
                          <a:pt x="352" y="314"/>
                        </a:lnTo>
                        <a:close/>
                      </a:path>
                    </a:pathLst>
                  </a:custGeom>
                  <a:solidFill>
                    <a:srgbClr val="58585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9" name="Rounded Rectangle 38"/>
                  <p:cNvSpPr/>
                  <p:nvPr/>
                </p:nvSpPr>
                <p:spPr bwMode="auto">
                  <a:xfrm>
                    <a:off x="4992" y="1719"/>
                    <a:ext cx="501" cy="297"/>
                  </a:xfrm>
                  <a:prstGeom prst="roundRect">
                    <a:avLst>
                      <a:gd name="adj" fmla="val 11420"/>
                    </a:avLst>
                  </a:prstGeom>
                  <a:solidFill>
                    <a:srgbClr val="FFFFFF"/>
                  </a:solidFill>
                  <a:ln w="25400" cap="flat" cmpd="sng" algn="ctr">
                    <a:solidFill>
                      <a:srgbClr val="00285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wrap="none" lIns="72000" rIns="72000" bIns="0" anchor="b"/>
                  <a:lstStyle/>
                  <a:p>
                    <a:pPr algn="ctr">
                      <a:spcBef>
                        <a:spcPct val="50000"/>
                      </a:spcBef>
                      <a:defRPr/>
                    </a:pPr>
                    <a:r>
                      <a:rPr lang="en-US" sz="900" b="1" i="1" dirty="0">
                        <a:solidFill>
                          <a:srgbClr val="58585A"/>
                        </a:solidFill>
                      </a:rPr>
                      <a:t>Collaboration</a:t>
                    </a:r>
                  </a:p>
                </p:txBody>
              </p:sp>
              <p:sp>
                <p:nvSpPr>
                  <p:cNvPr id="122966" name="Freeform 3"/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5095" y="1768"/>
                    <a:ext cx="344" cy="144"/>
                  </a:xfrm>
                  <a:custGeom>
                    <a:avLst/>
                    <a:gdLst>
                      <a:gd name="T0" fmla="*/ 2147483647 w 531"/>
                      <a:gd name="T1" fmla="*/ 2147483647 h 248"/>
                      <a:gd name="T2" fmla="*/ 2147483647 w 531"/>
                      <a:gd name="T3" fmla="*/ 2147483647 h 248"/>
                      <a:gd name="T4" fmla="*/ 2147483647 w 531"/>
                      <a:gd name="T5" fmla="*/ 2147483647 h 248"/>
                      <a:gd name="T6" fmla="*/ 2147483647 w 531"/>
                      <a:gd name="T7" fmla="*/ 2147483647 h 248"/>
                      <a:gd name="T8" fmla="*/ 2147483647 w 531"/>
                      <a:gd name="T9" fmla="*/ 2147483647 h 248"/>
                      <a:gd name="T10" fmla="*/ 2147483647 w 531"/>
                      <a:gd name="T11" fmla="*/ 2147483647 h 248"/>
                      <a:gd name="T12" fmla="*/ 2147483647 w 531"/>
                      <a:gd name="T13" fmla="*/ 2147483647 h 248"/>
                      <a:gd name="T14" fmla="*/ 2147483647 w 531"/>
                      <a:gd name="T15" fmla="*/ 2147483647 h 248"/>
                      <a:gd name="T16" fmla="*/ 2147483647 w 531"/>
                      <a:gd name="T17" fmla="*/ 2147483647 h 248"/>
                      <a:gd name="T18" fmla="*/ 2147483647 w 531"/>
                      <a:gd name="T19" fmla="*/ 2147483647 h 248"/>
                      <a:gd name="T20" fmla="*/ 2147483647 w 531"/>
                      <a:gd name="T21" fmla="*/ 2147483647 h 248"/>
                      <a:gd name="T22" fmla="*/ 2147483647 w 531"/>
                      <a:gd name="T23" fmla="*/ 2147483647 h 248"/>
                      <a:gd name="T24" fmla="*/ 2147483647 w 531"/>
                      <a:gd name="T25" fmla="*/ 2147483647 h 248"/>
                      <a:gd name="T26" fmla="*/ 2147483647 w 531"/>
                      <a:gd name="T27" fmla="*/ 2147483647 h 248"/>
                      <a:gd name="T28" fmla="*/ 2147483647 w 531"/>
                      <a:gd name="T29" fmla="*/ 2147483647 h 248"/>
                      <a:gd name="T30" fmla="*/ 2147483647 w 531"/>
                      <a:gd name="T31" fmla="*/ 2147483647 h 248"/>
                      <a:gd name="T32" fmla="*/ 2147483647 w 531"/>
                      <a:gd name="T33" fmla="*/ 2147483647 h 248"/>
                      <a:gd name="T34" fmla="*/ 2147483647 w 531"/>
                      <a:gd name="T35" fmla="*/ 2147483647 h 248"/>
                      <a:gd name="T36" fmla="*/ 2147483647 w 531"/>
                      <a:gd name="T37" fmla="*/ 2147483647 h 248"/>
                      <a:gd name="T38" fmla="*/ 2147483647 w 531"/>
                      <a:gd name="T39" fmla="*/ 2147483647 h 248"/>
                      <a:gd name="T40" fmla="*/ 2147483647 w 531"/>
                      <a:gd name="T41" fmla="*/ 2147483647 h 248"/>
                      <a:gd name="T42" fmla="*/ 2147483647 w 531"/>
                      <a:gd name="T43" fmla="*/ 2147483647 h 248"/>
                      <a:gd name="T44" fmla="*/ 2147483647 w 531"/>
                      <a:gd name="T45" fmla="*/ 2147483647 h 248"/>
                      <a:gd name="T46" fmla="*/ 2147483647 w 531"/>
                      <a:gd name="T47" fmla="*/ 2147483647 h 248"/>
                      <a:gd name="T48" fmla="*/ 2147483647 w 531"/>
                      <a:gd name="T49" fmla="*/ 2147483647 h 248"/>
                      <a:gd name="T50" fmla="*/ 2147483647 w 531"/>
                      <a:gd name="T51" fmla="*/ 2147483647 h 248"/>
                      <a:gd name="T52" fmla="*/ 2147483647 w 531"/>
                      <a:gd name="T53" fmla="*/ 2147483647 h 248"/>
                      <a:gd name="T54" fmla="*/ 2147483647 w 531"/>
                      <a:gd name="T55" fmla="*/ 2147483647 h 248"/>
                      <a:gd name="T56" fmla="*/ 2147483647 w 531"/>
                      <a:gd name="T57" fmla="*/ 2147483647 h 248"/>
                      <a:gd name="T58" fmla="*/ 2147483647 w 531"/>
                      <a:gd name="T59" fmla="*/ 2147483647 h 248"/>
                      <a:gd name="T60" fmla="*/ 2147483647 w 531"/>
                      <a:gd name="T61" fmla="*/ 2147483647 h 248"/>
                      <a:gd name="T62" fmla="*/ 2147483647 w 531"/>
                      <a:gd name="T63" fmla="*/ 2147483647 h 248"/>
                      <a:gd name="T64" fmla="*/ 2147483647 w 531"/>
                      <a:gd name="T65" fmla="*/ 2147483647 h 248"/>
                      <a:gd name="T66" fmla="*/ 2147483647 w 531"/>
                      <a:gd name="T67" fmla="*/ 2147483647 h 248"/>
                      <a:gd name="T68" fmla="*/ 2147483647 w 531"/>
                      <a:gd name="T69" fmla="*/ 2147483647 h 248"/>
                      <a:gd name="T70" fmla="*/ 2147483647 w 531"/>
                      <a:gd name="T71" fmla="*/ 2147483647 h 248"/>
                      <a:gd name="T72" fmla="*/ 2147483647 w 531"/>
                      <a:gd name="T73" fmla="*/ 2147483647 h 248"/>
                      <a:gd name="T74" fmla="*/ 2147483647 w 531"/>
                      <a:gd name="T75" fmla="*/ 2147483647 h 248"/>
                      <a:gd name="T76" fmla="*/ 2147483647 w 531"/>
                      <a:gd name="T77" fmla="*/ 2147483647 h 248"/>
                      <a:gd name="T78" fmla="*/ 2147483647 w 531"/>
                      <a:gd name="T79" fmla="*/ 2147483647 h 248"/>
                      <a:gd name="T80" fmla="*/ 2147483647 w 531"/>
                      <a:gd name="T81" fmla="*/ 2147483647 h 248"/>
                      <a:gd name="T82" fmla="*/ 2147483647 w 531"/>
                      <a:gd name="T83" fmla="*/ 2147483647 h 248"/>
                      <a:gd name="T84" fmla="*/ 2147483647 w 531"/>
                      <a:gd name="T85" fmla="*/ 2147483647 h 248"/>
                      <a:gd name="T86" fmla="*/ 2147483647 w 531"/>
                      <a:gd name="T87" fmla="*/ 2147483647 h 248"/>
                      <a:gd name="T88" fmla="*/ 2147483647 w 531"/>
                      <a:gd name="T89" fmla="*/ 2147483647 h 248"/>
                      <a:gd name="T90" fmla="*/ 2147483647 w 531"/>
                      <a:gd name="T91" fmla="*/ 2147483647 h 248"/>
                      <a:gd name="T92" fmla="*/ 2147483647 w 531"/>
                      <a:gd name="T93" fmla="*/ 2147483647 h 248"/>
                      <a:gd name="T94" fmla="*/ 2147483647 w 531"/>
                      <a:gd name="T95" fmla="*/ 2147483647 h 248"/>
                      <a:gd name="T96" fmla="*/ 2147483647 w 531"/>
                      <a:gd name="T97" fmla="*/ 2147483647 h 248"/>
                      <a:gd name="T98" fmla="*/ 2147483647 w 531"/>
                      <a:gd name="T99" fmla="*/ 2147483647 h 248"/>
                      <a:gd name="T100" fmla="*/ 2147483647 w 531"/>
                      <a:gd name="T101" fmla="*/ 2147483647 h 248"/>
                      <a:gd name="T102" fmla="*/ 2147483647 w 531"/>
                      <a:gd name="T103" fmla="*/ 2147483647 h 248"/>
                      <a:gd name="T104" fmla="*/ 2147483647 w 531"/>
                      <a:gd name="T105" fmla="*/ 2147483647 h 248"/>
                      <a:gd name="T106" fmla="*/ 2147483647 w 531"/>
                      <a:gd name="T107" fmla="*/ 2147483647 h 248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w 531"/>
                      <a:gd name="T163" fmla="*/ 0 h 248"/>
                      <a:gd name="T164" fmla="*/ 531 w 531"/>
                      <a:gd name="T165" fmla="*/ 248 h 248"/>
                    </a:gdLst>
                    <a:ahLst/>
                    <a:cxnLst>
                      <a:cxn ang="T108">
                        <a:pos x="T0" y="T1"/>
                      </a:cxn>
                      <a:cxn ang="T109">
                        <a:pos x="T2" y="T3"/>
                      </a:cxn>
                      <a:cxn ang="T110">
                        <a:pos x="T4" y="T5"/>
                      </a:cxn>
                      <a:cxn ang="T111">
                        <a:pos x="T6" y="T7"/>
                      </a:cxn>
                      <a:cxn ang="T112">
                        <a:pos x="T8" y="T9"/>
                      </a:cxn>
                      <a:cxn ang="T113">
                        <a:pos x="T10" y="T11"/>
                      </a:cxn>
                      <a:cxn ang="T114">
                        <a:pos x="T12" y="T13"/>
                      </a:cxn>
                      <a:cxn ang="T115">
                        <a:pos x="T14" y="T15"/>
                      </a:cxn>
                      <a:cxn ang="T116">
                        <a:pos x="T16" y="T17"/>
                      </a:cxn>
                      <a:cxn ang="T117">
                        <a:pos x="T18" y="T19"/>
                      </a:cxn>
                      <a:cxn ang="T118">
                        <a:pos x="T20" y="T21"/>
                      </a:cxn>
                      <a:cxn ang="T119">
                        <a:pos x="T22" y="T23"/>
                      </a:cxn>
                      <a:cxn ang="T120">
                        <a:pos x="T24" y="T25"/>
                      </a:cxn>
                      <a:cxn ang="T121">
                        <a:pos x="T26" y="T27"/>
                      </a:cxn>
                      <a:cxn ang="T122">
                        <a:pos x="T28" y="T29"/>
                      </a:cxn>
                      <a:cxn ang="T123">
                        <a:pos x="T30" y="T31"/>
                      </a:cxn>
                      <a:cxn ang="T124">
                        <a:pos x="T32" y="T33"/>
                      </a:cxn>
                      <a:cxn ang="T125">
                        <a:pos x="T34" y="T35"/>
                      </a:cxn>
                      <a:cxn ang="T126">
                        <a:pos x="T36" y="T37"/>
                      </a:cxn>
                      <a:cxn ang="T127">
                        <a:pos x="T38" y="T39"/>
                      </a:cxn>
                      <a:cxn ang="T128">
                        <a:pos x="T40" y="T41"/>
                      </a:cxn>
                      <a:cxn ang="T129">
                        <a:pos x="T42" y="T43"/>
                      </a:cxn>
                      <a:cxn ang="T130">
                        <a:pos x="T44" y="T45"/>
                      </a:cxn>
                      <a:cxn ang="T131">
                        <a:pos x="T46" y="T47"/>
                      </a:cxn>
                      <a:cxn ang="T132">
                        <a:pos x="T48" y="T49"/>
                      </a:cxn>
                      <a:cxn ang="T133">
                        <a:pos x="T50" y="T51"/>
                      </a:cxn>
                      <a:cxn ang="T134">
                        <a:pos x="T52" y="T53"/>
                      </a:cxn>
                      <a:cxn ang="T135">
                        <a:pos x="T54" y="T55"/>
                      </a:cxn>
                      <a:cxn ang="T136">
                        <a:pos x="T56" y="T57"/>
                      </a:cxn>
                      <a:cxn ang="T137">
                        <a:pos x="T58" y="T59"/>
                      </a:cxn>
                      <a:cxn ang="T138">
                        <a:pos x="T60" y="T61"/>
                      </a:cxn>
                      <a:cxn ang="T139">
                        <a:pos x="T62" y="T63"/>
                      </a:cxn>
                      <a:cxn ang="T140">
                        <a:pos x="T64" y="T65"/>
                      </a:cxn>
                      <a:cxn ang="T141">
                        <a:pos x="T66" y="T67"/>
                      </a:cxn>
                      <a:cxn ang="T142">
                        <a:pos x="T68" y="T69"/>
                      </a:cxn>
                      <a:cxn ang="T143">
                        <a:pos x="T70" y="T71"/>
                      </a:cxn>
                      <a:cxn ang="T144">
                        <a:pos x="T72" y="T73"/>
                      </a:cxn>
                      <a:cxn ang="T145">
                        <a:pos x="T74" y="T75"/>
                      </a:cxn>
                      <a:cxn ang="T146">
                        <a:pos x="T76" y="T77"/>
                      </a:cxn>
                      <a:cxn ang="T147">
                        <a:pos x="T78" y="T79"/>
                      </a:cxn>
                      <a:cxn ang="T148">
                        <a:pos x="T80" y="T81"/>
                      </a:cxn>
                      <a:cxn ang="T149">
                        <a:pos x="T82" y="T83"/>
                      </a:cxn>
                      <a:cxn ang="T150">
                        <a:pos x="T84" y="T85"/>
                      </a:cxn>
                      <a:cxn ang="T151">
                        <a:pos x="T86" y="T87"/>
                      </a:cxn>
                      <a:cxn ang="T152">
                        <a:pos x="T88" y="T89"/>
                      </a:cxn>
                      <a:cxn ang="T153">
                        <a:pos x="T90" y="T91"/>
                      </a:cxn>
                      <a:cxn ang="T154">
                        <a:pos x="T92" y="T93"/>
                      </a:cxn>
                      <a:cxn ang="T155">
                        <a:pos x="T94" y="T95"/>
                      </a:cxn>
                      <a:cxn ang="T156">
                        <a:pos x="T96" y="T97"/>
                      </a:cxn>
                      <a:cxn ang="T157">
                        <a:pos x="T98" y="T99"/>
                      </a:cxn>
                      <a:cxn ang="T158">
                        <a:pos x="T100" y="T101"/>
                      </a:cxn>
                      <a:cxn ang="T159">
                        <a:pos x="T102" y="T103"/>
                      </a:cxn>
                      <a:cxn ang="T160">
                        <a:pos x="T104" y="T105"/>
                      </a:cxn>
                      <a:cxn ang="T161">
                        <a:pos x="T106" y="T107"/>
                      </a:cxn>
                    </a:cxnLst>
                    <a:rect l="T162" t="T163" r="T164" b="T165"/>
                    <a:pathLst>
                      <a:path w="531" h="248">
                        <a:moveTo>
                          <a:pt x="517" y="22"/>
                        </a:moveTo>
                        <a:cubicBezTo>
                          <a:pt x="515" y="22"/>
                          <a:pt x="514" y="22"/>
                          <a:pt x="512" y="23"/>
                        </a:cubicBezTo>
                        <a:cubicBezTo>
                          <a:pt x="512" y="23"/>
                          <a:pt x="499" y="28"/>
                          <a:pt x="481" y="34"/>
                        </a:cubicBezTo>
                        <a:cubicBezTo>
                          <a:pt x="478" y="16"/>
                          <a:pt x="478" y="16"/>
                          <a:pt x="478" y="16"/>
                        </a:cubicBezTo>
                        <a:cubicBezTo>
                          <a:pt x="478" y="12"/>
                          <a:pt x="477" y="9"/>
                          <a:pt x="475" y="6"/>
                        </a:cubicBezTo>
                        <a:cubicBezTo>
                          <a:pt x="473" y="3"/>
                          <a:pt x="469" y="0"/>
                          <a:pt x="464" y="0"/>
                        </a:cubicBezTo>
                        <a:cubicBezTo>
                          <a:pt x="462" y="0"/>
                          <a:pt x="461" y="0"/>
                          <a:pt x="459" y="1"/>
                        </a:cubicBezTo>
                        <a:cubicBezTo>
                          <a:pt x="459" y="1"/>
                          <a:pt x="440" y="8"/>
                          <a:pt x="421" y="16"/>
                        </a:cubicBezTo>
                        <a:cubicBezTo>
                          <a:pt x="402" y="23"/>
                          <a:pt x="382" y="30"/>
                          <a:pt x="375" y="33"/>
                        </a:cubicBezTo>
                        <a:cubicBezTo>
                          <a:pt x="375" y="31"/>
                          <a:pt x="374" y="29"/>
                          <a:pt x="373" y="27"/>
                        </a:cubicBezTo>
                        <a:cubicBezTo>
                          <a:pt x="372" y="25"/>
                          <a:pt x="371" y="23"/>
                          <a:pt x="369" y="21"/>
                        </a:cubicBezTo>
                        <a:cubicBezTo>
                          <a:pt x="366" y="19"/>
                          <a:pt x="363" y="17"/>
                          <a:pt x="359" y="17"/>
                        </a:cubicBezTo>
                        <a:cubicBezTo>
                          <a:pt x="357" y="17"/>
                          <a:pt x="355" y="18"/>
                          <a:pt x="352" y="19"/>
                        </a:cubicBezTo>
                        <a:cubicBezTo>
                          <a:pt x="338" y="24"/>
                          <a:pt x="299" y="39"/>
                          <a:pt x="296" y="40"/>
                        </a:cubicBezTo>
                        <a:cubicBezTo>
                          <a:pt x="292" y="41"/>
                          <a:pt x="288" y="43"/>
                          <a:pt x="285" y="46"/>
                        </a:cubicBezTo>
                        <a:cubicBezTo>
                          <a:pt x="282" y="50"/>
                          <a:pt x="280" y="55"/>
                          <a:pt x="280" y="60"/>
                        </a:cubicBezTo>
                        <a:cubicBezTo>
                          <a:pt x="278" y="57"/>
                          <a:pt x="275" y="55"/>
                          <a:pt x="274" y="54"/>
                        </a:cubicBezTo>
                        <a:cubicBezTo>
                          <a:pt x="271" y="52"/>
                          <a:pt x="268" y="50"/>
                          <a:pt x="264" y="50"/>
                        </a:cubicBezTo>
                        <a:cubicBezTo>
                          <a:pt x="260" y="50"/>
                          <a:pt x="256" y="52"/>
                          <a:pt x="254" y="55"/>
                        </a:cubicBezTo>
                        <a:cubicBezTo>
                          <a:pt x="252" y="58"/>
                          <a:pt x="251" y="60"/>
                          <a:pt x="251" y="63"/>
                        </a:cubicBezTo>
                        <a:cubicBezTo>
                          <a:pt x="246" y="63"/>
                          <a:pt x="246" y="63"/>
                          <a:pt x="246" y="63"/>
                        </a:cubicBezTo>
                        <a:cubicBezTo>
                          <a:pt x="251" y="40"/>
                          <a:pt x="251" y="40"/>
                          <a:pt x="251" y="40"/>
                        </a:cubicBezTo>
                        <a:cubicBezTo>
                          <a:pt x="251" y="39"/>
                          <a:pt x="251" y="38"/>
                          <a:pt x="251" y="37"/>
                        </a:cubicBezTo>
                        <a:cubicBezTo>
                          <a:pt x="251" y="29"/>
                          <a:pt x="245" y="22"/>
                          <a:pt x="237" y="22"/>
                        </a:cubicBezTo>
                        <a:cubicBezTo>
                          <a:pt x="235" y="22"/>
                          <a:pt x="234" y="22"/>
                          <a:pt x="232" y="23"/>
                        </a:cubicBezTo>
                        <a:cubicBezTo>
                          <a:pt x="235" y="30"/>
                          <a:pt x="235" y="30"/>
                          <a:pt x="235" y="30"/>
                        </a:cubicBezTo>
                        <a:cubicBezTo>
                          <a:pt x="232" y="23"/>
                          <a:pt x="232" y="23"/>
                          <a:pt x="232" y="23"/>
                        </a:cubicBezTo>
                        <a:cubicBezTo>
                          <a:pt x="232" y="23"/>
                          <a:pt x="219" y="28"/>
                          <a:pt x="201" y="34"/>
                        </a:cubicBezTo>
                        <a:cubicBezTo>
                          <a:pt x="198" y="16"/>
                          <a:pt x="198" y="16"/>
                          <a:pt x="198" y="16"/>
                        </a:cubicBezTo>
                        <a:cubicBezTo>
                          <a:pt x="198" y="12"/>
                          <a:pt x="197" y="9"/>
                          <a:pt x="195" y="6"/>
                        </a:cubicBezTo>
                        <a:cubicBezTo>
                          <a:pt x="193" y="3"/>
                          <a:pt x="189" y="0"/>
                          <a:pt x="184" y="0"/>
                        </a:cubicBezTo>
                        <a:cubicBezTo>
                          <a:pt x="182" y="0"/>
                          <a:pt x="181" y="0"/>
                          <a:pt x="179" y="1"/>
                        </a:cubicBezTo>
                        <a:cubicBezTo>
                          <a:pt x="179" y="1"/>
                          <a:pt x="161" y="8"/>
                          <a:pt x="141" y="16"/>
                        </a:cubicBezTo>
                        <a:cubicBezTo>
                          <a:pt x="122" y="23"/>
                          <a:pt x="102" y="30"/>
                          <a:pt x="96" y="33"/>
                        </a:cubicBezTo>
                        <a:cubicBezTo>
                          <a:pt x="95" y="31"/>
                          <a:pt x="94" y="29"/>
                          <a:pt x="93" y="27"/>
                        </a:cubicBezTo>
                        <a:cubicBezTo>
                          <a:pt x="92" y="25"/>
                          <a:pt x="91" y="23"/>
                          <a:pt x="89" y="21"/>
                        </a:cubicBezTo>
                        <a:cubicBezTo>
                          <a:pt x="87" y="19"/>
                          <a:pt x="83" y="17"/>
                          <a:pt x="80" y="17"/>
                        </a:cubicBezTo>
                        <a:cubicBezTo>
                          <a:pt x="77" y="17"/>
                          <a:pt x="75" y="18"/>
                          <a:pt x="73" y="19"/>
                        </a:cubicBezTo>
                        <a:cubicBezTo>
                          <a:pt x="58" y="24"/>
                          <a:pt x="19" y="39"/>
                          <a:pt x="16" y="40"/>
                        </a:cubicBezTo>
                        <a:cubicBezTo>
                          <a:pt x="12" y="41"/>
                          <a:pt x="8" y="43"/>
                          <a:pt x="5" y="46"/>
                        </a:cubicBezTo>
                        <a:cubicBezTo>
                          <a:pt x="2" y="50"/>
                          <a:pt x="0" y="55"/>
                          <a:pt x="0" y="60"/>
                        </a:cubicBezTo>
                        <a:cubicBezTo>
                          <a:pt x="0" y="62"/>
                          <a:pt x="1" y="63"/>
                          <a:pt x="1" y="65"/>
                        </a:cubicBezTo>
                        <a:cubicBezTo>
                          <a:pt x="1" y="65"/>
                          <a:pt x="1" y="65"/>
                          <a:pt x="1" y="65"/>
                        </a:cubicBezTo>
                        <a:cubicBezTo>
                          <a:pt x="25" y="234"/>
                          <a:pt x="25" y="234"/>
                          <a:pt x="25" y="234"/>
                        </a:cubicBezTo>
                        <a:cubicBezTo>
                          <a:pt x="25" y="234"/>
                          <a:pt x="25" y="234"/>
                          <a:pt x="25" y="234"/>
                        </a:cubicBezTo>
                        <a:cubicBezTo>
                          <a:pt x="25" y="235"/>
                          <a:pt x="25" y="236"/>
                          <a:pt x="26" y="237"/>
                        </a:cubicBezTo>
                        <a:cubicBezTo>
                          <a:pt x="26" y="240"/>
                          <a:pt x="28" y="242"/>
                          <a:pt x="30" y="244"/>
                        </a:cubicBezTo>
                        <a:cubicBezTo>
                          <a:pt x="33" y="246"/>
                          <a:pt x="37" y="248"/>
                          <a:pt x="41" y="248"/>
                        </a:cubicBezTo>
                        <a:cubicBezTo>
                          <a:pt x="43" y="248"/>
                          <a:pt x="46" y="247"/>
                          <a:pt x="48" y="246"/>
                        </a:cubicBezTo>
                        <a:cubicBezTo>
                          <a:pt x="144" y="210"/>
                          <a:pt x="144" y="210"/>
                          <a:pt x="144" y="210"/>
                        </a:cubicBezTo>
                        <a:cubicBezTo>
                          <a:pt x="146" y="212"/>
                          <a:pt x="158" y="221"/>
                          <a:pt x="162" y="224"/>
                        </a:cubicBezTo>
                        <a:cubicBezTo>
                          <a:pt x="164" y="227"/>
                          <a:pt x="168" y="228"/>
                          <a:pt x="172" y="228"/>
                        </a:cubicBezTo>
                        <a:cubicBezTo>
                          <a:pt x="172" y="228"/>
                          <a:pt x="172" y="228"/>
                          <a:pt x="172" y="228"/>
                        </a:cubicBezTo>
                        <a:cubicBezTo>
                          <a:pt x="176" y="228"/>
                          <a:pt x="180" y="226"/>
                          <a:pt x="182" y="223"/>
                        </a:cubicBezTo>
                        <a:cubicBezTo>
                          <a:pt x="183" y="221"/>
                          <a:pt x="184" y="218"/>
                          <a:pt x="184" y="215"/>
                        </a:cubicBezTo>
                        <a:cubicBezTo>
                          <a:pt x="230" y="215"/>
                          <a:pt x="230" y="215"/>
                          <a:pt x="230" y="215"/>
                        </a:cubicBezTo>
                        <a:cubicBezTo>
                          <a:pt x="237" y="215"/>
                          <a:pt x="243" y="209"/>
                          <a:pt x="243" y="202"/>
                        </a:cubicBezTo>
                        <a:cubicBezTo>
                          <a:pt x="243" y="160"/>
                          <a:pt x="243" y="160"/>
                          <a:pt x="243" y="160"/>
                        </a:cubicBezTo>
                        <a:cubicBezTo>
                          <a:pt x="243" y="153"/>
                          <a:pt x="237" y="147"/>
                          <a:pt x="230" y="147"/>
                        </a:cubicBezTo>
                        <a:cubicBezTo>
                          <a:pt x="227" y="147"/>
                          <a:pt x="227" y="147"/>
                          <a:pt x="227" y="147"/>
                        </a:cubicBezTo>
                        <a:cubicBezTo>
                          <a:pt x="231" y="132"/>
                          <a:pt x="231" y="132"/>
                          <a:pt x="231" y="132"/>
                        </a:cubicBezTo>
                        <a:cubicBezTo>
                          <a:pt x="251" y="132"/>
                          <a:pt x="251" y="132"/>
                          <a:pt x="251" y="132"/>
                        </a:cubicBezTo>
                        <a:cubicBezTo>
                          <a:pt x="251" y="134"/>
                          <a:pt x="252" y="137"/>
                          <a:pt x="254" y="140"/>
                        </a:cubicBezTo>
                        <a:cubicBezTo>
                          <a:pt x="256" y="143"/>
                          <a:pt x="260" y="145"/>
                          <a:pt x="263" y="145"/>
                        </a:cubicBezTo>
                        <a:cubicBezTo>
                          <a:pt x="263" y="145"/>
                          <a:pt x="263" y="145"/>
                          <a:pt x="264" y="145"/>
                        </a:cubicBezTo>
                        <a:cubicBezTo>
                          <a:pt x="268" y="145"/>
                          <a:pt x="271" y="143"/>
                          <a:pt x="273" y="141"/>
                        </a:cubicBezTo>
                        <a:cubicBezTo>
                          <a:pt x="277" y="138"/>
                          <a:pt x="285" y="132"/>
                          <a:pt x="290" y="128"/>
                        </a:cubicBezTo>
                        <a:cubicBezTo>
                          <a:pt x="304" y="234"/>
                          <a:pt x="304" y="234"/>
                          <a:pt x="304" y="234"/>
                        </a:cubicBezTo>
                        <a:cubicBezTo>
                          <a:pt x="305" y="234"/>
                          <a:pt x="305" y="234"/>
                          <a:pt x="305" y="234"/>
                        </a:cubicBezTo>
                        <a:cubicBezTo>
                          <a:pt x="305" y="235"/>
                          <a:pt x="305" y="236"/>
                          <a:pt x="305" y="237"/>
                        </a:cubicBezTo>
                        <a:cubicBezTo>
                          <a:pt x="306" y="240"/>
                          <a:pt x="308" y="242"/>
                          <a:pt x="310" y="244"/>
                        </a:cubicBezTo>
                        <a:cubicBezTo>
                          <a:pt x="313" y="246"/>
                          <a:pt x="317" y="248"/>
                          <a:pt x="321" y="248"/>
                        </a:cubicBezTo>
                        <a:cubicBezTo>
                          <a:pt x="323" y="248"/>
                          <a:pt x="326" y="247"/>
                          <a:pt x="328" y="246"/>
                        </a:cubicBezTo>
                        <a:cubicBezTo>
                          <a:pt x="440" y="204"/>
                          <a:pt x="440" y="204"/>
                          <a:pt x="440" y="204"/>
                        </a:cubicBezTo>
                        <a:cubicBezTo>
                          <a:pt x="444" y="202"/>
                          <a:pt x="446" y="198"/>
                          <a:pt x="445" y="193"/>
                        </a:cubicBezTo>
                        <a:cubicBezTo>
                          <a:pt x="443" y="189"/>
                          <a:pt x="439" y="187"/>
                          <a:pt x="435" y="189"/>
                        </a:cubicBezTo>
                        <a:cubicBezTo>
                          <a:pt x="322" y="231"/>
                          <a:pt x="322" y="231"/>
                          <a:pt x="322" y="231"/>
                        </a:cubicBezTo>
                        <a:cubicBezTo>
                          <a:pt x="322" y="232"/>
                          <a:pt x="321" y="232"/>
                          <a:pt x="321" y="232"/>
                        </a:cubicBezTo>
                        <a:cubicBezTo>
                          <a:pt x="321" y="232"/>
                          <a:pt x="321" y="232"/>
                          <a:pt x="321" y="232"/>
                        </a:cubicBezTo>
                        <a:cubicBezTo>
                          <a:pt x="347" y="103"/>
                          <a:pt x="347" y="103"/>
                          <a:pt x="347" y="103"/>
                        </a:cubicBezTo>
                        <a:cubicBezTo>
                          <a:pt x="348" y="102"/>
                          <a:pt x="348" y="101"/>
                          <a:pt x="350" y="100"/>
                        </a:cubicBezTo>
                        <a:cubicBezTo>
                          <a:pt x="350" y="100"/>
                          <a:pt x="350" y="100"/>
                          <a:pt x="350" y="100"/>
                        </a:cubicBezTo>
                        <a:cubicBezTo>
                          <a:pt x="350" y="100"/>
                          <a:pt x="350" y="100"/>
                          <a:pt x="350" y="100"/>
                        </a:cubicBezTo>
                        <a:cubicBezTo>
                          <a:pt x="373" y="92"/>
                          <a:pt x="373" y="92"/>
                          <a:pt x="373" y="92"/>
                        </a:cubicBezTo>
                        <a:cubicBezTo>
                          <a:pt x="379" y="89"/>
                          <a:pt x="379" y="89"/>
                          <a:pt x="379" y="89"/>
                        </a:cubicBezTo>
                        <a:cubicBezTo>
                          <a:pt x="395" y="83"/>
                          <a:pt x="395" y="83"/>
                          <a:pt x="395" y="83"/>
                        </a:cubicBezTo>
                        <a:cubicBezTo>
                          <a:pt x="400" y="82"/>
                          <a:pt x="406" y="79"/>
                          <a:pt x="413" y="77"/>
                        </a:cubicBezTo>
                        <a:cubicBezTo>
                          <a:pt x="431" y="70"/>
                          <a:pt x="453" y="62"/>
                          <a:pt x="472" y="55"/>
                        </a:cubicBezTo>
                        <a:cubicBezTo>
                          <a:pt x="474" y="54"/>
                          <a:pt x="475" y="54"/>
                          <a:pt x="477" y="53"/>
                        </a:cubicBezTo>
                        <a:cubicBezTo>
                          <a:pt x="478" y="52"/>
                          <a:pt x="478" y="52"/>
                          <a:pt x="478" y="52"/>
                        </a:cubicBezTo>
                        <a:cubicBezTo>
                          <a:pt x="495" y="46"/>
                          <a:pt x="509" y="41"/>
                          <a:pt x="515" y="39"/>
                        </a:cubicBezTo>
                        <a:cubicBezTo>
                          <a:pt x="486" y="167"/>
                          <a:pt x="486" y="167"/>
                          <a:pt x="486" y="167"/>
                        </a:cubicBezTo>
                        <a:cubicBezTo>
                          <a:pt x="485" y="168"/>
                          <a:pt x="485" y="169"/>
                          <a:pt x="484" y="170"/>
                        </a:cubicBezTo>
                        <a:cubicBezTo>
                          <a:pt x="484" y="170"/>
                          <a:pt x="484" y="170"/>
                          <a:pt x="483" y="170"/>
                        </a:cubicBezTo>
                        <a:cubicBezTo>
                          <a:pt x="483" y="170"/>
                          <a:pt x="483" y="170"/>
                          <a:pt x="483" y="170"/>
                        </a:cubicBezTo>
                        <a:cubicBezTo>
                          <a:pt x="465" y="177"/>
                          <a:pt x="465" y="177"/>
                          <a:pt x="465" y="177"/>
                        </a:cubicBezTo>
                        <a:cubicBezTo>
                          <a:pt x="461" y="179"/>
                          <a:pt x="458" y="184"/>
                          <a:pt x="460" y="188"/>
                        </a:cubicBezTo>
                        <a:cubicBezTo>
                          <a:pt x="462" y="192"/>
                          <a:pt x="466" y="194"/>
                          <a:pt x="470" y="192"/>
                        </a:cubicBezTo>
                        <a:cubicBezTo>
                          <a:pt x="488" y="186"/>
                          <a:pt x="488" y="186"/>
                          <a:pt x="488" y="186"/>
                        </a:cubicBezTo>
                        <a:cubicBezTo>
                          <a:pt x="492" y="184"/>
                          <a:pt x="495" y="182"/>
                          <a:pt x="497" y="180"/>
                        </a:cubicBezTo>
                        <a:cubicBezTo>
                          <a:pt x="499" y="177"/>
                          <a:pt x="500" y="174"/>
                          <a:pt x="501" y="172"/>
                        </a:cubicBezTo>
                        <a:cubicBezTo>
                          <a:pt x="501" y="171"/>
                          <a:pt x="501" y="171"/>
                          <a:pt x="501" y="171"/>
                        </a:cubicBezTo>
                        <a:cubicBezTo>
                          <a:pt x="531" y="40"/>
                          <a:pt x="531" y="40"/>
                          <a:pt x="531" y="40"/>
                        </a:cubicBezTo>
                        <a:cubicBezTo>
                          <a:pt x="531" y="40"/>
                          <a:pt x="531" y="40"/>
                          <a:pt x="531" y="40"/>
                        </a:cubicBezTo>
                        <a:cubicBezTo>
                          <a:pt x="531" y="39"/>
                          <a:pt x="531" y="38"/>
                          <a:pt x="531" y="37"/>
                        </a:cubicBezTo>
                        <a:cubicBezTo>
                          <a:pt x="531" y="29"/>
                          <a:pt x="525" y="22"/>
                          <a:pt x="517" y="22"/>
                        </a:cubicBezTo>
                        <a:close/>
                        <a:moveTo>
                          <a:pt x="17" y="63"/>
                        </a:moveTo>
                        <a:cubicBezTo>
                          <a:pt x="17" y="62"/>
                          <a:pt x="16" y="61"/>
                          <a:pt x="16" y="60"/>
                        </a:cubicBezTo>
                        <a:cubicBezTo>
                          <a:pt x="17" y="57"/>
                          <a:pt x="17" y="57"/>
                          <a:pt x="17" y="57"/>
                        </a:cubicBezTo>
                        <a:cubicBezTo>
                          <a:pt x="17" y="57"/>
                          <a:pt x="18" y="56"/>
                          <a:pt x="21" y="55"/>
                        </a:cubicBezTo>
                        <a:cubicBezTo>
                          <a:pt x="21" y="55"/>
                          <a:pt x="21" y="55"/>
                          <a:pt x="21" y="55"/>
                        </a:cubicBezTo>
                        <a:cubicBezTo>
                          <a:pt x="21" y="55"/>
                          <a:pt x="21" y="55"/>
                          <a:pt x="21" y="55"/>
                        </a:cubicBezTo>
                        <a:cubicBezTo>
                          <a:pt x="21" y="55"/>
                          <a:pt x="63" y="39"/>
                          <a:pt x="78" y="34"/>
                        </a:cubicBezTo>
                        <a:cubicBezTo>
                          <a:pt x="78" y="34"/>
                          <a:pt x="79" y="34"/>
                          <a:pt x="79" y="34"/>
                        </a:cubicBezTo>
                        <a:cubicBezTo>
                          <a:pt x="79" y="35"/>
                          <a:pt x="80" y="37"/>
                          <a:pt x="81" y="39"/>
                        </a:cubicBezTo>
                        <a:cubicBezTo>
                          <a:pt x="82" y="41"/>
                          <a:pt x="83" y="43"/>
                          <a:pt x="85" y="45"/>
                        </a:cubicBezTo>
                        <a:cubicBezTo>
                          <a:pt x="87" y="47"/>
                          <a:pt x="91" y="49"/>
                          <a:pt x="94" y="49"/>
                        </a:cubicBezTo>
                        <a:cubicBezTo>
                          <a:pt x="96" y="49"/>
                          <a:pt x="98" y="49"/>
                          <a:pt x="99" y="48"/>
                        </a:cubicBezTo>
                        <a:cubicBezTo>
                          <a:pt x="109" y="45"/>
                          <a:pt x="169" y="22"/>
                          <a:pt x="182" y="17"/>
                        </a:cubicBezTo>
                        <a:cubicBezTo>
                          <a:pt x="182" y="17"/>
                          <a:pt x="182" y="17"/>
                          <a:pt x="182" y="17"/>
                        </a:cubicBezTo>
                        <a:cubicBezTo>
                          <a:pt x="186" y="40"/>
                          <a:pt x="186" y="40"/>
                          <a:pt x="186" y="40"/>
                        </a:cubicBezTo>
                        <a:cubicBezTo>
                          <a:pt x="161" y="49"/>
                          <a:pt x="133" y="60"/>
                          <a:pt x="114" y="67"/>
                        </a:cubicBezTo>
                        <a:cubicBezTo>
                          <a:pt x="112" y="67"/>
                          <a:pt x="111" y="68"/>
                          <a:pt x="109" y="68"/>
                        </a:cubicBezTo>
                        <a:cubicBezTo>
                          <a:pt x="106" y="70"/>
                          <a:pt x="106" y="70"/>
                          <a:pt x="106" y="70"/>
                        </a:cubicBezTo>
                        <a:cubicBezTo>
                          <a:pt x="93" y="75"/>
                          <a:pt x="93" y="75"/>
                          <a:pt x="93" y="75"/>
                        </a:cubicBezTo>
                        <a:cubicBezTo>
                          <a:pt x="78" y="80"/>
                          <a:pt x="78" y="80"/>
                          <a:pt x="78" y="80"/>
                        </a:cubicBezTo>
                        <a:cubicBezTo>
                          <a:pt x="65" y="85"/>
                          <a:pt x="65" y="85"/>
                          <a:pt x="65" y="85"/>
                        </a:cubicBezTo>
                        <a:cubicBezTo>
                          <a:pt x="65" y="85"/>
                          <a:pt x="65" y="85"/>
                          <a:pt x="64" y="85"/>
                        </a:cubicBezTo>
                        <a:cubicBezTo>
                          <a:pt x="64" y="86"/>
                          <a:pt x="63" y="86"/>
                          <a:pt x="63" y="86"/>
                        </a:cubicBezTo>
                        <a:cubicBezTo>
                          <a:pt x="63" y="86"/>
                          <a:pt x="62" y="86"/>
                          <a:pt x="62" y="86"/>
                        </a:cubicBezTo>
                        <a:cubicBezTo>
                          <a:pt x="61" y="87"/>
                          <a:pt x="61" y="87"/>
                          <a:pt x="61" y="87"/>
                        </a:cubicBezTo>
                        <a:cubicBezTo>
                          <a:pt x="60" y="87"/>
                          <a:pt x="60" y="88"/>
                          <a:pt x="60" y="88"/>
                        </a:cubicBezTo>
                        <a:cubicBezTo>
                          <a:pt x="59" y="88"/>
                          <a:pt x="59" y="88"/>
                          <a:pt x="59" y="89"/>
                        </a:cubicBezTo>
                        <a:cubicBezTo>
                          <a:pt x="58" y="89"/>
                          <a:pt x="58" y="89"/>
                          <a:pt x="57" y="90"/>
                        </a:cubicBezTo>
                        <a:cubicBezTo>
                          <a:pt x="57" y="90"/>
                          <a:pt x="57" y="90"/>
                          <a:pt x="57" y="90"/>
                        </a:cubicBezTo>
                        <a:cubicBezTo>
                          <a:pt x="56" y="91"/>
                          <a:pt x="56" y="91"/>
                          <a:pt x="55" y="92"/>
                        </a:cubicBezTo>
                        <a:cubicBezTo>
                          <a:pt x="55" y="92"/>
                          <a:pt x="55" y="92"/>
                          <a:pt x="55" y="92"/>
                        </a:cubicBezTo>
                        <a:cubicBezTo>
                          <a:pt x="54" y="94"/>
                          <a:pt x="53" y="96"/>
                          <a:pt x="52" y="98"/>
                        </a:cubicBezTo>
                        <a:cubicBezTo>
                          <a:pt x="52" y="99"/>
                          <a:pt x="52" y="99"/>
                          <a:pt x="52" y="99"/>
                        </a:cubicBezTo>
                        <a:cubicBezTo>
                          <a:pt x="52" y="99"/>
                          <a:pt x="52" y="99"/>
                          <a:pt x="52" y="99"/>
                        </a:cubicBezTo>
                        <a:cubicBezTo>
                          <a:pt x="34" y="186"/>
                          <a:pt x="34" y="186"/>
                          <a:pt x="34" y="186"/>
                        </a:cubicBezTo>
                        <a:lnTo>
                          <a:pt x="17" y="63"/>
                        </a:lnTo>
                        <a:close/>
                        <a:moveTo>
                          <a:pt x="227" y="163"/>
                        </a:moveTo>
                        <a:cubicBezTo>
                          <a:pt x="227" y="199"/>
                          <a:pt x="227" y="199"/>
                          <a:pt x="227" y="199"/>
                        </a:cubicBezTo>
                        <a:cubicBezTo>
                          <a:pt x="176" y="199"/>
                          <a:pt x="176" y="199"/>
                          <a:pt x="176" y="199"/>
                        </a:cubicBezTo>
                        <a:cubicBezTo>
                          <a:pt x="172" y="199"/>
                          <a:pt x="168" y="203"/>
                          <a:pt x="168" y="207"/>
                        </a:cubicBezTo>
                        <a:cubicBezTo>
                          <a:pt x="168" y="208"/>
                          <a:pt x="168" y="209"/>
                          <a:pt x="168" y="209"/>
                        </a:cubicBezTo>
                        <a:cubicBezTo>
                          <a:pt x="163" y="205"/>
                          <a:pt x="154" y="198"/>
                          <a:pt x="153" y="197"/>
                        </a:cubicBezTo>
                        <a:cubicBezTo>
                          <a:pt x="151" y="195"/>
                          <a:pt x="151" y="195"/>
                          <a:pt x="151" y="195"/>
                        </a:cubicBezTo>
                        <a:cubicBezTo>
                          <a:pt x="149" y="194"/>
                          <a:pt x="147" y="193"/>
                          <a:pt x="145" y="191"/>
                        </a:cubicBezTo>
                        <a:cubicBezTo>
                          <a:pt x="140" y="187"/>
                          <a:pt x="135" y="183"/>
                          <a:pt x="133" y="181"/>
                        </a:cubicBezTo>
                        <a:cubicBezTo>
                          <a:pt x="133" y="181"/>
                          <a:pt x="133" y="181"/>
                          <a:pt x="133" y="181"/>
                        </a:cubicBezTo>
                        <a:cubicBezTo>
                          <a:pt x="133" y="181"/>
                          <a:pt x="133" y="181"/>
                          <a:pt x="133" y="181"/>
                        </a:cubicBezTo>
                        <a:cubicBezTo>
                          <a:pt x="133" y="181"/>
                          <a:pt x="133" y="181"/>
                          <a:pt x="133" y="181"/>
                        </a:cubicBezTo>
                        <a:cubicBezTo>
                          <a:pt x="134" y="180"/>
                          <a:pt x="136" y="179"/>
                          <a:pt x="138" y="177"/>
                        </a:cubicBezTo>
                        <a:cubicBezTo>
                          <a:pt x="144" y="172"/>
                          <a:pt x="153" y="165"/>
                          <a:pt x="153" y="165"/>
                        </a:cubicBezTo>
                        <a:cubicBezTo>
                          <a:pt x="153" y="165"/>
                          <a:pt x="154" y="164"/>
                          <a:pt x="155" y="164"/>
                        </a:cubicBezTo>
                        <a:cubicBezTo>
                          <a:pt x="157" y="161"/>
                          <a:pt x="164" y="156"/>
                          <a:pt x="168" y="153"/>
                        </a:cubicBezTo>
                        <a:cubicBezTo>
                          <a:pt x="168" y="153"/>
                          <a:pt x="168" y="154"/>
                          <a:pt x="168" y="155"/>
                        </a:cubicBezTo>
                        <a:cubicBezTo>
                          <a:pt x="168" y="163"/>
                          <a:pt x="168" y="163"/>
                          <a:pt x="168" y="163"/>
                        </a:cubicBezTo>
                        <a:cubicBezTo>
                          <a:pt x="224" y="163"/>
                          <a:pt x="224" y="163"/>
                          <a:pt x="224" y="163"/>
                        </a:cubicBezTo>
                        <a:cubicBezTo>
                          <a:pt x="224" y="163"/>
                          <a:pt x="224" y="163"/>
                          <a:pt x="224" y="163"/>
                        </a:cubicBezTo>
                        <a:lnTo>
                          <a:pt x="227" y="163"/>
                        </a:lnTo>
                        <a:close/>
                        <a:moveTo>
                          <a:pt x="211" y="147"/>
                        </a:moveTo>
                        <a:cubicBezTo>
                          <a:pt x="184" y="147"/>
                          <a:pt x="184" y="147"/>
                          <a:pt x="184" y="147"/>
                        </a:cubicBezTo>
                        <a:cubicBezTo>
                          <a:pt x="184" y="145"/>
                          <a:pt x="184" y="144"/>
                          <a:pt x="183" y="142"/>
                        </a:cubicBezTo>
                        <a:cubicBezTo>
                          <a:pt x="183" y="141"/>
                          <a:pt x="182" y="140"/>
                          <a:pt x="181" y="139"/>
                        </a:cubicBezTo>
                        <a:cubicBezTo>
                          <a:pt x="179" y="136"/>
                          <a:pt x="175" y="134"/>
                          <a:pt x="172" y="134"/>
                        </a:cubicBezTo>
                        <a:cubicBezTo>
                          <a:pt x="168" y="134"/>
                          <a:pt x="165" y="135"/>
                          <a:pt x="162" y="137"/>
                        </a:cubicBezTo>
                        <a:cubicBezTo>
                          <a:pt x="162" y="137"/>
                          <a:pt x="162" y="137"/>
                          <a:pt x="162" y="138"/>
                        </a:cubicBezTo>
                        <a:cubicBezTo>
                          <a:pt x="162" y="138"/>
                          <a:pt x="161" y="138"/>
                          <a:pt x="161" y="138"/>
                        </a:cubicBezTo>
                        <a:cubicBezTo>
                          <a:pt x="159" y="140"/>
                          <a:pt x="156" y="142"/>
                          <a:pt x="153" y="144"/>
                        </a:cubicBezTo>
                        <a:cubicBezTo>
                          <a:pt x="148" y="148"/>
                          <a:pt x="143" y="152"/>
                          <a:pt x="143" y="152"/>
                        </a:cubicBezTo>
                        <a:cubicBezTo>
                          <a:pt x="143" y="152"/>
                          <a:pt x="143" y="152"/>
                          <a:pt x="143" y="152"/>
                        </a:cubicBezTo>
                        <a:cubicBezTo>
                          <a:pt x="143" y="153"/>
                          <a:pt x="143" y="153"/>
                          <a:pt x="142" y="153"/>
                        </a:cubicBezTo>
                        <a:cubicBezTo>
                          <a:pt x="140" y="155"/>
                          <a:pt x="131" y="162"/>
                          <a:pt x="126" y="166"/>
                        </a:cubicBezTo>
                        <a:cubicBezTo>
                          <a:pt x="125" y="167"/>
                          <a:pt x="123" y="168"/>
                          <a:pt x="123" y="169"/>
                        </a:cubicBezTo>
                        <a:cubicBezTo>
                          <a:pt x="120" y="170"/>
                          <a:pt x="118" y="174"/>
                          <a:pt x="117" y="177"/>
                        </a:cubicBezTo>
                        <a:cubicBezTo>
                          <a:pt x="117" y="177"/>
                          <a:pt x="117" y="177"/>
                          <a:pt x="117" y="177"/>
                        </a:cubicBezTo>
                        <a:cubicBezTo>
                          <a:pt x="117" y="177"/>
                          <a:pt x="117" y="177"/>
                          <a:pt x="117" y="177"/>
                        </a:cubicBezTo>
                        <a:cubicBezTo>
                          <a:pt x="117" y="179"/>
                          <a:pt x="116" y="180"/>
                          <a:pt x="116" y="181"/>
                        </a:cubicBezTo>
                        <a:cubicBezTo>
                          <a:pt x="116" y="185"/>
                          <a:pt x="118" y="188"/>
                          <a:pt x="120" y="191"/>
                        </a:cubicBezTo>
                        <a:cubicBezTo>
                          <a:pt x="121" y="192"/>
                          <a:pt x="122" y="193"/>
                          <a:pt x="123" y="193"/>
                        </a:cubicBezTo>
                        <a:cubicBezTo>
                          <a:pt x="123" y="193"/>
                          <a:pt x="123" y="193"/>
                          <a:pt x="123" y="193"/>
                        </a:cubicBezTo>
                        <a:cubicBezTo>
                          <a:pt x="124" y="194"/>
                          <a:pt x="126" y="196"/>
                          <a:pt x="129" y="198"/>
                        </a:cubicBezTo>
                        <a:cubicBezTo>
                          <a:pt x="129" y="198"/>
                          <a:pt x="129" y="198"/>
                          <a:pt x="129" y="199"/>
                        </a:cubicBezTo>
                        <a:cubicBezTo>
                          <a:pt x="43" y="231"/>
                          <a:pt x="43" y="231"/>
                          <a:pt x="43" y="231"/>
                        </a:cubicBezTo>
                        <a:cubicBezTo>
                          <a:pt x="42" y="232"/>
                          <a:pt x="41" y="232"/>
                          <a:pt x="41" y="232"/>
                        </a:cubicBezTo>
                        <a:cubicBezTo>
                          <a:pt x="41" y="232"/>
                          <a:pt x="41" y="232"/>
                          <a:pt x="41" y="232"/>
                        </a:cubicBezTo>
                        <a:cubicBezTo>
                          <a:pt x="68" y="103"/>
                          <a:pt x="68" y="103"/>
                          <a:pt x="68" y="103"/>
                        </a:cubicBezTo>
                        <a:cubicBezTo>
                          <a:pt x="68" y="102"/>
                          <a:pt x="68" y="102"/>
                          <a:pt x="68" y="102"/>
                        </a:cubicBezTo>
                        <a:cubicBezTo>
                          <a:pt x="68" y="101"/>
                          <a:pt x="69" y="101"/>
                          <a:pt x="70" y="100"/>
                        </a:cubicBezTo>
                        <a:cubicBezTo>
                          <a:pt x="71" y="100"/>
                          <a:pt x="71" y="100"/>
                          <a:pt x="71" y="100"/>
                        </a:cubicBezTo>
                        <a:cubicBezTo>
                          <a:pt x="71" y="100"/>
                          <a:pt x="71" y="100"/>
                          <a:pt x="71" y="100"/>
                        </a:cubicBezTo>
                        <a:cubicBezTo>
                          <a:pt x="85" y="95"/>
                          <a:pt x="85" y="95"/>
                          <a:pt x="85" y="95"/>
                        </a:cubicBezTo>
                        <a:cubicBezTo>
                          <a:pt x="99" y="89"/>
                          <a:pt x="99" y="89"/>
                          <a:pt x="99" y="89"/>
                        </a:cubicBezTo>
                        <a:cubicBezTo>
                          <a:pt x="103" y="88"/>
                          <a:pt x="103" y="88"/>
                          <a:pt x="103" y="88"/>
                        </a:cubicBezTo>
                        <a:cubicBezTo>
                          <a:pt x="115" y="83"/>
                          <a:pt x="115" y="83"/>
                          <a:pt x="115" y="83"/>
                        </a:cubicBezTo>
                        <a:cubicBezTo>
                          <a:pt x="126" y="80"/>
                          <a:pt x="141" y="74"/>
                          <a:pt x="157" y="68"/>
                        </a:cubicBezTo>
                        <a:cubicBezTo>
                          <a:pt x="171" y="63"/>
                          <a:pt x="185" y="57"/>
                          <a:pt x="197" y="53"/>
                        </a:cubicBezTo>
                        <a:cubicBezTo>
                          <a:pt x="204" y="50"/>
                          <a:pt x="204" y="50"/>
                          <a:pt x="204" y="50"/>
                        </a:cubicBezTo>
                        <a:cubicBezTo>
                          <a:pt x="218" y="45"/>
                          <a:pt x="230" y="41"/>
                          <a:pt x="235" y="39"/>
                        </a:cubicBezTo>
                        <a:cubicBezTo>
                          <a:pt x="229" y="63"/>
                          <a:pt x="229" y="63"/>
                          <a:pt x="229" y="63"/>
                        </a:cubicBezTo>
                        <a:cubicBezTo>
                          <a:pt x="205" y="63"/>
                          <a:pt x="205" y="63"/>
                          <a:pt x="205" y="63"/>
                        </a:cubicBezTo>
                        <a:cubicBezTo>
                          <a:pt x="203" y="63"/>
                          <a:pt x="200" y="64"/>
                          <a:pt x="198" y="65"/>
                        </a:cubicBezTo>
                        <a:cubicBezTo>
                          <a:pt x="195" y="68"/>
                          <a:pt x="192" y="72"/>
                          <a:pt x="192" y="76"/>
                        </a:cubicBezTo>
                        <a:cubicBezTo>
                          <a:pt x="192" y="118"/>
                          <a:pt x="192" y="118"/>
                          <a:pt x="192" y="118"/>
                        </a:cubicBezTo>
                        <a:cubicBezTo>
                          <a:pt x="192" y="126"/>
                          <a:pt x="198" y="132"/>
                          <a:pt x="205" y="132"/>
                        </a:cubicBezTo>
                        <a:cubicBezTo>
                          <a:pt x="214" y="132"/>
                          <a:pt x="214" y="132"/>
                          <a:pt x="214" y="132"/>
                        </a:cubicBezTo>
                        <a:lnTo>
                          <a:pt x="211" y="147"/>
                        </a:lnTo>
                        <a:close/>
                        <a:moveTo>
                          <a:pt x="282" y="114"/>
                        </a:moveTo>
                        <a:cubicBezTo>
                          <a:pt x="282" y="114"/>
                          <a:pt x="273" y="121"/>
                          <a:pt x="267" y="126"/>
                        </a:cubicBezTo>
                        <a:cubicBezTo>
                          <a:pt x="267" y="124"/>
                          <a:pt x="267" y="124"/>
                          <a:pt x="267" y="124"/>
                        </a:cubicBezTo>
                        <a:cubicBezTo>
                          <a:pt x="267" y="121"/>
                          <a:pt x="266" y="119"/>
                          <a:pt x="265" y="118"/>
                        </a:cubicBezTo>
                        <a:cubicBezTo>
                          <a:pt x="263" y="116"/>
                          <a:pt x="261" y="116"/>
                          <a:pt x="259" y="116"/>
                        </a:cubicBezTo>
                        <a:cubicBezTo>
                          <a:pt x="208" y="116"/>
                          <a:pt x="208" y="116"/>
                          <a:pt x="208" y="116"/>
                        </a:cubicBezTo>
                        <a:cubicBezTo>
                          <a:pt x="208" y="97"/>
                          <a:pt x="208" y="97"/>
                          <a:pt x="208" y="97"/>
                        </a:cubicBezTo>
                        <a:cubicBezTo>
                          <a:pt x="208" y="79"/>
                          <a:pt x="208" y="79"/>
                          <a:pt x="208" y="79"/>
                        </a:cubicBezTo>
                        <a:cubicBezTo>
                          <a:pt x="259" y="79"/>
                          <a:pt x="259" y="79"/>
                          <a:pt x="259" y="79"/>
                        </a:cubicBezTo>
                        <a:cubicBezTo>
                          <a:pt x="261" y="79"/>
                          <a:pt x="263" y="78"/>
                          <a:pt x="265" y="77"/>
                        </a:cubicBezTo>
                        <a:cubicBezTo>
                          <a:pt x="266" y="75"/>
                          <a:pt x="267" y="73"/>
                          <a:pt x="267" y="71"/>
                        </a:cubicBezTo>
                        <a:cubicBezTo>
                          <a:pt x="267" y="69"/>
                          <a:pt x="267" y="69"/>
                          <a:pt x="267" y="69"/>
                        </a:cubicBezTo>
                        <a:cubicBezTo>
                          <a:pt x="273" y="74"/>
                          <a:pt x="282" y="81"/>
                          <a:pt x="282" y="81"/>
                        </a:cubicBezTo>
                        <a:cubicBezTo>
                          <a:pt x="282" y="81"/>
                          <a:pt x="283" y="82"/>
                          <a:pt x="283" y="82"/>
                        </a:cubicBezTo>
                        <a:cubicBezTo>
                          <a:pt x="283" y="82"/>
                          <a:pt x="283" y="82"/>
                          <a:pt x="283" y="82"/>
                        </a:cubicBezTo>
                        <a:cubicBezTo>
                          <a:pt x="285" y="84"/>
                          <a:pt x="285" y="84"/>
                          <a:pt x="285" y="84"/>
                        </a:cubicBezTo>
                        <a:cubicBezTo>
                          <a:pt x="289" y="87"/>
                          <a:pt x="296" y="92"/>
                          <a:pt x="300" y="95"/>
                        </a:cubicBezTo>
                        <a:cubicBezTo>
                          <a:pt x="300" y="96"/>
                          <a:pt x="301" y="96"/>
                          <a:pt x="301" y="96"/>
                        </a:cubicBezTo>
                        <a:cubicBezTo>
                          <a:pt x="301" y="96"/>
                          <a:pt x="301" y="96"/>
                          <a:pt x="301" y="96"/>
                        </a:cubicBezTo>
                        <a:cubicBezTo>
                          <a:pt x="302" y="97"/>
                          <a:pt x="302" y="97"/>
                          <a:pt x="303" y="97"/>
                        </a:cubicBezTo>
                        <a:cubicBezTo>
                          <a:pt x="303" y="97"/>
                          <a:pt x="303" y="97"/>
                          <a:pt x="303" y="97"/>
                        </a:cubicBezTo>
                        <a:cubicBezTo>
                          <a:pt x="303" y="97"/>
                          <a:pt x="303" y="97"/>
                          <a:pt x="303" y="97"/>
                        </a:cubicBezTo>
                        <a:cubicBezTo>
                          <a:pt x="303" y="97"/>
                          <a:pt x="303" y="97"/>
                          <a:pt x="303" y="97"/>
                        </a:cubicBezTo>
                        <a:cubicBezTo>
                          <a:pt x="303" y="97"/>
                          <a:pt x="303" y="98"/>
                          <a:pt x="303" y="98"/>
                        </a:cubicBezTo>
                        <a:cubicBezTo>
                          <a:pt x="300" y="99"/>
                          <a:pt x="295" y="103"/>
                          <a:pt x="291" y="107"/>
                        </a:cubicBezTo>
                        <a:cubicBezTo>
                          <a:pt x="287" y="110"/>
                          <a:pt x="287" y="110"/>
                          <a:pt x="287" y="110"/>
                        </a:cubicBezTo>
                        <a:cubicBezTo>
                          <a:pt x="287" y="110"/>
                          <a:pt x="287" y="110"/>
                          <a:pt x="287" y="110"/>
                        </a:cubicBezTo>
                        <a:cubicBezTo>
                          <a:pt x="284" y="112"/>
                          <a:pt x="282" y="114"/>
                          <a:pt x="282" y="114"/>
                        </a:cubicBezTo>
                        <a:close/>
                        <a:moveTo>
                          <a:pt x="304" y="117"/>
                        </a:moveTo>
                        <a:cubicBezTo>
                          <a:pt x="306" y="115"/>
                          <a:pt x="307" y="114"/>
                          <a:pt x="309" y="113"/>
                        </a:cubicBezTo>
                        <a:cubicBezTo>
                          <a:pt x="310" y="112"/>
                          <a:pt x="312" y="111"/>
                          <a:pt x="313" y="110"/>
                        </a:cubicBezTo>
                        <a:cubicBezTo>
                          <a:pt x="316" y="108"/>
                          <a:pt x="318" y="104"/>
                          <a:pt x="319" y="99"/>
                        </a:cubicBezTo>
                        <a:cubicBezTo>
                          <a:pt x="319" y="99"/>
                          <a:pt x="319" y="98"/>
                          <a:pt x="319" y="97"/>
                        </a:cubicBezTo>
                        <a:cubicBezTo>
                          <a:pt x="319" y="95"/>
                          <a:pt x="318" y="92"/>
                          <a:pt x="317" y="90"/>
                        </a:cubicBezTo>
                        <a:cubicBezTo>
                          <a:pt x="316" y="88"/>
                          <a:pt x="314" y="86"/>
                          <a:pt x="313" y="85"/>
                        </a:cubicBezTo>
                        <a:cubicBezTo>
                          <a:pt x="313" y="85"/>
                          <a:pt x="313" y="85"/>
                          <a:pt x="313" y="85"/>
                        </a:cubicBezTo>
                        <a:cubicBezTo>
                          <a:pt x="310" y="83"/>
                          <a:pt x="303" y="77"/>
                          <a:pt x="298" y="73"/>
                        </a:cubicBezTo>
                        <a:cubicBezTo>
                          <a:pt x="296" y="63"/>
                          <a:pt x="296" y="63"/>
                          <a:pt x="296" y="63"/>
                        </a:cubicBezTo>
                        <a:cubicBezTo>
                          <a:pt x="296" y="62"/>
                          <a:pt x="296" y="61"/>
                          <a:pt x="296" y="60"/>
                        </a:cubicBezTo>
                        <a:cubicBezTo>
                          <a:pt x="296" y="57"/>
                          <a:pt x="297" y="57"/>
                          <a:pt x="297" y="57"/>
                        </a:cubicBezTo>
                        <a:cubicBezTo>
                          <a:pt x="297" y="57"/>
                          <a:pt x="298" y="56"/>
                          <a:pt x="301" y="55"/>
                        </a:cubicBezTo>
                        <a:cubicBezTo>
                          <a:pt x="301" y="55"/>
                          <a:pt x="301" y="55"/>
                          <a:pt x="301" y="55"/>
                        </a:cubicBezTo>
                        <a:cubicBezTo>
                          <a:pt x="301" y="55"/>
                          <a:pt x="301" y="55"/>
                          <a:pt x="301" y="55"/>
                        </a:cubicBezTo>
                        <a:cubicBezTo>
                          <a:pt x="301" y="55"/>
                          <a:pt x="343" y="39"/>
                          <a:pt x="358" y="34"/>
                        </a:cubicBezTo>
                        <a:cubicBezTo>
                          <a:pt x="358" y="34"/>
                          <a:pt x="358" y="34"/>
                          <a:pt x="358" y="34"/>
                        </a:cubicBezTo>
                        <a:cubicBezTo>
                          <a:pt x="359" y="35"/>
                          <a:pt x="360" y="37"/>
                          <a:pt x="361" y="39"/>
                        </a:cubicBezTo>
                        <a:cubicBezTo>
                          <a:pt x="362" y="41"/>
                          <a:pt x="363" y="43"/>
                          <a:pt x="365" y="45"/>
                        </a:cubicBezTo>
                        <a:cubicBezTo>
                          <a:pt x="367" y="47"/>
                          <a:pt x="370" y="49"/>
                          <a:pt x="374" y="49"/>
                        </a:cubicBezTo>
                        <a:cubicBezTo>
                          <a:pt x="376" y="49"/>
                          <a:pt x="378" y="49"/>
                          <a:pt x="379" y="48"/>
                        </a:cubicBezTo>
                        <a:cubicBezTo>
                          <a:pt x="389" y="45"/>
                          <a:pt x="449" y="22"/>
                          <a:pt x="462" y="17"/>
                        </a:cubicBezTo>
                        <a:cubicBezTo>
                          <a:pt x="462" y="17"/>
                          <a:pt x="462" y="17"/>
                          <a:pt x="462" y="17"/>
                        </a:cubicBezTo>
                        <a:cubicBezTo>
                          <a:pt x="462" y="18"/>
                          <a:pt x="462" y="18"/>
                          <a:pt x="462" y="18"/>
                        </a:cubicBezTo>
                        <a:cubicBezTo>
                          <a:pt x="465" y="40"/>
                          <a:pt x="465" y="40"/>
                          <a:pt x="465" y="40"/>
                        </a:cubicBezTo>
                        <a:cubicBezTo>
                          <a:pt x="439" y="50"/>
                          <a:pt x="407" y="62"/>
                          <a:pt x="389" y="68"/>
                        </a:cubicBezTo>
                        <a:cubicBezTo>
                          <a:pt x="386" y="70"/>
                          <a:pt x="386" y="70"/>
                          <a:pt x="386" y="70"/>
                        </a:cubicBezTo>
                        <a:cubicBezTo>
                          <a:pt x="373" y="75"/>
                          <a:pt x="373" y="75"/>
                          <a:pt x="373" y="75"/>
                        </a:cubicBezTo>
                        <a:cubicBezTo>
                          <a:pt x="345" y="85"/>
                          <a:pt x="345" y="85"/>
                          <a:pt x="345" y="85"/>
                        </a:cubicBezTo>
                        <a:cubicBezTo>
                          <a:pt x="340" y="87"/>
                          <a:pt x="336" y="90"/>
                          <a:pt x="333" y="95"/>
                        </a:cubicBezTo>
                        <a:cubicBezTo>
                          <a:pt x="333" y="96"/>
                          <a:pt x="332" y="97"/>
                          <a:pt x="332" y="98"/>
                        </a:cubicBezTo>
                        <a:cubicBezTo>
                          <a:pt x="332" y="99"/>
                          <a:pt x="332" y="99"/>
                          <a:pt x="332" y="99"/>
                        </a:cubicBezTo>
                        <a:cubicBezTo>
                          <a:pt x="314" y="186"/>
                          <a:pt x="314" y="186"/>
                          <a:pt x="314" y="186"/>
                        </a:cubicBezTo>
                        <a:lnTo>
                          <a:pt x="304" y="117"/>
                        </a:lnTo>
                        <a:close/>
                      </a:path>
                    </a:pathLst>
                  </a:custGeom>
                  <a:solidFill>
                    <a:srgbClr val="58585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41" name="Rounded Rectangle 40"/>
                  <p:cNvSpPr/>
                  <p:nvPr/>
                </p:nvSpPr>
                <p:spPr bwMode="auto">
                  <a:xfrm>
                    <a:off x="4226" y="1331"/>
                    <a:ext cx="334" cy="301"/>
                  </a:xfrm>
                  <a:prstGeom prst="roundRect">
                    <a:avLst>
                      <a:gd name="adj" fmla="val 11420"/>
                    </a:avLst>
                  </a:prstGeom>
                  <a:solidFill>
                    <a:srgbClr val="FFFFFF"/>
                  </a:solidFill>
                  <a:ln w="25400" cap="flat" cmpd="sng" algn="ctr">
                    <a:solidFill>
                      <a:srgbClr val="00285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wrap="none" lIns="72000" rIns="72000" bIns="0" anchor="b"/>
                  <a:lstStyle/>
                  <a:p>
                    <a:pPr algn="ctr">
                      <a:spcBef>
                        <a:spcPct val="50000"/>
                      </a:spcBef>
                      <a:defRPr/>
                    </a:pPr>
                    <a:r>
                      <a:rPr lang="en-US" sz="900" b="1" i="1" dirty="0">
                        <a:solidFill>
                          <a:srgbClr val="58585A"/>
                        </a:solidFill>
                      </a:rPr>
                      <a:t>Media</a:t>
                    </a:r>
                  </a:p>
                </p:txBody>
              </p:sp>
              <p:sp>
                <p:nvSpPr>
                  <p:cNvPr id="122968" name="Freeform 3"/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4447" y="1373"/>
                    <a:ext cx="112" cy="146"/>
                  </a:xfrm>
                  <a:custGeom>
                    <a:avLst/>
                    <a:gdLst>
                      <a:gd name="T0" fmla="*/ 2147483647 w 345"/>
                      <a:gd name="T1" fmla="*/ 2147483647 h 388"/>
                      <a:gd name="T2" fmla="*/ 2147483647 w 345"/>
                      <a:gd name="T3" fmla="*/ 2147483647 h 388"/>
                      <a:gd name="T4" fmla="*/ 2147483647 w 345"/>
                      <a:gd name="T5" fmla="*/ 2147483647 h 388"/>
                      <a:gd name="T6" fmla="*/ 2147483647 w 345"/>
                      <a:gd name="T7" fmla="*/ 2147483647 h 388"/>
                      <a:gd name="T8" fmla="*/ 2147483647 w 345"/>
                      <a:gd name="T9" fmla="*/ 2147483647 h 388"/>
                      <a:gd name="T10" fmla="*/ 2147483647 w 345"/>
                      <a:gd name="T11" fmla="*/ 2147483647 h 388"/>
                      <a:gd name="T12" fmla="*/ 2147483647 w 345"/>
                      <a:gd name="T13" fmla="*/ 2147483647 h 388"/>
                      <a:gd name="T14" fmla="*/ 2147483647 w 345"/>
                      <a:gd name="T15" fmla="*/ 2147483647 h 388"/>
                      <a:gd name="T16" fmla="*/ 2147483647 w 345"/>
                      <a:gd name="T17" fmla="*/ 2147483647 h 388"/>
                      <a:gd name="T18" fmla="*/ 2147483647 w 345"/>
                      <a:gd name="T19" fmla="*/ 2147483647 h 388"/>
                      <a:gd name="T20" fmla="*/ 2147483647 w 345"/>
                      <a:gd name="T21" fmla="*/ 2147483647 h 388"/>
                      <a:gd name="T22" fmla="*/ 2147483647 w 345"/>
                      <a:gd name="T23" fmla="*/ 2147483647 h 388"/>
                      <a:gd name="T24" fmla="*/ 2147483647 w 345"/>
                      <a:gd name="T25" fmla="*/ 2147483647 h 388"/>
                      <a:gd name="T26" fmla="*/ 2147483647 w 345"/>
                      <a:gd name="T27" fmla="*/ 2147483647 h 388"/>
                      <a:gd name="T28" fmla="*/ 2147483647 w 345"/>
                      <a:gd name="T29" fmla="*/ 2147483647 h 388"/>
                      <a:gd name="T30" fmla="*/ 2147483647 w 345"/>
                      <a:gd name="T31" fmla="*/ 2147483647 h 388"/>
                      <a:gd name="T32" fmla="*/ 2147483647 w 345"/>
                      <a:gd name="T33" fmla="*/ 2147483647 h 388"/>
                      <a:gd name="T34" fmla="*/ 2147483647 w 345"/>
                      <a:gd name="T35" fmla="*/ 2147483647 h 388"/>
                      <a:gd name="T36" fmla="*/ 2147483647 w 345"/>
                      <a:gd name="T37" fmla="*/ 2147483647 h 388"/>
                      <a:gd name="T38" fmla="*/ 2147483647 w 345"/>
                      <a:gd name="T39" fmla="*/ 2147483647 h 388"/>
                      <a:gd name="T40" fmla="*/ 2147483647 w 345"/>
                      <a:gd name="T41" fmla="*/ 2147483647 h 388"/>
                      <a:gd name="T42" fmla="*/ 2147483647 w 345"/>
                      <a:gd name="T43" fmla="*/ 2147483647 h 388"/>
                      <a:gd name="T44" fmla="*/ 2147483647 w 345"/>
                      <a:gd name="T45" fmla="*/ 2147483647 h 388"/>
                      <a:gd name="T46" fmla="*/ 2147483647 w 345"/>
                      <a:gd name="T47" fmla="*/ 2147483647 h 388"/>
                      <a:gd name="T48" fmla="*/ 2147483647 w 345"/>
                      <a:gd name="T49" fmla="*/ 2147483647 h 388"/>
                      <a:gd name="T50" fmla="*/ 2147483647 w 345"/>
                      <a:gd name="T51" fmla="*/ 2147483647 h 388"/>
                      <a:gd name="T52" fmla="*/ 2147483647 w 345"/>
                      <a:gd name="T53" fmla="*/ 2147483647 h 388"/>
                      <a:gd name="T54" fmla="*/ 2147483647 w 345"/>
                      <a:gd name="T55" fmla="*/ 2147483647 h 388"/>
                      <a:gd name="T56" fmla="*/ 2147483647 w 345"/>
                      <a:gd name="T57" fmla="*/ 2147483647 h 388"/>
                      <a:gd name="T58" fmla="*/ 2147483647 w 345"/>
                      <a:gd name="T59" fmla="*/ 2147483647 h 388"/>
                      <a:gd name="T60" fmla="*/ 2147483647 w 345"/>
                      <a:gd name="T61" fmla="*/ 2147483647 h 388"/>
                      <a:gd name="T62" fmla="*/ 2147483647 w 345"/>
                      <a:gd name="T63" fmla="*/ 2147483647 h 388"/>
                      <a:gd name="T64" fmla="*/ 2147483647 w 345"/>
                      <a:gd name="T65" fmla="*/ 2147483647 h 388"/>
                      <a:gd name="T66" fmla="*/ 2147483647 w 345"/>
                      <a:gd name="T67" fmla="*/ 2147483647 h 388"/>
                      <a:gd name="T68" fmla="*/ 2147483647 w 345"/>
                      <a:gd name="T69" fmla="*/ 2147483647 h 388"/>
                      <a:gd name="T70" fmla="*/ 2147483647 w 345"/>
                      <a:gd name="T71" fmla="*/ 2147483647 h 388"/>
                      <a:gd name="T72" fmla="*/ 2147483647 w 345"/>
                      <a:gd name="T73" fmla="*/ 2147483647 h 388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w 345"/>
                      <a:gd name="T112" fmla="*/ 0 h 388"/>
                      <a:gd name="T113" fmla="*/ 345 w 345"/>
                      <a:gd name="T114" fmla="*/ 388 h 388"/>
                    </a:gdLst>
                    <a:ahLst/>
                    <a:cxnLst>
                      <a:cxn ang="T74">
                        <a:pos x="T0" y="T1"/>
                      </a:cxn>
                      <a:cxn ang="T75">
                        <a:pos x="T2" y="T3"/>
                      </a:cxn>
                      <a:cxn ang="T76">
                        <a:pos x="T4" y="T5"/>
                      </a:cxn>
                      <a:cxn ang="T77">
                        <a:pos x="T6" y="T7"/>
                      </a:cxn>
                      <a:cxn ang="T78">
                        <a:pos x="T8" y="T9"/>
                      </a:cxn>
                      <a:cxn ang="T79">
                        <a:pos x="T10" y="T11"/>
                      </a:cxn>
                      <a:cxn ang="T80">
                        <a:pos x="T12" y="T13"/>
                      </a:cxn>
                      <a:cxn ang="T81">
                        <a:pos x="T14" y="T15"/>
                      </a:cxn>
                      <a:cxn ang="T82">
                        <a:pos x="T16" y="T17"/>
                      </a:cxn>
                      <a:cxn ang="T83">
                        <a:pos x="T18" y="T19"/>
                      </a:cxn>
                      <a:cxn ang="T84">
                        <a:pos x="T20" y="T21"/>
                      </a:cxn>
                      <a:cxn ang="T85">
                        <a:pos x="T22" y="T23"/>
                      </a:cxn>
                      <a:cxn ang="T86">
                        <a:pos x="T24" y="T25"/>
                      </a:cxn>
                      <a:cxn ang="T87">
                        <a:pos x="T26" y="T27"/>
                      </a:cxn>
                      <a:cxn ang="T88">
                        <a:pos x="T28" y="T29"/>
                      </a:cxn>
                      <a:cxn ang="T89">
                        <a:pos x="T30" y="T31"/>
                      </a:cxn>
                      <a:cxn ang="T90">
                        <a:pos x="T32" y="T33"/>
                      </a:cxn>
                      <a:cxn ang="T91">
                        <a:pos x="T34" y="T35"/>
                      </a:cxn>
                      <a:cxn ang="T92">
                        <a:pos x="T36" y="T37"/>
                      </a:cxn>
                      <a:cxn ang="T93">
                        <a:pos x="T38" y="T39"/>
                      </a:cxn>
                      <a:cxn ang="T94">
                        <a:pos x="T40" y="T41"/>
                      </a:cxn>
                      <a:cxn ang="T95">
                        <a:pos x="T42" y="T43"/>
                      </a:cxn>
                      <a:cxn ang="T96">
                        <a:pos x="T44" y="T45"/>
                      </a:cxn>
                      <a:cxn ang="T97">
                        <a:pos x="T46" y="T47"/>
                      </a:cxn>
                      <a:cxn ang="T98">
                        <a:pos x="T48" y="T49"/>
                      </a:cxn>
                      <a:cxn ang="T99">
                        <a:pos x="T50" y="T51"/>
                      </a:cxn>
                      <a:cxn ang="T100">
                        <a:pos x="T52" y="T53"/>
                      </a:cxn>
                      <a:cxn ang="T101">
                        <a:pos x="T54" y="T55"/>
                      </a:cxn>
                      <a:cxn ang="T102">
                        <a:pos x="T56" y="T57"/>
                      </a:cxn>
                      <a:cxn ang="T103">
                        <a:pos x="T58" y="T59"/>
                      </a:cxn>
                      <a:cxn ang="T104">
                        <a:pos x="T60" y="T61"/>
                      </a:cxn>
                      <a:cxn ang="T105">
                        <a:pos x="T62" y="T63"/>
                      </a:cxn>
                      <a:cxn ang="T106">
                        <a:pos x="T64" y="T65"/>
                      </a:cxn>
                      <a:cxn ang="T107">
                        <a:pos x="T66" y="T67"/>
                      </a:cxn>
                      <a:cxn ang="T108">
                        <a:pos x="T68" y="T69"/>
                      </a:cxn>
                      <a:cxn ang="T109">
                        <a:pos x="T70" y="T71"/>
                      </a:cxn>
                      <a:cxn ang="T110">
                        <a:pos x="T72" y="T73"/>
                      </a:cxn>
                    </a:cxnLst>
                    <a:rect l="T111" t="T112" r="T113" b="T114"/>
                    <a:pathLst>
                      <a:path w="345" h="388">
                        <a:moveTo>
                          <a:pt x="329" y="326"/>
                        </a:moveTo>
                        <a:cubicBezTo>
                          <a:pt x="318" y="317"/>
                          <a:pt x="300" y="308"/>
                          <a:pt x="274" y="308"/>
                        </a:cubicBezTo>
                        <a:cubicBezTo>
                          <a:pt x="248" y="308"/>
                          <a:pt x="214" y="317"/>
                          <a:pt x="169" y="341"/>
                        </a:cubicBezTo>
                        <a:cubicBezTo>
                          <a:pt x="125" y="364"/>
                          <a:pt x="93" y="372"/>
                          <a:pt x="71" y="372"/>
                        </a:cubicBezTo>
                        <a:cubicBezTo>
                          <a:pt x="48" y="372"/>
                          <a:pt x="35" y="365"/>
                          <a:pt x="27" y="358"/>
                        </a:cubicBezTo>
                        <a:cubicBezTo>
                          <a:pt x="23" y="354"/>
                          <a:pt x="20" y="351"/>
                          <a:pt x="18" y="348"/>
                        </a:cubicBezTo>
                        <a:cubicBezTo>
                          <a:pt x="18" y="347"/>
                          <a:pt x="17" y="346"/>
                          <a:pt x="17" y="346"/>
                        </a:cubicBezTo>
                        <a:cubicBezTo>
                          <a:pt x="17" y="345"/>
                          <a:pt x="16" y="345"/>
                          <a:pt x="16" y="345"/>
                        </a:cubicBezTo>
                        <a:cubicBezTo>
                          <a:pt x="16" y="345"/>
                          <a:pt x="16" y="345"/>
                          <a:pt x="16" y="345"/>
                        </a:cubicBezTo>
                        <a:cubicBezTo>
                          <a:pt x="15" y="341"/>
                          <a:pt x="10" y="339"/>
                          <a:pt x="6" y="341"/>
                        </a:cubicBezTo>
                        <a:cubicBezTo>
                          <a:pt x="2" y="342"/>
                          <a:pt x="0" y="347"/>
                          <a:pt x="2" y="351"/>
                        </a:cubicBezTo>
                        <a:cubicBezTo>
                          <a:pt x="2" y="352"/>
                          <a:pt x="6" y="361"/>
                          <a:pt x="17" y="370"/>
                        </a:cubicBezTo>
                        <a:cubicBezTo>
                          <a:pt x="27" y="379"/>
                          <a:pt x="45" y="388"/>
                          <a:pt x="71" y="388"/>
                        </a:cubicBezTo>
                        <a:cubicBezTo>
                          <a:pt x="71" y="388"/>
                          <a:pt x="71" y="388"/>
                          <a:pt x="71" y="388"/>
                        </a:cubicBezTo>
                        <a:cubicBezTo>
                          <a:pt x="97" y="388"/>
                          <a:pt x="131" y="379"/>
                          <a:pt x="176" y="355"/>
                        </a:cubicBezTo>
                        <a:cubicBezTo>
                          <a:pt x="220" y="331"/>
                          <a:pt x="252" y="324"/>
                          <a:pt x="274" y="324"/>
                        </a:cubicBezTo>
                        <a:cubicBezTo>
                          <a:pt x="297" y="324"/>
                          <a:pt x="310" y="331"/>
                          <a:pt x="318" y="338"/>
                        </a:cubicBezTo>
                        <a:cubicBezTo>
                          <a:pt x="322" y="341"/>
                          <a:pt x="325" y="345"/>
                          <a:pt x="327" y="347"/>
                        </a:cubicBezTo>
                        <a:cubicBezTo>
                          <a:pt x="328" y="349"/>
                          <a:pt x="328" y="350"/>
                          <a:pt x="329" y="350"/>
                        </a:cubicBezTo>
                        <a:cubicBezTo>
                          <a:pt x="329" y="351"/>
                          <a:pt x="329" y="351"/>
                          <a:pt x="329" y="351"/>
                        </a:cubicBezTo>
                        <a:cubicBezTo>
                          <a:pt x="329" y="351"/>
                          <a:pt x="329" y="351"/>
                          <a:pt x="329" y="351"/>
                        </a:cubicBezTo>
                        <a:cubicBezTo>
                          <a:pt x="331" y="355"/>
                          <a:pt x="335" y="357"/>
                          <a:pt x="340" y="355"/>
                        </a:cubicBezTo>
                        <a:cubicBezTo>
                          <a:pt x="344" y="354"/>
                          <a:pt x="345" y="349"/>
                          <a:pt x="344" y="345"/>
                        </a:cubicBezTo>
                        <a:cubicBezTo>
                          <a:pt x="343" y="344"/>
                          <a:pt x="339" y="335"/>
                          <a:pt x="329" y="326"/>
                        </a:cubicBezTo>
                        <a:close/>
                        <a:moveTo>
                          <a:pt x="2" y="309"/>
                        </a:moveTo>
                        <a:cubicBezTo>
                          <a:pt x="2" y="310"/>
                          <a:pt x="6" y="319"/>
                          <a:pt x="17" y="328"/>
                        </a:cubicBezTo>
                        <a:cubicBezTo>
                          <a:pt x="27" y="337"/>
                          <a:pt x="45" y="346"/>
                          <a:pt x="71" y="346"/>
                        </a:cubicBezTo>
                        <a:cubicBezTo>
                          <a:pt x="71" y="346"/>
                          <a:pt x="71" y="346"/>
                          <a:pt x="71" y="346"/>
                        </a:cubicBezTo>
                        <a:cubicBezTo>
                          <a:pt x="97" y="346"/>
                          <a:pt x="131" y="338"/>
                          <a:pt x="176" y="313"/>
                        </a:cubicBezTo>
                        <a:cubicBezTo>
                          <a:pt x="220" y="290"/>
                          <a:pt x="252" y="282"/>
                          <a:pt x="274" y="282"/>
                        </a:cubicBezTo>
                        <a:cubicBezTo>
                          <a:pt x="297" y="282"/>
                          <a:pt x="310" y="289"/>
                          <a:pt x="318" y="296"/>
                        </a:cubicBezTo>
                        <a:cubicBezTo>
                          <a:pt x="322" y="300"/>
                          <a:pt x="325" y="303"/>
                          <a:pt x="327" y="306"/>
                        </a:cubicBezTo>
                        <a:cubicBezTo>
                          <a:pt x="328" y="307"/>
                          <a:pt x="328" y="308"/>
                          <a:pt x="329" y="309"/>
                        </a:cubicBezTo>
                        <a:cubicBezTo>
                          <a:pt x="329" y="309"/>
                          <a:pt x="329" y="309"/>
                          <a:pt x="329" y="309"/>
                        </a:cubicBezTo>
                        <a:cubicBezTo>
                          <a:pt x="329" y="309"/>
                          <a:pt x="329" y="309"/>
                          <a:pt x="329" y="309"/>
                        </a:cubicBezTo>
                        <a:cubicBezTo>
                          <a:pt x="331" y="313"/>
                          <a:pt x="335" y="315"/>
                          <a:pt x="339" y="314"/>
                        </a:cubicBezTo>
                        <a:cubicBezTo>
                          <a:pt x="344" y="312"/>
                          <a:pt x="345" y="307"/>
                          <a:pt x="344" y="303"/>
                        </a:cubicBezTo>
                        <a:cubicBezTo>
                          <a:pt x="343" y="302"/>
                          <a:pt x="339" y="293"/>
                          <a:pt x="329" y="284"/>
                        </a:cubicBezTo>
                        <a:cubicBezTo>
                          <a:pt x="318" y="275"/>
                          <a:pt x="300" y="266"/>
                          <a:pt x="274" y="266"/>
                        </a:cubicBezTo>
                        <a:cubicBezTo>
                          <a:pt x="248" y="266"/>
                          <a:pt x="214" y="275"/>
                          <a:pt x="169" y="299"/>
                        </a:cubicBezTo>
                        <a:cubicBezTo>
                          <a:pt x="125" y="323"/>
                          <a:pt x="93" y="330"/>
                          <a:pt x="71" y="330"/>
                        </a:cubicBezTo>
                        <a:cubicBezTo>
                          <a:pt x="48" y="330"/>
                          <a:pt x="35" y="323"/>
                          <a:pt x="27" y="316"/>
                        </a:cubicBezTo>
                        <a:cubicBezTo>
                          <a:pt x="23" y="313"/>
                          <a:pt x="20" y="309"/>
                          <a:pt x="18" y="307"/>
                        </a:cubicBezTo>
                        <a:cubicBezTo>
                          <a:pt x="18" y="305"/>
                          <a:pt x="17" y="304"/>
                          <a:pt x="17" y="304"/>
                        </a:cubicBezTo>
                        <a:cubicBezTo>
                          <a:pt x="17" y="303"/>
                          <a:pt x="16" y="303"/>
                          <a:pt x="16" y="303"/>
                        </a:cubicBezTo>
                        <a:cubicBezTo>
                          <a:pt x="16" y="303"/>
                          <a:pt x="16" y="303"/>
                          <a:pt x="16" y="303"/>
                        </a:cubicBezTo>
                        <a:cubicBezTo>
                          <a:pt x="15" y="299"/>
                          <a:pt x="10" y="297"/>
                          <a:pt x="6" y="299"/>
                        </a:cubicBezTo>
                        <a:cubicBezTo>
                          <a:pt x="2" y="301"/>
                          <a:pt x="0" y="305"/>
                          <a:pt x="2" y="309"/>
                        </a:cubicBezTo>
                        <a:close/>
                        <a:moveTo>
                          <a:pt x="98" y="274"/>
                        </a:moveTo>
                        <a:cubicBezTo>
                          <a:pt x="124" y="274"/>
                          <a:pt x="144" y="254"/>
                          <a:pt x="144" y="229"/>
                        </a:cubicBezTo>
                        <a:cubicBezTo>
                          <a:pt x="144" y="229"/>
                          <a:pt x="144" y="228"/>
                          <a:pt x="144" y="228"/>
                        </a:cubicBezTo>
                        <a:cubicBezTo>
                          <a:pt x="144" y="48"/>
                          <a:pt x="144" y="48"/>
                          <a:pt x="144" y="48"/>
                        </a:cubicBezTo>
                        <a:cubicBezTo>
                          <a:pt x="276" y="18"/>
                          <a:pt x="276" y="18"/>
                          <a:pt x="276" y="18"/>
                        </a:cubicBezTo>
                        <a:cubicBezTo>
                          <a:pt x="276" y="41"/>
                          <a:pt x="276" y="41"/>
                          <a:pt x="276" y="41"/>
                        </a:cubicBezTo>
                        <a:cubicBezTo>
                          <a:pt x="276" y="45"/>
                          <a:pt x="280" y="49"/>
                          <a:pt x="284" y="49"/>
                        </a:cubicBezTo>
                        <a:cubicBezTo>
                          <a:pt x="289" y="49"/>
                          <a:pt x="292" y="45"/>
                          <a:pt x="292" y="41"/>
                        </a:cubicBezTo>
                        <a:cubicBezTo>
                          <a:pt x="292" y="8"/>
                          <a:pt x="292" y="8"/>
                          <a:pt x="292" y="8"/>
                        </a:cubicBezTo>
                        <a:cubicBezTo>
                          <a:pt x="292" y="6"/>
                          <a:pt x="291" y="3"/>
                          <a:pt x="289" y="2"/>
                        </a:cubicBezTo>
                        <a:cubicBezTo>
                          <a:pt x="287" y="0"/>
                          <a:pt x="285" y="0"/>
                          <a:pt x="283" y="0"/>
                        </a:cubicBezTo>
                        <a:cubicBezTo>
                          <a:pt x="134" y="34"/>
                          <a:pt x="134" y="34"/>
                          <a:pt x="134" y="34"/>
                        </a:cubicBezTo>
                        <a:cubicBezTo>
                          <a:pt x="131" y="35"/>
                          <a:pt x="128" y="38"/>
                          <a:pt x="128" y="42"/>
                        </a:cubicBezTo>
                        <a:cubicBezTo>
                          <a:pt x="128" y="194"/>
                          <a:pt x="128" y="194"/>
                          <a:pt x="128" y="194"/>
                        </a:cubicBezTo>
                        <a:cubicBezTo>
                          <a:pt x="120" y="187"/>
                          <a:pt x="110" y="183"/>
                          <a:pt x="98" y="183"/>
                        </a:cubicBezTo>
                        <a:cubicBezTo>
                          <a:pt x="73" y="183"/>
                          <a:pt x="53" y="203"/>
                          <a:pt x="53" y="228"/>
                        </a:cubicBezTo>
                        <a:cubicBezTo>
                          <a:pt x="53" y="254"/>
                          <a:pt x="73" y="274"/>
                          <a:pt x="98" y="274"/>
                        </a:cubicBezTo>
                        <a:close/>
                        <a:moveTo>
                          <a:pt x="284" y="65"/>
                        </a:moveTo>
                        <a:cubicBezTo>
                          <a:pt x="280" y="65"/>
                          <a:pt x="276" y="69"/>
                          <a:pt x="276" y="73"/>
                        </a:cubicBezTo>
                        <a:cubicBezTo>
                          <a:pt x="276" y="160"/>
                          <a:pt x="276" y="160"/>
                          <a:pt x="276" y="160"/>
                        </a:cubicBezTo>
                        <a:cubicBezTo>
                          <a:pt x="268" y="153"/>
                          <a:pt x="258" y="149"/>
                          <a:pt x="247" y="149"/>
                        </a:cubicBezTo>
                        <a:cubicBezTo>
                          <a:pt x="222" y="149"/>
                          <a:pt x="201" y="170"/>
                          <a:pt x="201" y="195"/>
                        </a:cubicBezTo>
                        <a:cubicBezTo>
                          <a:pt x="201" y="220"/>
                          <a:pt x="222" y="240"/>
                          <a:pt x="247" y="240"/>
                        </a:cubicBezTo>
                        <a:cubicBezTo>
                          <a:pt x="272" y="240"/>
                          <a:pt x="292" y="220"/>
                          <a:pt x="292" y="195"/>
                        </a:cubicBezTo>
                        <a:cubicBezTo>
                          <a:pt x="292" y="195"/>
                          <a:pt x="292" y="195"/>
                          <a:pt x="292" y="195"/>
                        </a:cubicBezTo>
                        <a:cubicBezTo>
                          <a:pt x="292" y="73"/>
                          <a:pt x="292" y="73"/>
                          <a:pt x="292" y="73"/>
                        </a:cubicBezTo>
                        <a:cubicBezTo>
                          <a:pt x="292" y="69"/>
                          <a:pt x="289" y="65"/>
                          <a:pt x="284" y="65"/>
                        </a:cubicBezTo>
                        <a:close/>
                      </a:path>
                    </a:pathLst>
                  </a:custGeom>
                  <a:solidFill>
                    <a:srgbClr val="58585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22969" name="Freeform 3"/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4268" y="1373"/>
                    <a:ext cx="159" cy="146"/>
                  </a:xfrm>
                  <a:custGeom>
                    <a:avLst/>
                    <a:gdLst>
                      <a:gd name="T0" fmla="*/ 2147483647 w 418"/>
                      <a:gd name="T1" fmla="*/ 2147483647 h 333"/>
                      <a:gd name="T2" fmla="*/ 2147483647 w 418"/>
                      <a:gd name="T3" fmla="*/ 2147483647 h 333"/>
                      <a:gd name="T4" fmla="*/ 2147483647 w 418"/>
                      <a:gd name="T5" fmla="*/ 2147483647 h 333"/>
                      <a:gd name="T6" fmla="*/ 2147483647 w 418"/>
                      <a:gd name="T7" fmla="*/ 2147483647 h 333"/>
                      <a:gd name="T8" fmla="*/ 2147483647 w 418"/>
                      <a:gd name="T9" fmla="*/ 0 h 333"/>
                      <a:gd name="T10" fmla="*/ 0 w 418"/>
                      <a:gd name="T11" fmla="*/ 2147483647 h 333"/>
                      <a:gd name="T12" fmla="*/ 2147483647 w 418"/>
                      <a:gd name="T13" fmla="*/ 2147483647 h 333"/>
                      <a:gd name="T14" fmla="*/ 2147483647 w 418"/>
                      <a:gd name="T15" fmla="*/ 2147483647 h 333"/>
                      <a:gd name="T16" fmla="*/ 2147483647 w 418"/>
                      <a:gd name="T17" fmla="*/ 2147483647 h 333"/>
                      <a:gd name="T18" fmla="*/ 2147483647 w 418"/>
                      <a:gd name="T19" fmla="*/ 2147483647 h 333"/>
                      <a:gd name="T20" fmla="*/ 2147483647 w 418"/>
                      <a:gd name="T21" fmla="*/ 2147483647 h 333"/>
                      <a:gd name="T22" fmla="*/ 2147483647 w 418"/>
                      <a:gd name="T23" fmla="*/ 2147483647 h 333"/>
                      <a:gd name="T24" fmla="*/ 2147483647 w 418"/>
                      <a:gd name="T25" fmla="*/ 2147483647 h 333"/>
                      <a:gd name="T26" fmla="*/ 2147483647 w 418"/>
                      <a:gd name="T27" fmla="*/ 2147483647 h 333"/>
                      <a:gd name="T28" fmla="*/ 2147483647 w 418"/>
                      <a:gd name="T29" fmla="*/ 2147483647 h 333"/>
                      <a:gd name="T30" fmla="*/ 2147483647 w 418"/>
                      <a:gd name="T31" fmla="*/ 2147483647 h 333"/>
                      <a:gd name="T32" fmla="*/ 2147483647 w 418"/>
                      <a:gd name="T33" fmla="*/ 2147483647 h 333"/>
                      <a:gd name="T34" fmla="*/ 2147483647 w 418"/>
                      <a:gd name="T35" fmla="*/ 2147483647 h 333"/>
                      <a:gd name="T36" fmla="*/ 2147483647 w 418"/>
                      <a:gd name="T37" fmla="*/ 2147483647 h 333"/>
                      <a:gd name="T38" fmla="*/ 2147483647 w 418"/>
                      <a:gd name="T39" fmla="*/ 2147483647 h 333"/>
                      <a:gd name="T40" fmla="*/ 2147483647 w 418"/>
                      <a:gd name="T41" fmla="*/ 2147483647 h 333"/>
                      <a:gd name="T42" fmla="*/ 2147483647 w 418"/>
                      <a:gd name="T43" fmla="*/ 2147483647 h 333"/>
                      <a:gd name="T44" fmla="*/ 2147483647 w 418"/>
                      <a:gd name="T45" fmla="*/ 2147483647 h 333"/>
                      <a:gd name="T46" fmla="*/ 2147483647 w 418"/>
                      <a:gd name="T47" fmla="*/ 2147483647 h 333"/>
                      <a:gd name="T48" fmla="*/ 2147483647 w 418"/>
                      <a:gd name="T49" fmla="*/ 2147483647 h 333"/>
                      <a:gd name="T50" fmla="*/ 2147483647 w 418"/>
                      <a:gd name="T51" fmla="*/ 2147483647 h 333"/>
                      <a:gd name="T52" fmla="*/ 2147483647 w 418"/>
                      <a:gd name="T53" fmla="*/ 2147483647 h 333"/>
                      <a:gd name="T54" fmla="*/ 2147483647 w 418"/>
                      <a:gd name="T55" fmla="*/ 2147483647 h 333"/>
                      <a:gd name="T56" fmla="*/ 2147483647 w 418"/>
                      <a:gd name="T57" fmla="*/ 2147483647 h 333"/>
                      <a:gd name="T58" fmla="*/ 2147483647 w 418"/>
                      <a:gd name="T59" fmla="*/ 2147483647 h 333"/>
                      <a:gd name="T60" fmla="*/ 2147483647 w 418"/>
                      <a:gd name="T61" fmla="*/ 2147483647 h 333"/>
                      <a:gd name="T62" fmla="*/ 2147483647 w 418"/>
                      <a:gd name="T63" fmla="*/ 2147483647 h 333"/>
                      <a:gd name="T64" fmla="*/ 2147483647 w 418"/>
                      <a:gd name="T65" fmla="*/ 2147483647 h 333"/>
                      <a:gd name="T66" fmla="*/ 2147483647 w 418"/>
                      <a:gd name="T67" fmla="*/ 2147483647 h 333"/>
                      <a:gd name="T68" fmla="*/ 2147483647 w 418"/>
                      <a:gd name="T69" fmla="*/ 2147483647 h 333"/>
                      <a:gd name="T70" fmla="*/ 2147483647 w 418"/>
                      <a:gd name="T71" fmla="*/ 2147483647 h 333"/>
                      <a:gd name="T72" fmla="*/ 2147483647 w 418"/>
                      <a:gd name="T73" fmla="*/ 2147483647 h 333"/>
                      <a:gd name="T74" fmla="*/ 2147483647 w 418"/>
                      <a:gd name="T75" fmla="*/ 2147483647 h 333"/>
                      <a:gd name="T76" fmla="*/ 2147483647 w 418"/>
                      <a:gd name="T77" fmla="*/ 2147483647 h 333"/>
                      <a:gd name="T78" fmla="*/ 2147483647 w 418"/>
                      <a:gd name="T79" fmla="*/ 2147483647 h 333"/>
                      <a:gd name="T80" fmla="*/ 2147483647 w 418"/>
                      <a:gd name="T81" fmla="*/ 2147483647 h 333"/>
                      <a:gd name="T82" fmla="*/ 2147483647 w 418"/>
                      <a:gd name="T83" fmla="*/ 2147483647 h 333"/>
                      <a:gd name="T84" fmla="*/ 2147483647 w 418"/>
                      <a:gd name="T85" fmla="*/ 2147483647 h 33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418"/>
                      <a:gd name="T130" fmla="*/ 0 h 333"/>
                      <a:gd name="T131" fmla="*/ 418 w 418"/>
                      <a:gd name="T132" fmla="*/ 333 h 33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418" h="333">
                        <a:moveTo>
                          <a:pt x="410" y="124"/>
                        </a:moveTo>
                        <a:cubicBezTo>
                          <a:pt x="406" y="124"/>
                          <a:pt x="402" y="128"/>
                          <a:pt x="402" y="132"/>
                        </a:cubicBezTo>
                        <a:cubicBezTo>
                          <a:pt x="402" y="138"/>
                          <a:pt x="402" y="145"/>
                          <a:pt x="402" y="152"/>
                        </a:cubicBezTo>
                        <a:cubicBezTo>
                          <a:pt x="402" y="152"/>
                          <a:pt x="402" y="152"/>
                          <a:pt x="402" y="152"/>
                        </a:cubicBezTo>
                        <a:cubicBezTo>
                          <a:pt x="402" y="264"/>
                          <a:pt x="402" y="264"/>
                          <a:pt x="402" y="264"/>
                        </a:cubicBezTo>
                        <a:cubicBezTo>
                          <a:pt x="16" y="264"/>
                          <a:pt x="16" y="264"/>
                          <a:pt x="16" y="264"/>
                        </a:cubicBezTo>
                        <a:cubicBezTo>
                          <a:pt x="16" y="69"/>
                          <a:pt x="16" y="69"/>
                          <a:pt x="16" y="69"/>
                        </a:cubicBezTo>
                        <a:cubicBezTo>
                          <a:pt x="402" y="69"/>
                          <a:pt x="402" y="69"/>
                          <a:pt x="402" y="69"/>
                        </a:cubicBezTo>
                        <a:cubicBezTo>
                          <a:pt x="402" y="90"/>
                          <a:pt x="402" y="90"/>
                          <a:pt x="402" y="90"/>
                        </a:cubicBezTo>
                        <a:cubicBezTo>
                          <a:pt x="402" y="90"/>
                          <a:pt x="402" y="90"/>
                          <a:pt x="402" y="90"/>
                        </a:cubicBezTo>
                        <a:cubicBezTo>
                          <a:pt x="402" y="93"/>
                          <a:pt x="402" y="93"/>
                          <a:pt x="402" y="93"/>
                        </a:cubicBezTo>
                        <a:cubicBezTo>
                          <a:pt x="402" y="98"/>
                          <a:pt x="406" y="101"/>
                          <a:pt x="410" y="101"/>
                        </a:cubicBezTo>
                        <a:cubicBezTo>
                          <a:pt x="415" y="101"/>
                          <a:pt x="418" y="98"/>
                          <a:pt x="418" y="93"/>
                        </a:cubicBezTo>
                        <a:cubicBezTo>
                          <a:pt x="418" y="31"/>
                          <a:pt x="418" y="31"/>
                          <a:pt x="418" y="31"/>
                        </a:cubicBezTo>
                        <a:cubicBezTo>
                          <a:pt x="418" y="14"/>
                          <a:pt x="405" y="0"/>
                          <a:pt x="388" y="0"/>
                        </a:cubicBezTo>
                        <a:cubicBezTo>
                          <a:pt x="31" y="0"/>
                          <a:pt x="31" y="0"/>
                          <a:pt x="31" y="0"/>
                        </a:cubicBezTo>
                        <a:cubicBezTo>
                          <a:pt x="14" y="0"/>
                          <a:pt x="0" y="14"/>
                          <a:pt x="0" y="31"/>
                        </a:cubicBezTo>
                        <a:cubicBezTo>
                          <a:pt x="0" y="302"/>
                          <a:pt x="0" y="302"/>
                          <a:pt x="0" y="302"/>
                        </a:cubicBezTo>
                        <a:cubicBezTo>
                          <a:pt x="0" y="319"/>
                          <a:pt x="14" y="333"/>
                          <a:pt x="31" y="333"/>
                        </a:cubicBezTo>
                        <a:cubicBezTo>
                          <a:pt x="388" y="333"/>
                          <a:pt x="388" y="333"/>
                          <a:pt x="388" y="333"/>
                        </a:cubicBezTo>
                        <a:cubicBezTo>
                          <a:pt x="405" y="333"/>
                          <a:pt x="418" y="319"/>
                          <a:pt x="418" y="302"/>
                        </a:cubicBezTo>
                        <a:cubicBezTo>
                          <a:pt x="418" y="302"/>
                          <a:pt x="418" y="190"/>
                          <a:pt x="418" y="132"/>
                        </a:cubicBezTo>
                        <a:cubicBezTo>
                          <a:pt x="418" y="128"/>
                          <a:pt x="415" y="124"/>
                          <a:pt x="410" y="124"/>
                        </a:cubicBezTo>
                        <a:close/>
                        <a:moveTo>
                          <a:pt x="65" y="41"/>
                        </a:moveTo>
                        <a:cubicBezTo>
                          <a:pt x="65" y="47"/>
                          <a:pt x="60" y="53"/>
                          <a:pt x="54" y="53"/>
                        </a:cubicBezTo>
                        <a:cubicBezTo>
                          <a:pt x="28" y="53"/>
                          <a:pt x="28" y="53"/>
                          <a:pt x="28" y="53"/>
                        </a:cubicBezTo>
                        <a:cubicBezTo>
                          <a:pt x="22" y="53"/>
                          <a:pt x="16" y="47"/>
                          <a:pt x="16" y="41"/>
                        </a:cubicBezTo>
                        <a:cubicBezTo>
                          <a:pt x="16" y="28"/>
                          <a:pt x="16" y="28"/>
                          <a:pt x="16" y="28"/>
                        </a:cubicBezTo>
                        <a:cubicBezTo>
                          <a:pt x="16" y="21"/>
                          <a:pt x="22" y="16"/>
                          <a:pt x="28" y="16"/>
                        </a:cubicBezTo>
                        <a:cubicBezTo>
                          <a:pt x="54" y="16"/>
                          <a:pt x="54" y="16"/>
                          <a:pt x="54" y="16"/>
                        </a:cubicBezTo>
                        <a:cubicBezTo>
                          <a:pt x="60" y="16"/>
                          <a:pt x="65" y="21"/>
                          <a:pt x="65" y="28"/>
                        </a:cubicBezTo>
                        <a:lnTo>
                          <a:pt x="65" y="41"/>
                        </a:lnTo>
                        <a:close/>
                        <a:moveTo>
                          <a:pt x="133" y="41"/>
                        </a:moveTo>
                        <a:cubicBezTo>
                          <a:pt x="133" y="47"/>
                          <a:pt x="128" y="53"/>
                          <a:pt x="121" y="53"/>
                        </a:cubicBezTo>
                        <a:cubicBezTo>
                          <a:pt x="95" y="53"/>
                          <a:pt x="95" y="53"/>
                          <a:pt x="95" y="53"/>
                        </a:cubicBezTo>
                        <a:cubicBezTo>
                          <a:pt x="89" y="53"/>
                          <a:pt x="84" y="47"/>
                          <a:pt x="84" y="41"/>
                        </a:cubicBezTo>
                        <a:cubicBezTo>
                          <a:pt x="84" y="28"/>
                          <a:pt x="84" y="28"/>
                          <a:pt x="84" y="28"/>
                        </a:cubicBezTo>
                        <a:cubicBezTo>
                          <a:pt x="84" y="21"/>
                          <a:pt x="89" y="16"/>
                          <a:pt x="95" y="16"/>
                        </a:cubicBezTo>
                        <a:cubicBezTo>
                          <a:pt x="121" y="16"/>
                          <a:pt x="121" y="16"/>
                          <a:pt x="121" y="16"/>
                        </a:cubicBezTo>
                        <a:cubicBezTo>
                          <a:pt x="128" y="16"/>
                          <a:pt x="133" y="21"/>
                          <a:pt x="133" y="28"/>
                        </a:cubicBezTo>
                        <a:lnTo>
                          <a:pt x="133" y="41"/>
                        </a:lnTo>
                        <a:close/>
                        <a:moveTo>
                          <a:pt x="200" y="41"/>
                        </a:moveTo>
                        <a:cubicBezTo>
                          <a:pt x="200" y="47"/>
                          <a:pt x="195" y="53"/>
                          <a:pt x="188" y="53"/>
                        </a:cubicBezTo>
                        <a:cubicBezTo>
                          <a:pt x="162" y="53"/>
                          <a:pt x="162" y="53"/>
                          <a:pt x="162" y="53"/>
                        </a:cubicBezTo>
                        <a:cubicBezTo>
                          <a:pt x="156" y="53"/>
                          <a:pt x="151" y="47"/>
                          <a:pt x="151" y="41"/>
                        </a:cubicBezTo>
                        <a:cubicBezTo>
                          <a:pt x="151" y="28"/>
                          <a:pt x="151" y="28"/>
                          <a:pt x="151" y="28"/>
                        </a:cubicBezTo>
                        <a:cubicBezTo>
                          <a:pt x="151" y="21"/>
                          <a:pt x="156" y="16"/>
                          <a:pt x="162" y="16"/>
                        </a:cubicBezTo>
                        <a:cubicBezTo>
                          <a:pt x="188" y="16"/>
                          <a:pt x="188" y="16"/>
                          <a:pt x="188" y="16"/>
                        </a:cubicBezTo>
                        <a:cubicBezTo>
                          <a:pt x="195" y="16"/>
                          <a:pt x="200" y="21"/>
                          <a:pt x="200" y="28"/>
                        </a:cubicBezTo>
                        <a:lnTo>
                          <a:pt x="200" y="41"/>
                        </a:lnTo>
                        <a:close/>
                        <a:moveTo>
                          <a:pt x="267" y="41"/>
                        </a:moveTo>
                        <a:cubicBezTo>
                          <a:pt x="267" y="47"/>
                          <a:pt x="262" y="53"/>
                          <a:pt x="256" y="53"/>
                        </a:cubicBezTo>
                        <a:cubicBezTo>
                          <a:pt x="230" y="53"/>
                          <a:pt x="230" y="53"/>
                          <a:pt x="230" y="53"/>
                        </a:cubicBezTo>
                        <a:cubicBezTo>
                          <a:pt x="223" y="53"/>
                          <a:pt x="218" y="47"/>
                          <a:pt x="218" y="41"/>
                        </a:cubicBezTo>
                        <a:cubicBezTo>
                          <a:pt x="218" y="28"/>
                          <a:pt x="218" y="28"/>
                          <a:pt x="218" y="28"/>
                        </a:cubicBezTo>
                        <a:cubicBezTo>
                          <a:pt x="218" y="21"/>
                          <a:pt x="223" y="16"/>
                          <a:pt x="230" y="16"/>
                        </a:cubicBezTo>
                        <a:cubicBezTo>
                          <a:pt x="256" y="16"/>
                          <a:pt x="256" y="16"/>
                          <a:pt x="256" y="16"/>
                        </a:cubicBezTo>
                        <a:cubicBezTo>
                          <a:pt x="262" y="16"/>
                          <a:pt x="267" y="21"/>
                          <a:pt x="267" y="28"/>
                        </a:cubicBezTo>
                        <a:lnTo>
                          <a:pt x="267" y="41"/>
                        </a:lnTo>
                        <a:close/>
                        <a:moveTo>
                          <a:pt x="334" y="41"/>
                        </a:moveTo>
                        <a:cubicBezTo>
                          <a:pt x="334" y="47"/>
                          <a:pt x="329" y="53"/>
                          <a:pt x="323" y="53"/>
                        </a:cubicBezTo>
                        <a:cubicBezTo>
                          <a:pt x="297" y="53"/>
                          <a:pt x="297" y="53"/>
                          <a:pt x="297" y="53"/>
                        </a:cubicBezTo>
                        <a:cubicBezTo>
                          <a:pt x="291" y="53"/>
                          <a:pt x="285" y="47"/>
                          <a:pt x="285" y="41"/>
                        </a:cubicBezTo>
                        <a:cubicBezTo>
                          <a:pt x="285" y="28"/>
                          <a:pt x="285" y="28"/>
                          <a:pt x="285" y="28"/>
                        </a:cubicBezTo>
                        <a:cubicBezTo>
                          <a:pt x="285" y="21"/>
                          <a:pt x="291" y="16"/>
                          <a:pt x="297" y="16"/>
                        </a:cubicBezTo>
                        <a:cubicBezTo>
                          <a:pt x="323" y="16"/>
                          <a:pt x="323" y="16"/>
                          <a:pt x="323" y="16"/>
                        </a:cubicBezTo>
                        <a:cubicBezTo>
                          <a:pt x="329" y="16"/>
                          <a:pt x="334" y="21"/>
                          <a:pt x="334" y="28"/>
                        </a:cubicBezTo>
                        <a:lnTo>
                          <a:pt x="334" y="41"/>
                        </a:lnTo>
                        <a:close/>
                        <a:moveTo>
                          <a:pt x="402" y="41"/>
                        </a:moveTo>
                        <a:cubicBezTo>
                          <a:pt x="402" y="47"/>
                          <a:pt x="397" y="53"/>
                          <a:pt x="390" y="53"/>
                        </a:cubicBezTo>
                        <a:cubicBezTo>
                          <a:pt x="364" y="53"/>
                          <a:pt x="364" y="53"/>
                          <a:pt x="364" y="53"/>
                        </a:cubicBezTo>
                        <a:cubicBezTo>
                          <a:pt x="358" y="53"/>
                          <a:pt x="353" y="47"/>
                          <a:pt x="353" y="41"/>
                        </a:cubicBezTo>
                        <a:cubicBezTo>
                          <a:pt x="353" y="28"/>
                          <a:pt x="353" y="28"/>
                          <a:pt x="353" y="28"/>
                        </a:cubicBezTo>
                        <a:cubicBezTo>
                          <a:pt x="353" y="21"/>
                          <a:pt x="358" y="16"/>
                          <a:pt x="364" y="16"/>
                        </a:cubicBezTo>
                        <a:cubicBezTo>
                          <a:pt x="390" y="16"/>
                          <a:pt x="390" y="16"/>
                          <a:pt x="390" y="16"/>
                        </a:cubicBezTo>
                        <a:cubicBezTo>
                          <a:pt x="397" y="16"/>
                          <a:pt x="402" y="21"/>
                          <a:pt x="402" y="28"/>
                        </a:cubicBezTo>
                        <a:lnTo>
                          <a:pt x="402" y="41"/>
                        </a:lnTo>
                        <a:close/>
                        <a:moveTo>
                          <a:pt x="353" y="292"/>
                        </a:moveTo>
                        <a:cubicBezTo>
                          <a:pt x="353" y="285"/>
                          <a:pt x="358" y="280"/>
                          <a:pt x="365" y="280"/>
                        </a:cubicBezTo>
                        <a:cubicBezTo>
                          <a:pt x="390" y="280"/>
                          <a:pt x="390" y="280"/>
                          <a:pt x="390" y="280"/>
                        </a:cubicBezTo>
                        <a:cubicBezTo>
                          <a:pt x="397" y="280"/>
                          <a:pt x="402" y="285"/>
                          <a:pt x="402" y="292"/>
                        </a:cubicBezTo>
                        <a:cubicBezTo>
                          <a:pt x="402" y="305"/>
                          <a:pt x="402" y="305"/>
                          <a:pt x="402" y="305"/>
                        </a:cubicBezTo>
                        <a:cubicBezTo>
                          <a:pt x="402" y="311"/>
                          <a:pt x="397" y="316"/>
                          <a:pt x="390" y="316"/>
                        </a:cubicBezTo>
                        <a:cubicBezTo>
                          <a:pt x="365" y="316"/>
                          <a:pt x="365" y="316"/>
                          <a:pt x="365" y="316"/>
                        </a:cubicBezTo>
                        <a:cubicBezTo>
                          <a:pt x="358" y="316"/>
                          <a:pt x="353" y="311"/>
                          <a:pt x="353" y="305"/>
                        </a:cubicBezTo>
                        <a:lnTo>
                          <a:pt x="353" y="292"/>
                        </a:lnTo>
                        <a:close/>
                        <a:moveTo>
                          <a:pt x="286" y="292"/>
                        </a:moveTo>
                        <a:cubicBezTo>
                          <a:pt x="286" y="285"/>
                          <a:pt x="291" y="280"/>
                          <a:pt x="297" y="280"/>
                        </a:cubicBezTo>
                        <a:cubicBezTo>
                          <a:pt x="323" y="280"/>
                          <a:pt x="323" y="280"/>
                          <a:pt x="323" y="280"/>
                        </a:cubicBezTo>
                        <a:cubicBezTo>
                          <a:pt x="330" y="280"/>
                          <a:pt x="335" y="285"/>
                          <a:pt x="335" y="292"/>
                        </a:cubicBezTo>
                        <a:cubicBezTo>
                          <a:pt x="335" y="305"/>
                          <a:pt x="335" y="305"/>
                          <a:pt x="335" y="305"/>
                        </a:cubicBezTo>
                        <a:cubicBezTo>
                          <a:pt x="335" y="311"/>
                          <a:pt x="330" y="316"/>
                          <a:pt x="323" y="316"/>
                        </a:cubicBezTo>
                        <a:cubicBezTo>
                          <a:pt x="297" y="316"/>
                          <a:pt x="297" y="316"/>
                          <a:pt x="297" y="316"/>
                        </a:cubicBezTo>
                        <a:cubicBezTo>
                          <a:pt x="291" y="316"/>
                          <a:pt x="286" y="311"/>
                          <a:pt x="286" y="305"/>
                        </a:cubicBezTo>
                        <a:lnTo>
                          <a:pt x="286" y="292"/>
                        </a:lnTo>
                        <a:close/>
                        <a:moveTo>
                          <a:pt x="218" y="292"/>
                        </a:moveTo>
                        <a:cubicBezTo>
                          <a:pt x="218" y="285"/>
                          <a:pt x="224" y="280"/>
                          <a:pt x="230" y="280"/>
                        </a:cubicBezTo>
                        <a:cubicBezTo>
                          <a:pt x="256" y="280"/>
                          <a:pt x="256" y="280"/>
                          <a:pt x="256" y="280"/>
                        </a:cubicBezTo>
                        <a:cubicBezTo>
                          <a:pt x="262" y="280"/>
                          <a:pt x="268" y="285"/>
                          <a:pt x="268" y="292"/>
                        </a:cubicBezTo>
                        <a:cubicBezTo>
                          <a:pt x="268" y="305"/>
                          <a:pt x="268" y="305"/>
                          <a:pt x="268" y="305"/>
                        </a:cubicBezTo>
                        <a:cubicBezTo>
                          <a:pt x="268" y="311"/>
                          <a:pt x="262" y="316"/>
                          <a:pt x="256" y="316"/>
                        </a:cubicBezTo>
                        <a:cubicBezTo>
                          <a:pt x="230" y="316"/>
                          <a:pt x="230" y="316"/>
                          <a:pt x="230" y="316"/>
                        </a:cubicBezTo>
                        <a:cubicBezTo>
                          <a:pt x="224" y="316"/>
                          <a:pt x="218" y="311"/>
                          <a:pt x="218" y="305"/>
                        </a:cubicBezTo>
                        <a:lnTo>
                          <a:pt x="218" y="292"/>
                        </a:lnTo>
                        <a:close/>
                        <a:moveTo>
                          <a:pt x="151" y="292"/>
                        </a:moveTo>
                        <a:cubicBezTo>
                          <a:pt x="151" y="285"/>
                          <a:pt x="156" y="280"/>
                          <a:pt x="163" y="280"/>
                        </a:cubicBezTo>
                        <a:cubicBezTo>
                          <a:pt x="189" y="280"/>
                          <a:pt x="189" y="280"/>
                          <a:pt x="189" y="280"/>
                        </a:cubicBezTo>
                        <a:cubicBezTo>
                          <a:pt x="195" y="280"/>
                          <a:pt x="200" y="285"/>
                          <a:pt x="200" y="292"/>
                        </a:cubicBezTo>
                        <a:cubicBezTo>
                          <a:pt x="200" y="305"/>
                          <a:pt x="200" y="305"/>
                          <a:pt x="200" y="305"/>
                        </a:cubicBezTo>
                        <a:cubicBezTo>
                          <a:pt x="200" y="311"/>
                          <a:pt x="195" y="316"/>
                          <a:pt x="189" y="316"/>
                        </a:cubicBezTo>
                        <a:cubicBezTo>
                          <a:pt x="163" y="316"/>
                          <a:pt x="163" y="316"/>
                          <a:pt x="163" y="316"/>
                        </a:cubicBezTo>
                        <a:cubicBezTo>
                          <a:pt x="156" y="316"/>
                          <a:pt x="151" y="311"/>
                          <a:pt x="151" y="305"/>
                        </a:cubicBezTo>
                        <a:lnTo>
                          <a:pt x="151" y="292"/>
                        </a:lnTo>
                        <a:close/>
                        <a:moveTo>
                          <a:pt x="84" y="292"/>
                        </a:moveTo>
                        <a:cubicBezTo>
                          <a:pt x="84" y="285"/>
                          <a:pt x="89" y="280"/>
                          <a:pt x="95" y="280"/>
                        </a:cubicBezTo>
                        <a:cubicBezTo>
                          <a:pt x="121" y="280"/>
                          <a:pt x="121" y="280"/>
                          <a:pt x="121" y="280"/>
                        </a:cubicBezTo>
                        <a:cubicBezTo>
                          <a:pt x="128" y="280"/>
                          <a:pt x="133" y="285"/>
                          <a:pt x="133" y="292"/>
                        </a:cubicBezTo>
                        <a:cubicBezTo>
                          <a:pt x="133" y="305"/>
                          <a:pt x="133" y="305"/>
                          <a:pt x="133" y="305"/>
                        </a:cubicBezTo>
                        <a:cubicBezTo>
                          <a:pt x="133" y="311"/>
                          <a:pt x="128" y="316"/>
                          <a:pt x="121" y="316"/>
                        </a:cubicBezTo>
                        <a:cubicBezTo>
                          <a:pt x="95" y="316"/>
                          <a:pt x="95" y="316"/>
                          <a:pt x="95" y="316"/>
                        </a:cubicBezTo>
                        <a:cubicBezTo>
                          <a:pt x="89" y="316"/>
                          <a:pt x="84" y="311"/>
                          <a:pt x="84" y="305"/>
                        </a:cubicBezTo>
                        <a:lnTo>
                          <a:pt x="84" y="292"/>
                        </a:lnTo>
                        <a:close/>
                        <a:moveTo>
                          <a:pt x="17" y="292"/>
                        </a:moveTo>
                        <a:cubicBezTo>
                          <a:pt x="17" y="285"/>
                          <a:pt x="22" y="280"/>
                          <a:pt x="28" y="280"/>
                        </a:cubicBezTo>
                        <a:cubicBezTo>
                          <a:pt x="54" y="280"/>
                          <a:pt x="54" y="280"/>
                          <a:pt x="54" y="280"/>
                        </a:cubicBezTo>
                        <a:cubicBezTo>
                          <a:pt x="61" y="280"/>
                          <a:pt x="66" y="285"/>
                          <a:pt x="66" y="292"/>
                        </a:cubicBezTo>
                        <a:cubicBezTo>
                          <a:pt x="66" y="305"/>
                          <a:pt x="66" y="305"/>
                          <a:pt x="66" y="305"/>
                        </a:cubicBezTo>
                        <a:cubicBezTo>
                          <a:pt x="66" y="311"/>
                          <a:pt x="61" y="316"/>
                          <a:pt x="54" y="316"/>
                        </a:cubicBezTo>
                        <a:cubicBezTo>
                          <a:pt x="28" y="316"/>
                          <a:pt x="28" y="316"/>
                          <a:pt x="28" y="316"/>
                        </a:cubicBezTo>
                        <a:cubicBezTo>
                          <a:pt x="22" y="316"/>
                          <a:pt x="17" y="311"/>
                          <a:pt x="17" y="305"/>
                        </a:cubicBezTo>
                        <a:lnTo>
                          <a:pt x="17" y="292"/>
                        </a:lnTo>
                        <a:close/>
                      </a:path>
                    </a:pathLst>
                  </a:custGeom>
                  <a:solidFill>
                    <a:srgbClr val="58585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44" name="Rounded Rectangle 43"/>
                  <p:cNvSpPr/>
                  <p:nvPr/>
                </p:nvSpPr>
                <p:spPr bwMode="auto">
                  <a:xfrm>
                    <a:off x="4224" y="1716"/>
                    <a:ext cx="720" cy="300"/>
                  </a:xfrm>
                  <a:prstGeom prst="roundRect">
                    <a:avLst>
                      <a:gd name="adj" fmla="val 9160"/>
                    </a:avLst>
                  </a:prstGeom>
                  <a:solidFill>
                    <a:srgbClr val="FFFFFF"/>
                  </a:solidFill>
                  <a:ln w="25400" cap="flat" cmpd="sng" algn="ctr">
                    <a:solidFill>
                      <a:srgbClr val="00285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wrap="none" lIns="72000" rIns="72000" bIns="0" anchor="b"/>
                  <a:lstStyle/>
                  <a:p>
                    <a:pPr algn="ctr">
                      <a:spcBef>
                        <a:spcPct val="50000"/>
                      </a:spcBef>
                      <a:defRPr/>
                    </a:pPr>
                    <a:r>
                      <a:rPr lang="en-US" sz="900" b="1" i="1" dirty="0">
                        <a:solidFill>
                          <a:srgbClr val="58585A"/>
                        </a:solidFill>
                      </a:rPr>
                      <a:t>Enterprise &amp; Health</a:t>
                    </a:r>
                  </a:p>
                </p:txBody>
              </p:sp>
              <p:sp>
                <p:nvSpPr>
                  <p:cNvPr id="122971" name="Freeform 3"/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4274" y="1767"/>
                    <a:ext cx="142" cy="138"/>
                  </a:xfrm>
                  <a:custGeom>
                    <a:avLst/>
                    <a:gdLst>
                      <a:gd name="T0" fmla="*/ 2147483647 w 301"/>
                      <a:gd name="T1" fmla="*/ 2147483647 h 412"/>
                      <a:gd name="T2" fmla="*/ 2147483647 w 301"/>
                      <a:gd name="T3" fmla="*/ 2147483647 h 412"/>
                      <a:gd name="T4" fmla="*/ 2147483647 w 301"/>
                      <a:gd name="T5" fmla="*/ 2147483647 h 412"/>
                      <a:gd name="T6" fmla="*/ 2147483647 w 301"/>
                      <a:gd name="T7" fmla="*/ 2147483647 h 412"/>
                      <a:gd name="T8" fmla="*/ 2147483647 w 301"/>
                      <a:gd name="T9" fmla="*/ 2147483647 h 412"/>
                      <a:gd name="T10" fmla="*/ 2147483647 w 301"/>
                      <a:gd name="T11" fmla="*/ 2147483647 h 412"/>
                      <a:gd name="T12" fmla="*/ 2147483647 w 301"/>
                      <a:gd name="T13" fmla="*/ 2147483647 h 412"/>
                      <a:gd name="T14" fmla="*/ 2147483647 w 301"/>
                      <a:gd name="T15" fmla="*/ 2147483647 h 412"/>
                      <a:gd name="T16" fmla="*/ 2147483647 w 301"/>
                      <a:gd name="T17" fmla="*/ 2147483647 h 412"/>
                      <a:gd name="T18" fmla="*/ 2147483647 w 301"/>
                      <a:gd name="T19" fmla="*/ 2147483647 h 412"/>
                      <a:gd name="T20" fmla="*/ 2147483647 w 301"/>
                      <a:gd name="T21" fmla="*/ 2147483647 h 412"/>
                      <a:gd name="T22" fmla="*/ 2147483647 w 301"/>
                      <a:gd name="T23" fmla="*/ 2147483647 h 412"/>
                      <a:gd name="T24" fmla="*/ 2147483647 w 301"/>
                      <a:gd name="T25" fmla="*/ 2147483647 h 412"/>
                      <a:gd name="T26" fmla="*/ 2147483647 w 301"/>
                      <a:gd name="T27" fmla="*/ 2147483647 h 412"/>
                      <a:gd name="T28" fmla="*/ 2147483647 w 301"/>
                      <a:gd name="T29" fmla="*/ 2147483647 h 412"/>
                      <a:gd name="T30" fmla="*/ 2147483647 w 301"/>
                      <a:gd name="T31" fmla="*/ 2147483647 h 412"/>
                      <a:gd name="T32" fmla="*/ 2147483647 w 301"/>
                      <a:gd name="T33" fmla="*/ 2147483647 h 412"/>
                      <a:gd name="T34" fmla="*/ 2147483647 w 301"/>
                      <a:gd name="T35" fmla="*/ 2147483647 h 412"/>
                      <a:gd name="T36" fmla="*/ 2147483647 w 301"/>
                      <a:gd name="T37" fmla="*/ 2147483647 h 412"/>
                      <a:gd name="T38" fmla="*/ 2147483647 w 301"/>
                      <a:gd name="T39" fmla="*/ 2147483647 h 412"/>
                      <a:gd name="T40" fmla="*/ 2147483647 w 301"/>
                      <a:gd name="T41" fmla="*/ 2147483647 h 412"/>
                      <a:gd name="T42" fmla="*/ 2147483647 w 301"/>
                      <a:gd name="T43" fmla="*/ 2147483647 h 412"/>
                      <a:gd name="T44" fmla="*/ 2147483647 w 301"/>
                      <a:gd name="T45" fmla="*/ 2147483647 h 412"/>
                      <a:gd name="T46" fmla="*/ 2147483647 w 301"/>
                      <a:gd name="T47" fmla="*/ 2147483647 h 412"/>
                      <a:gd name="T48" fmla="*/ 2147483647 w 301"/>
                      <a:gd name="T49" fmla="*/ 2147483647 h 412"/>
                      <a:gd name="T50" fmla="*/ 2147483647 w 301"/>
                      <a:gd name="T51" fmla="*/ 2147483647 h 412"/>
                      <a:gd name="T52" fmla="*/ 2147483647 w 301"/>
                      <a:gd name="T53" fmla="*/ 2147483647 h 412"/>
                      <a:gd name="T54" fmla="*/ 2147483647 w 301"/>
                      <a:gd name="T55" fmla="*/ 2147483647 h 412"/>
                      <a:gd name="T56" fmla="*/ 2147483647 w 301"/>
                      <a:gd name="T57" fmla="*/ 2147483647 h 412"/>
                      <a:gd name="T58" fmla="*/ 2147483647 w 301"/>
                      <a:gd name="T59" fmla="*/ 2147483647 h 412"/>
                      <a:gd name="T60" fmla="*/ 2147483647 w 301"/>
                      <a:gd name="T61" fmla="*/ 2147483647 h 412"/>
                      <a:gd name="T62" fmla="*/ 2147483647 w 301"/>
                      <a:gd name="T63" fmla="*/ 2147483647 h 412"/>
                      <a:gd name="T64" fmla="*/ 2147483647 w 301"/>
                      <a:gd name="T65" fmla="*/ 2147483647 h 412"/>
                      <a:gd name="T66" fmla="*/ 2147483647 w 301"/>
                      <a:gd name="T67" fmla="*/ 2147483647 h 412"/>
                      <a:gd name="T68" fmla="*/ 2147483647 w 301"/>
                      <a:gd name="T69" fmla="*/ 2147483647 h 412"/>
                      <a:gd name="T70" fmla="*/ 2147483647 w 301"/>
                      <a:gd name="T71" fmla="*/ 2147483647 h 412"/>
                      <a:gd name="T72" fmla="*/ 2147483647 w 301"/>
                      <a:gd name="T73" fmla="*/ 2147483647 h 412"/>
                      <a:gd name="T74" fmla="*/ 2147483647 w 301"/>
                      <a:gd name="T75" fmla="*/ 2147483647 h 412"/>
                      <a:gd name="T76" fmla="*/ 2147483647 w 301"/>
                      <a:gd name="T77" fmla="*/ 2147483647 h 412"/>
                      <a:gd name="T78" fmla="*/ 2147483647 w 301"/>
                      <a:gd name="T79" fmla="*/ 2147483647 h 412"/>
                      <a:gd name="T80" fmla="*/ 2147483647 w 301"/>
                      <a:gd name="T81" fmla="*/ 2147483647 h 412"/>
                      <a:gd name="T82" fmla="*/ 2147483647 w 301"/>
                      <a:gd name="T83" fmla="*/ 2147483647 h 412"/>
                      <a:gd name="T84" fmla="*/ 2147483647 w 301"/>
                      <a:gd name="T85" fmla="*/ 2147483647 h 412"/>
                      <a:gd name="T86" fmla="*/ 2147483647 w 301"/>
                      <a:gd name="T87" fmla="*/ 2147483647 h 412"/>
                      <a:gd name="T88" fmla="*/ 2147483647 w 301"/>
                      <a:gd name="T89" fmla="*/ 2147483647 h 412"/>
                      <a:gd name="T90" fmla="*/ 2147483647 w 301"/>
                      <a:gd name="T91" fmla="*/ 2147483647 h 412"/>
                      <a:gd name="T92" fmla="*/ 2147483647 w 301"/>
                      <a:gd name="T93" fmla="*/ 2147483647 h 412"/>
                      <a:gd name="T94" fmla="*/ 2147483647 w 301"/>
                      <a:gd name="T95" fmla="*/ 2147483647 h 412"/>
                      <a:gd name="T96" fmla="*/ 2147483647 w 301"/>
                      <a:gd name="T97" fmla="*/ 2147483647 h 412"/>
                      <a:gd name="T98" fmla="*/ 2147483647 w 301"/>
                      <a:gd name="T99" fmla="*/ 2147483647 h 412"/>
                      <a:gd name="T100" fmla="*/ 2147483647 w 301"/>
                      <a:gd name="T101" fmla="*/ 2147483647 h 412"/>
                      <a:gd name="T102" fmla="*/ 2147483647 w 301"/>
                      <a:gd name="T103" fmla="*/ 0 h 412"/>
                      <a:gd name="T104" fmla="*/ 2147483647 w 301"/>
                      <a:gd name="T105" fmla="*/ 2147483647 h 412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w 301"/>
                      <a:gd name="T160" fmla="*/ 0 h 412"/>
                      <a:gd name="T161" fmla="*/ 301 w 301"/>
                      <a:gd name="T162" fmla="*/ 412 h 412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T159" t="T160" r="T161" b="T162"/>
                    <a:pathLst>
                      <a:path w="301" h="412">
                        <a:moveTo>
                          <a:pt x="68" y="37"/>
                        </a:moveTo>
                        <a:cubicBezTo>
                          <a:pt x="68" y="33"/>
                          <a:pt x="65" y="29"/>
                          <a:pt x="60" y="29"/>
                        </a:cubicBezTo>
                        <a:cubicBezTo>
                          <a:pt x="39" y="29"/>
                          <a:pt x="39" y="29"/>
                          <a:pt x="39" y="29"/>
                        </a:cubicBezTo>
                        <a:cubicBezTo>
                          <a:pt x="35" y="29"/>
                          <a:pt x="31" y="33"/>
                          <a:pt x="31" y="37"/>
                        </a:cubicBezTo>
                        <a:cubicBezTo>
                          <a:pt x="31" y="58"/>
                          <a:pt x="31" y="58"/>
                          <a:pt x="31" y="58"/>
                        </a:cubicBezTo>
                        <a:cubicBezTo>
                          <a:pt x="31" y="63"/>
                          <a:pt x="35" y="66"/>
                          <a:pt x="39" y="66"/>
                        </a:cubicBezTo>
                        <a:cubicBezTo>
                          <a:pt x="60" y="66"/>
                          <a:pt x="60" y="66"/>
                          <a:pt x="60" y="66"/>
                        </a:cubicBezTo>
                        <a:cubicBezTo>
                          <a:pt x="65" y="66"/>
                          <a:pt x="68" y="63"/>
                          <a:pt x="68" y="58"/>
                        </a:cubicBezTo>
                        <a:lnTo>
                          <a:pt x="68" y="37"/>
                        </a:lnTo>
                        <a:close/>
                        <a:moveTo>
                          <a:pt x="68" y="86"/>
                        </a:moveTo>
                        <a:cubicBezTo>
                          <a:pt x="68" y="81"/>
                          <a:pt x="65" y="78"/>
                          <a:pt x="60" y="78"/>
                        </a:cubicBezTo>
                        <a:cubicBezTo>
                          <a:pt x="39" y="78"/>
                          <a:pt x="39" y="78"/>
                          <a:pt x="39" y="78"/>
                        </a:cubicBezTo>
                        <a:cubicBezTo>
                          <a:pt x="35" y="78"/>
                          <a:pt x="31" y="81"/>
                          <a:pt x="31" y="86"/>
                        </a:cubicBezTo>
                        <a:cubicBezTo>
                          <a:pt x="31" y="107"/>
                          <a:pt x="31" y="107"/>
                          <a:pt x="31" y="107"/>
                        </a:cubicBezTo>
                        <a:cubicBezTo>
                          <a:pt x="31" y="112"/>
                          <a:pt x="35" y="115"/>
                          <a:pt x="39" y="115"/>
                        </a:cubicBezTo>
                        <a:cubicBezTo>
                          <a:pt x="60" y="115"/>
                          <a:pt x="60" y="115"/>
                          <a:pt x="60" y="115"/>
                        </a:cubicBezTo>
                        <a:cubicBezTo>
                          <a:pt x="65" y="115"/>
                          <a:pt x="68" y="112"/>
                          <a:pt x="68" y="107"/>
                        </a:cubicBezTo>
                        <a:lnTo>
                          <a:pt x="68" y="86"/>
                        </a:lnTo>
                        <a:close/>
                        <a:moveTo>
                          <a:pt x="68" y="135"/>
                        </a:moveTo>
                        <a:cubicBezTo>
                          <a:pt x="68" y="130"/>
                          <a:pt x="65" y="127"/>
                          <a:pt x="60" y="127"/>
                        </a:cubicBezTo>
                        <a:cubicBezTo>
                          <a:pt x="39" y="127"/>
                          <a:pt x="39" y="127"/>
                          <a:pt x="39" y="127"/>
                        </a:cubicBezTo>
                        <a:cubicBezTo>
                          <a:pt x="35" y="127"/>
                          <a:pt x="31" y="130"/>
                          <a:pt x="31" y="135"/>
                        </a:cubicBezTo>
                        <a:cubicBezTo>
                          <a:pt x="31" y="156"/>
                          <a:pt x="31" y="156"/>
                          <a:pt x="31" y="156"/>
                        </a:cubicBezTo>
                        <a:cubicBezTo>
                          <a:pt x="31" y="160"/>
                          <a:pt x="35" y="164"/>
                          <a:pt x="39" y="164"/>
                        </a:cubicBezTo>
                        <a:cubicBezTo>
                          <a:pt x="60" y="164"/>
                          <a:pt x="60" y="164"/>
                          <a:pt x="60" y="164"/>
                        </a:cubicBezTo>
                        <a:cubicBezTo>
                          <a:pt x="65" y="164"/>
                          <a:pt x="68" y="160"/>
                          <a:pt x="68" y="156"/>
                        </a:cubicBezTo>
                        <a:lnTo>
                          <a:pt x="68" y="135"/>
                        </a:lnTo>
                        <a:close/>
                        <a:moveTo>
                          <a:pt x="68" y="183"/>
                        </a:moveTo>
                        <a:cubicBezTo>
                          <a:pt x="68" y="179"/>
                          <a:pt x="65" y="175"/>
                          <a:pt x="60" y="175"/>
                        </a:cubicBezTo>
                        <a:cubicBezTo>
                          <a:pt x="39" y="175"/>
                          <a:pt x="39" y="175"/>
                          <a:pt x="39" y="175"/>
                        </a:cubicBezTo>
                        <a:cubicBezTo>
                          <a:pt x="35" y="175"/>
                          <a:pt x="31" y="179"/>
                          <a:pt x="31" y="183"/>
                        </a:cubicBezTo>
                        <a:cubicBezTo>
                          <a:pt x="31" y="205"/>
                          <a:pt x="31" y="205"/>
                          <a:pt x="31" y="205"/>
                        </a:cubicBezTo>
                        <a:cubicBezTo>
                          <a:pt x="31" y="209"/>
                          <a:pt x="35" y="213"/>
                          <a:pt x="39" y="213"/>
                        </a:cubicBezTo>
                        <a:cubicBezTo>
                          <a:pt x="60" y="213"/>
                          <a:pt x="60" y="213"/>
                          <a:pt x="60" y="213"/>
                        </a:cubicBezTo>
                        <a:cubicBezTo>
                          <a:pt x="65" y="213"/>
                          <a:pt x="68" y="209"/>
                          <a:pt x="68" y="205"/>
                        </a:cubicBezTo>
                        <a:lnTo>
                          <a:pt x="68" y="183"/>
                        </a:lnTo>
                        <a:close/>
                        <a:moveTo>
                          <a:pt x="68" y="232"/>
                        </a:moveTo>
                        <a:cubicBezTo>
                          <a:pt x="68" y="228"/>
                          <a:pt x="65" y="224"/>
                          <a:pt x="60" y="224"/>
                        </a:cubicBezTo>
                        <a:cubicBezTo>
                          <a:pt x="39" y="224"/>
                          <a:pt x="39" y="224"/>
                          <a:pt x="39" y="224"/>
                        </a:cubicBezTo>
                        <a:cubicBezTo>
                          <a:pt x="35" y="224"/>
                          <a:pt x="31" y="228"/>
                          <a:pt x="31" y="232"/>
                        </a:cubicBezTo>
                        <a:cubicBezTo>
                          <a:pt x="31" y="253"/>
                          <a:pt x="31" y="253"/>
                          <a:pt x="31" y="253"/>
                        </a:cubicBezTo>
                        <a:cubicBezTo>
                          <a:pt x="31" y="258"/>
                          <a:pt x="35" y="261"/>
                          <a:pt x="39" y="261"/>
                        </a:cubicBezTo>
                        <a:cubicBezTo>
                          <a:pt x="60" y="261"/>
                          <a:pt x="60" y="261"/>
                          <a:pt x="60" y="261"/>
                        </a:cubicBezTo>
                        <a:cubicBezTo>
                          <a:pt x="65" y="261"/>
                          <a:pt x="68" y="258"/>
                          <a:pt x="68" y="253"/>
                        </a:cubicBezTo>
                        <a:lnTo>
                          <a:pt x="68" y="232"/>
                        </a:lnTo>
                        <a:close/>
                        <a:moveTo>
                          <a:pt x="60" y="273"/>
                        </a:moveTo>
                        <a:cubicBezTo>
                          <a:pt x="39" y="273"/>
                          <a:pt x="39" y="273"/>
                          <a:pt x="39" y="273"/>
                        </a:cubicBezTo>
                        <a:cubicBezTo>
                          <a:pt x="35" y="273"/>
                          <a:pt x="31" y="276"/>
                          <a:pt x="31" y="281"/>
                        </a:cubicBezTo>
                        <a:cubicBezTo>
                          <a:pt x="31" y="302"/>
                          <a:pt x="31" y="302"/>
                          <a:pt x="31" y="302"/>
                        </a:cubicBezTo>
                        <a:cubicBezTo>
                          <a:pt x="31" y="306"/>
                          <a:pt x="35" y="310"/>
                          <a:pt x="39" y="310"/>
                        </a:cubicBezTo>
                        <a:cubicBezTo>
                          <a:pt x="60" y="310"/>
                          <a:pt x="60" y="310"/>
                          <a:pt x="60" y="310"/>
                        </a:cubicBezTo>
                        <a:cubicBezTo>
                          <a:pt x="65" y="310"/>
                          <a:pt x="68" y="306"/>
                          <a:pt x="68" y="302"/>
                        </a:cubicBezTo>
                        <a:cubicBezTo>
                          <a:pt x="68" y="281"/>
                          <a:pt x="68" y="281"/>
                          <a:pt x="68" y="281"/>
                        </a:cubicBezTo>
                        <a:cubicBezTo>
                          <a:pt x="68" y="276"/>
                          <a:pt x="65" y="273"/>
                          <a:pt x="60" y="273"/>
                        </a:cubicBezTo>
                        <a:close/>
                        <a:moveTo>
                          <a:pt x="119" y="37"/>
                        </a:moveTo>
                        <a:cubicBezTo>
                          <a:pt x="119" y="33"/>
                          <a:pt x="115" y="29"/>
                          <a:pt x="111" y="29"/>
                        </a:cubicBezTo>
                        <a:cubicBezTo>
                          <a:pt x="90" y="29"/>
                          <a:pt x="90" y="29"/>
                          <a:pt x="90" y="29"/>
                        </a:cubicBezTo>
                        <a:cubicBezTo>
                          <a:pt x="85" y="29"/>
                          <a:pt x="82" y="33"/>
                          <a:pt x="82" y="37"/>
                        </a:cubicBezTo>
                        <a:cubicBezTo>
                          <a:pt x="82" y="58"/>
                          <a:pt x="82" y="58"/>
                          <a:pt x="82" y="58"/>
                        </a:cubicBezTo>
                        <a:cubicBezTo>
                          <a:pt x="82" y="63"/>
                          <a:pt x="85" y="66"/>
                          <a:pt x="90" y="66"/>
                        </a:cubicBezTo>
                        <a:cubicBezTo>
                          <a:pt x="111" y="66"/>
                          <a:pt x="111" y="66"/>
                          <a:pt x="111" y="66"/>
                        </a:cubicBezTo>
                        <a:cubicBezTo>
                          <a:pt x="115" y="66"/>
                          <a:pt x="119" y="63"/>
                          <a:pt x="119" y="58"/>
                        </a:cubicBezTo>
                        <a:lnTo>
                          <a:pt x="119" y="37"/>
                        </a:lnTo>
                        <a:close/>
                        <a:moveTo>
                          <a:pt x="119" y="86"/>
                        </a:moveTo>
                        <a:cubicBezTo>
                          <a:pt x="119" y="81"/>
                          <a:pt x="115" y="78"/>
                          <a:pt x="111" y="78"/>
                        </a:cubicBezTo>
                        <a:cubicBezTo>
                          <a:pt x="90" y="78"/>
                          <a:pt x="90" y="78"/>
                          <a:pt x="90" y="78"/>
                        </a:cubicBezTo>
                        <a:cubicBezTo>
                          <a:pt x="85" y="78"/>
                          <a:pt x="82" y="81"/>
                          <a:pt x="82" y="86"/>
                        </a:cubicBezTo>
                        <a:cubicBezTo>
                          <a:pt x="82" y="107"/>
                          <a:pt x="82" y="107"/>
                          <a:pt x="82" y="107"/>
                        </a:cubicBezTo>
                        <a:cubicBezTo>
                          <a:pt x="82" y="112"/>
                          <a:pt x="85" y="115"/>
                          <a:pt x="90" y="115"/>
                        </a:cubicBezTo>
                        <a:cubicBezTo>
                          <a:pt x="111" y="115"/>
                          <a:pt x="111" y="115"/>
                          <a:pt x="111" y="115"/>
                        </a:cubicBezTo>
                        <a:cubicBezTo>
                          <a:pt x="115" y="115"/>
                          <a:pt x="119" y="112"/>
                          <a:pt x="119" y="107"/>
                        </a:cubicBezTo>
                        <a:lnTo>
                          <a:pt x="119" y="86"/>
                        </a:lnTo>
                        <a:close/>
                        <a:moveTo>
                          <a:pt x="119" y="135"/>
                        </a:moveTo>
                        <a:cubicBezTo>
                          <a:pt x="119" y="130"/>
                          <a:pt x="115" y="127"/>
                          <a:pt x="111" y="127"/>
                        </a:cubicBezTo>
                        <a:cubicBezTo>
                          <a:pt x="90" y="127"/>
                          <a:pt x="90" y="127"/>
                          <a:pt x="90" y="127"/>
                        </a:cubicBezTo>
                        <a:cubicBezTo>
                          <a:pt x="85" y="127"/>
                          <a:pt x="82" y="130"/>
                          <a:pt x="82" y="135"/>
                        </a:cubicBezTo>
                        <a:cubicBezTo>
                          <a:pt x="82" y="156"/>
                          <a:pt x="82" y="156"/>
                          <a:pt x="82" y="156"/>
                        </a:cubicBezTo>
                        <a:cubicBezTo>
                          <a:pt x="82" y="160"/>
                          <a:pt x="85" y="164"/>
                          <a:pt x="90" y="164"/>
                        </a:cubicBezTo>
                        <a:cubicBezTo>
                          <a:pt x="111" y="164"/>
                          <a:pt x="111" y="164"/>
                          <a:pt x="111" y="164"/>
                        </a:cubicBezTo>
                        <a:cubicBezTo>
                          <a:pt x="115" y="164"/>
                          <a:pt x="119" y="160"/>
                          <a:pt x="119" y="156"/>
                        </a:cubicBezTo>
                        <a:lnTo>
                          <a:pt x="119" y="135"/>
                        </a:lnTo>
                        <a:close/>
                        <a:moveTo>
                          <a:pt x="119" y="183"/>
                        </a:moveTo>
                        <a:cubicBezTo>
                          <a:pt x="119" y="179"/>
                          <a:pt x="115" y="175"/>
                          <a:pt x="111" y="175"/>
                        </a:cubicBezTo>
                        <a:cubicBezTo>
                          <a:pt x="90" y="175"/>
                          <a:pt x="90" y="175"/>
                          <a:pt x="90" y="175"/>
                        </a:cubicBezTo>
                        <a:cubicBezTo>
                          <a:pt x="85" y="175"/>
                          <a:pt x="82" y="179"/>
                          <a:pt x="82" y="183"/>
                        </a:cubicBezTo>
                        <a:cubicBezTo>
                          <a:pt x="82" y="205"/>
                          <a:pt x="82" y="205"/>
                          <a:pt x="82" y="205"/>
                        </a:cubicBezTo>
                        <a:cubicBezTo>
                          <a:pt x="82" y="209"/>
                          <a:pt x="85" y="213"/>
                          <a:pt x="90" y="213"/>
                        </a:cubicBezTo>
                        <a:cubicBezTo>
                          <a:pt x="111" y="213"/>
                          <a:pt x="111" y="213"/>
                          <a:pt x="111" y="213"/>
                        </a:cubicBezTo>
                        <a:cubicBezTo>
                          <a:pt x="115" y="213"/>
                          <a:pt x="119" y="209"/>
                          <a:pt x="119" y="205"/>
                        </a:cubicBezTo>
                        <a:lnTo>
                          <a:pt x="119" y="183"/>
                        </a:lnTo>
                        <a:close/>
                        <a:moveTo>
                          <a:pt x="119" y="232"/>
                        </a:moveTo>
                        <a:cubicBezTo>
                          <a:pt x="119" y="228"/>
                          <a:pt x="115" y="224"/>
                          <a:pt x="111" y="224"/>
                        </a:cubicBezTo>
                        <a:cubicBezTo>
                          <a:pt x="90" y="224"/>
                          <a:pt x="90" y="224"/>
                          <a:pt x="90" y="224"/>
                        </a:cubicBezTo>
                        <a:cubicBezTo>
                          <a:pt x="85" y="224"/>
                          <a:pt x="82" y="228"/>
                          <a:pt x="82" y="232"/>
                        </a:cubicBezTo>
                        <a:cubicBezTo>
                          <a:pt x="82" y="253"/>
                          <a:pt x="82" y="253"/>
                          <a:pt x="82" y="253"/>
                        </a:cubicBezTo>
                        <a:cubicBezTo>
                          <a:pt x="82" y="258"/>
                          <a:pt x="85" y="261"/>
                          <a:pt x="90" y="261"/>
                        </a:cubicBezTo>
                        <a:cubicBezTo>
                          <a:pt x="111" y="261"/>
                          <a:pt x="111" y="261"/>
                          <a:pt x="111" y="261"/>
                        </a:cubicBezTo>
                        <a:cubicBezTo>
                          <a:pt x="115" y="261"/>
                          <a:pt x="119" y="258"/>
                          <a:pt x="119" y="253"/>
                        </a:cubicBezTo>
                        <a:lnTo>
                          <a:pt x="119" y="232"/>
                        </a:lnTo>
                        <a:close/>
                        <a:moveTo>
                          <a:pt x="111" y="273"/>
                        </a:moveTo>
                        <a:cubicBezTo>
                          <a:pt x="90" y="273"/>
                          <a:pt x="90" y="273"/>
                          <a:pt x="90" y="273"/>
                        </a:cubicBezTo>
                        <a:cubicBezTo>
                          <a:pt x="85" y="273"/>
                          <a:pt x="82" y="276"/>
                          <a:pt x="82" y="281"/>
                        </a:cubicBezTo>
                        <a:cubicBezTo>
                          <a:pt x="82" y="302"/>
                          <a:pt x="82" y="302"/>
                          <a:pt x="82" y="302"/>
                        </a:cubicBezTo>
                        <a:cubicBezTo>
                          <a:pt x="82" y="306"/>
                          <a:pt x="85" y="310"/>
                          <a:pt x="90" y="310"/>
                        </a:cubicBezTo>
                        <a:cubicBezTo>
                          <a:pt x="111" y="310"/>
                          <a:pt x="111" y="310"/>
                          <a:pt x="111" y="310"/>
                        </a:cubicBezTo>
                        <a:cubicBezTo>
                          <a:pt x="115" y="310"/>
                          <a:pt x="119" y="306"/>
                          <a:pt x="119" y="302"/>
                        </a:cubicBezTo>
                        <a:cubicBezTo>
                          <a:pt x="119" y="281"/>
                          <a:pt x="119" y="281"/>
                          <a:pt x="119" y="281"/>
                        </a:cubicBezTo>
                        <a:cubicBezTo>
                          <a:pt x="119" y="276"/>
                          <a:pt x="115" y="273"/>
                          <a:pt x="111" y="273"/>
                        </a:cubicBezTo>
                        <a:close/>
                        <a:moveTo>
                          <a:pt x="140" y="66"/>
                        </a:moveTo>
                        <a:cubicBezTo>
                          <a:pt x="162" y="66"/>
                          <a:pt x="162" y="66"/>
                          <a:pt x="162" y="66"/>
                        </a:cubicBezTo>
                        <a:cubicBezTo>
                          <a:pt x="166" y="66"/>
                          <a:pt x="170" y="63"/>
                          <a:pt x="170" y="58"/>
                        </a:cubicBezTo>
                        <a:cubicBezTo>
                          <a:pt x="170" y="37"/>
                          <a:pt x="170" y="37"/>
                          <a:pt x="170" y="37"/>
                        </a:cubicBezTo>
                        <a:cubicBezTo>
                          <a:pt x="170" y="33"/>
                          <a:pt x="166" y="29"/>
                          <a:pt x="162" y="29"/>
                        </a:cubicBezTo>
                        <a:cubicBezTo>
                          <a:pt x="140" y="29"/>
                          <a:pt x="140" y="29"/>
                          <a:pt x="140" y="29"/>
                        </a:cubicBezTo>
                        <a:cubicBezTo>
                          <a:pt x="136" y="29"/>
                          <a:pt x="132" y="33"/>
                          <a:pt x="132" y="37"/>
                        </a:cubicBezTo>
                        <a:cubicBezTo>
                          <a:pt x="132" y="58"/>
                          <a:pt x="132" y="58"/>
                          <a:pt x="132" y="58"/>
                        </a:cubicBezTo>
                        <a:cubicBezTo>
                          <a:pt x="132" y="63"/>
                          <a:pt x="136" y="66"/>
                          <a:pt x="140" y="66"/>
                        </a:cubicBezTo>
                        <a:close/>
                        <a:moveTo>
                          <a:pt x="170" y="86"/>
                        </a:moveTo>
                        <a:cubicBezTo>
                          <a:pt x="170" y="81"/>
                          <a:pt x="166" y="78"/>
                          <a:pt x="162" y="78"/>
                        </a:cubicBezTo>
                        <a:cubicBezTo>
                          <a:pt x="140" y="78"/>
                          <a:pt x="140" y="78"/>
                          <a:pt x="140" y="78"/>
                        </a:cubicBezTo>
                        <a:cubicBezTo>
                          <a:pt x="136" y="78"/>
                          <a:pt x="132" y="81"/>
                          <a:pt x="132" y="86"/>
                        </a:cubicBezTo>
                        <a:cubicBezTo>
                          <a:pt x="132" y="107"/>
                          <a:pt x="132" y="107"/>
                          <a:pt x="132" y="107"/>
                        </a:cubicBezTo>
                        <a:cubicBezTo>
                          <a:pt x="132" y="112"/>
                          <a:pt x="136" y="115"/>
                          <a:pt x="140" y="115"/>
                        </a:cubicBezTo>
                        <a:cubicBezTo>
                          <a:pt x="162" y="115"/>
                          <a:pt x="162" y="115"/>
                          <a:pt x="162" y="115"/>
                        </a:cubicBezTo>
                        <a:cubicBezTo>
                          <a:pt x="166" y="115"/>
                          <a:pt x="170" y="112"/>
                          <a:pt x="170" y="107"/>
                        </a:cubicBezTo>
                        <a:lnTo>
                          <a:pt x="170" y="86"/>
                        </a:lnTo>
                        <a:close/>
                        <a:moveTo>
                          <a:pt x="170" y="135"/>
                        </a:moveTo>
                        <a:cubicBezTo>
                          <a:pt x="170" y="130"/>
                          <a:pt x="166" y="127"/>
                          <a:pt x="162" y="127"/>
                        </a:cubicBezTo>
                        <a:cubicBezTo>
                          <a:pt x="140" y="127"/>
                          <a:pt x="140" y="127"/>
                          <a:pt x="140" y="127"/>
                        </a:cubicBezTo>
                        <a:cubicBezTo>
                          <a:pt x="136" y="127"/>
                          <a:pt x="132" y="130"/>
                          <a:pt x="132" y="135"/>
                        </a:cubicBezTo>
                        <a:cubicBezTo>
                          <a:pt x="132" y="156"/>
                          <a:pt x="132" y="156"/>
                          <a:pt x="132" y="156"/>
                        </a:cubicBezTo>
                        <a:cubicBezTo>
                          <a:pt x="132" y="160"/>
                          <a:pt x="136" y="164"/>
                          <a:pt x="140" y="164"/>
                        </a:cubicBezTo>
                        <a:cubicBezTo>
                          <a:pt x="162" y="164"/>
                          <a:pt x="162" y="164"/>
                          <a:pt x="162" y="164"/>
                        </a:cubicBezTo>
                        <a:cubicBezTo>
                          <a:pt x="166" y="164"/>
                          <a:pt x="170" y="160"/>
                          <a:pt x="170" y="156"/>
                        </a:cubicBezTo>
                        <a:lnTo>
                          <a:pt x="170" y="135"/>
                        </a:lnTo>
                        <a:close/>
                        <a:moveTo>
                          <a:pt x="170" y="183"/>
                        </a:moveTo>
                        <a:cubicBezTo>
                          <a:pt x="170" y="179"/>
                          <a:pt x="166" y="175"/>
                          <a:pt x="162" y="175"/>
                        </a:cubicBezTo>
                        <a:cubicBezTo>
                          <a:pt x="140" y="175"/>
                          <a:pt x="140" y="175"/>
                          <a:pt x="140" y="175"/>
                        </a:cubicBezTo>
                        <a:cubicBezTo>
                          <a:pt x="136" y="175"/>
                          <a:pt x="132" y="179"/>
                          <a:pt x="132" y="183"/>
                        </a:cubicBezTo>
                        <a:cubicBezTo>
                          <a:pt x="132" y="205"/>
                          <a:pt x="132" y="205"/>
                          <a:pt x="132" y="205"/>
                        </a:cubicBezTo>
                        <a:cubicBezTo>
                          <a:pt x="132" y="209"/>
                          <a:pt x="136" y="213"/>
                          <a:pt x="140" y="213"/>
                        </a:cubicBezTo>
                        <a:cubicBezTo>
                          <a:pt x="162" y="213"/>
                          <a:pt x="162" y="213"/>
                          <a:pt x="162" y="213"/>
                        </a:cubicBezTo>
                        <a:cubicBezTo>
                          <a:pt x="166" y="213"/>
                          <a:pt x="170" y="209"/>
                          <a:pt x="170" y="205"/>
                        </a:cubicBezTo>
                        <a:lnTo>
                          <a:pt x="170" y="183"/>
                        </a:lnTo>
                        <a:close/>
                        <a:moveTo>
                          <a:pt x="170" y="232"/>
                        </a:moveTo>
                        <a:cubicBezTo>
                          <a:pt x="170" y="228"/>
                          <a:pt x="166" y="224"/>
                          <a:pt x="162" y="224"/>
                        </a:cubicBezTo>
                        <a:cubicBezTo>
                          <a:pt x="140" y="224"/>
                          <a:pt x="140" y="224"/>
                          <a:pt x="140" y="224"/>
                        </a:cubicBezTo>
                        <a:cubicBezTo>
                          <a:pt x="136" y="224"/>
                          <a:pt x="132" y="228"/>
                          <a:pt x="132" y="232"/>
                        </a:cubicBezTo>
                        <a:cubicBezTo>
                          <a:pt x="132" y="253"/>
                          <a:pt x="132" y="253"/>
                          <a:pt x="132" y="253"/>
                        </a:cubicBezTo>
                        <a:cubicBezTo>
                          <a:pt x="132" y="258"/>
                          <a:pt x="136" y="261"/>
                          <a:pt x="140" y="261"/>
                        </a:cubicBezTo>
                        <a:cubicBezTo>
                          <a:pt x="162" y="261"/>
                          <a:pt x="162" y="261"/>
                          <a:pt x="162" y="261"/>
                        </a:cubicBezTo>
                        <a:cubicBezTo>
                          <a:pt x="166" y="261"/>
                          <a:pt x="170" y="258"/>
                          <a:pt x="170" y="253"/>
                        </a:cubicBezTo>
                        <a:lnTo>
                          <a:pt x="170" y="232"/>
                        </a:lnTo>
                        <a:close/>
                        <a:moveTo>
                          <a:pt x="140" y="310"/>
                        </a:moveTo>
                        <a:cubicBezTo>
                          <a:pt x="162" y="310"/>
                          <a:pt x="162" y="310"/>
                          <a:pt x="162" y="310"/>
                        </a:cubicBezTo>
                        <a:cubicBezTo>
                          <a:pt x="166" y="310"/>
                          <a:pt x="170" y="306"/>
                          <a:pt x="170" y="302"/>
                        </a:cubicBezTo>
                        <a:cubicBezTo>
                          <a:pt x="170" y="281"/>
                          <a:pt x="170" y="281"/>
                          <a:pt x="170" y="281"/>
                        </a:cubicBezTo>
                        <a:cubicBezTo>
                          <a:pt x="170" y="276"/>
                          <a:pt x="166" y="273"/>
                          <a:pt x="162" y="273"/>
                        </a:cubicBezTo>
                        <a:cubicBezTo>
                          <a:pt x="140" y="273"/>
                          <a:pt x="140" y="273"/>
                          <a:pt x="140" y="273"/>
                        </a:cubicBezTo>
                        <a:cubicBezTo>
                          <a:pt x="136" y="273"/>
                          <a:pt x="132" y="276"/>
                          <a:pt x="132" y="281"/>
                        </a:cubicBezTo>
                        <a:cubicBezTo>
                          <a:pt x="132" y="302"/>
                          <a:pt x="132" y="302"/>
                          <a:pt x="132" y="302"/>
                        </a:cubicBezTo>
                        <a:cubicBezTo>
                          <a:pt x="132" y="306"/>
                          <a:pt x="136" y="310"/>
                          <a:pt x="140" y="310"/>
                        </a:cubicBezTo>
                        <a:close/>
                        <a:moveTo>
                          <a:pt x="220" y="131"/>
                        </a:moveTo>
                        <a:cubicBezTo>
                          <a:pt x="220" y="126"/>
                          <a:pt x="217" y="123"/>
                          <a:pt x="212" y="123"/>
                        </a:cubicBezTo>
                        <a:cubicBezTo>
                          <a:pt x="191" y="123"/>
                          <a:pt x="191" y="123"/>
                          <a:pt x="191" y="123"/>
                        </a:cubicBezTo>
                        <a:cubicBezTo>
                          <a:pt x="187" y="123"/>
                          <a:pt x="183" y="126"/>
                          <a:pt x="183" y="131"/>
                        </a:cubicBezTo>
                        <a:cubicBezTo>
                          <a:pt x="183" y="152"/>
                          <a:pt x="183" y="152"/>
                          <a:pt x="183" y="152"/>
                        </a:cubicBezTo>
                        <a:cubicBezTo>
                          <a:pt x="183" y="156"/>
                          <a:pt x="187" y="160"/>
                          <a:pt x="191" y="160"/>
                        </a:cubicBezTo>
                        <a:cubicBezTo>
                          <a:pt x="212" y="160"/>
                          <a:pt x="212" y="160"/>
                          <a:pt x="212" y="160"/>
                        </a:cubicBezTo>
                        <a:cubicBezTo>
                          <a:pt x="217" y="160"/>
                          <a:pt x="220" y="156"/>
                          <a:pt x="220" y="152"/>
                        </a:cubicBezTo>
                        <a:lnTo>
                          <a:pt x="220" y="131"/>
                        </a:lnTo>
                        <a:close/>
                        <a:moveTo>
                          <a:pt x="220" y="181"/>
                        </a:moveTo>
                        <a:cubicBezTo>
                          <a:pt x="220" y="176"/>
                          <a:pt x="217" y="173"/>
                          <a:pt x="212" y="173"/>
                        </a:cubicBezTo>
                        <a:cubicBezTo>
                          <a:pt x="191" y="173"/>
                          <a:pt x="191" y="173"/>
                          <a:pt x="191" y="173"/>
                        </a:cubicBezTo>
                        <a:cubicBezTo>
                          <a:pt x="187" y="173"/>
                          <a:pt x="183" y="176"/>
                          <a:pt x="183" y="181"/>
                        </a:cubicBezTo>
                        <a:cubicBezTo>
                          <a:pt x="183" y="202"/>
                          <a:pt x="183" y="202"/>
                          <a:pt x="183" y="202"/>
                        </a:cubicBezTo>
                        <a:cubicBezTo>
                          <a:pt x="183" y="206"/>
                          <a:pt x="187" y="210"/>
                          <a:pt x="191" y="210"/>
                        </a:cubicBezTo>
                        <a:cubicBezTo>
                          <a:pt x="212" y="210"/>
                          <a:pt x="212" y="210"/>
                          <a:pt x="212" y="210"/>
                        </a:cubicBezTo>
                        <a:cubicBezTo>
                          <a:pt x="217" y="210"/>
                          <a:pt x="220" y="206"/>
                          <a:pt x="220" y="202"/>
                        </a:cubicBezTo>
                        <a:lnTo>
                          <a:pt x="220" y="181"/>
                        </a:lnTo>
                        <a:close/>
                        <a:moveTo>
                          <a:pt x="220" y="231"/>
                        </a:moveTo>
                        <a:cubicBezTo>
                          <a:pt x="220" y="226"/>
                          <a:pt x="217" y="223"/>
                          <a:pt x="212" y="223"/>
                        </a:cubicBezTo>
                        <a:cubicBezTo>
                          <a:pt x="191" y="223"/>
                          <a:pt x="191" y="223"/>
                          <a:pt x="191" y="223"/>
                        </a:cubicBezTo>
                        <a:cubicBezTo>
                          <a:pt x="187" y="223"/>
                          <a:pt x="183" y="226"/>
                          <a:pt x="183" y="231"/>
                        </a:cubicBezTo>
                        <a:cubicBezTo>
                          <a:pt x="183" y="252"/>
                          <a:pt x="183" y="252"/>
                          <a:pt x="183" y="252"/>
                        </a:cubicBezTo>
                        <a:cubicBezTo>
                          <a:pt x="183" y="256"/>
                          <a:pt x="187" y="260"/>
                          <a:pt x="191" y="260"/>
                        </a:cubicBezTo>
                        <a:cubicBezTo>
                          <a:pt x="212" y="260"/>
                          <a:pt x="212" y="260"/>
                          <a:pt x="212" y="260"/>
                        </a:cubicBezTo>
                        <a:cubicBezTo>
                          <a:pt x="217" y="260"/>
                          <a:pt x="220" y="256"/>
                          <a:pt x="220" y="252"/>
                        </a:cubicBezTo>
                        <a:lnTo>
                          <a:pt x="220" y="231"/>
                        </a:lnTo>
                        <a:close/>
                        <a:moveTo>
                          <a:pt x="212" y="273"/>
                        </a:moveTo>
                        <a:cubicBezTo>
                          <a:pt x="191" y="273"/>
                          <a:pt x="191" y="273"/>
                          <a:pt x="191" y="273"/>
                        </a:cubicBezTo>
                        <a:cubicBezTo>
                          <a:pt x="187" y="273"/>
                          <a:pt x="183" y="276"/>
                          <a:pt x="183" y="281"/>
                        </a:cubicBezTo>
                        <a:cubicBezTo>
                          <a:pt x="183" y="302"/>
                          <a:pt x="183" y="302"/>
                          <a:pt x="183" y="302"/>
                        </a:cubicBezTo>
                        <a:cubicBezTo>
                          <a:pt x="183" y="306"/>
                          <a:pt x="187" y="310"/>
                          <a:pt x="191" y="310"/>
                        </a:cubicBezTo>
                        <a:cubicBezTo>
                          <a:pt x="212" y="310"/>
                          <a:pt x="212" y="310"/>
                          <a:pt x="212" y="310"/>
                        </a:cubicBezTo>
                        <a:cubicBezTo>
                          <a:pt x="217" y="310"/>
                          <a:pt x="220" y="306"/>
                          <a:pt x="220" y="302"/>
                        </a:cubicBezTo>
                        <a:cubicBezTo>
                          <a:pt x="220" y="281"/>
                          <a:pt x="220" y="281"/>
                          <a:pt x="220" y="281"/>
                        </a:cubicBezTo>
                        <a:cubicBezTo>
                          <a:pt x="220" y="276"/>
                          <a:pt x="217" y="273"/>
                          <a:pt x="212" y="273"/>
                        </a:cubicBezTo>
                        <a:close/>
                        <a:moveTo>
                          <a:pt x="271" y="131"/>
                        </a:moveTo>
                        <a:cubicBezTo>
                          <a:pt x="271" y="126"/>
                          <a:pt x="267" y="123"/>
                          <a:pt x="263" y="123"/>
                        </a:cubicBezTo>
                        <a:cubicBezTo>
                          <a:pt x="242" y="123"/>
                          <a:pt x="242" y="123"/>
                          <a:pt x="242" y="123"/>
                        </a:cubicBezTo>
                        <a:cubicBezTo>
                          <a:pt x="237" y="123"/>
                          <a:pt x="234" y="126"/>
                          <a:pt x="234" y="131"/>
                        </a:cubicBezTo>
                        <a:cubicBezTo>
                          <a:pt x="234" y="152"/>
                          <a:pt x="234" y="152"/>
                          <a:pt x="234" y="152"/>
                        </a:cubicBezTo>
                        <a:cubicBezTo>
                          <a:pt x="234" y="156"/>
                          <a:pt x="237" y="160"/>
                          <a:pt x="242" y="160"/>
                        </a:cubicBezTo>
                        <a:cubicBezTo>
                          <a:pt x="263" y="160"/>
                          <a:pt x="263" y="160"/>
                          <a:pt x="263" y="160"/>
                        </a:cubicBezTo>
                        <a:cubicBezTo>
                          <a:pt x="267" y="160"/>
                          <a:pt x="271" y="156"/>
                          <a:pt x="271" y="152"/>
                        </a:cubicBezTo>
                        <a:lnTo>
                          <a:pt x="271" y="131"/>
                        </a:lnTo>
                        <a:close/>
                        <a:moveTo>
                          <a:pt x="271" y="181"/>
                        </a:moveTo>
                        <a:cubicBezTo>
                          <a:pt x="271" y="176"/>
                          <a:pt x="267" y="173"/>
                          <a:pt x="263" y="173"/>
                        </a:cubicBezTo>
                        <a:cubicBezTo>
                          <a:pt x="242" y="173"/>
                          <a:pt x="242" y="173"/>
                          <a:pt x="242" y="173"/>
                        </a:cubicBezTo>
                        <a:cubicBezTo>
                          <a:pt x="237" y="173"/>
                          <a:pt x="234" y="176"/>
                          <a:pt x="234" y="181"/>
                        </a:cubicBezTo>
                        <a:cubicBezTo>
                          <a:pt x="234" y="202"/>
                          <a:pt x="234" y="202"/>
                          <a:pt x="234" y="202"/>
                        </a:cubicBezTo>
                        <a:cubicBezTo>
                          <a:pt x="234" y="206"/>
                          <a:pt x="237" y="210"/>
                          <a:pt x="242" y="210"/>
                        </a:cubicBezTo>
                        <a:cubicBezTo>
                          <a:pt x="263" y="210"/>
                          <a:pt x="263" y="210"/>
                          <a:pt x="263" y="210"/>
                        </a:cubicBezTo>
                        <a:cubicBezTo>
                          <a:pt x="267" y="210"/>
                          <a:pt x="271" y="206"/>
                          <a:pt x="271" y="202"/>
                        </a:cubicBezTo>
                        <a:lnTo>
                          <a:pt x="271" y="181"/>
                        </a:lnTo>
                        <a:close/>
                        <a:moveTo>
                          <a:pt x="271" y="231"/>
                        </a:moveTo>
                        <a:cubicBezTo>
                          <a:pt x="271" y="226"/>
                          <a:pt x="267" y="223"/>
                          <a:pt x="263" y="223"/>
                        </a:cubicBezTo>
                        <a:cubicBezTo>
                          <a:pt x="242" y="223"/>
                          <a:pt x="242" y="223"/>
                          <a:pt x="242" y="223"/>
                        </a:cubicBezTo>
                        <a:cubicBezTo>
                          <a:pt x="237" y="223"/>
                          <a:pt x="234" y="226"/>
                          <a:pt x="234" y="231"/>
                        </a:cubicBezTo>
                        <a:cubicBezTo>
                          <a:pt x="234" y="252"/>
                          <a:pt x="234" y="252"/>
                          <a:pt x="234" y="252"/>
                        </a:cubicBezTo>
                        <a:cubicBezTo>
                          <a:pt x="234" y="256"/>
                          <a:pt x="237" y="260"/>
                          <a:pt x="242" y="260"/>
                        </a:cubicBezTo>
                        <a:cubicBezTo>
                          <a:pt x="263" y="260"/>
                          <a:pt x="263" y="260"/>
                          <a:pt x="263" y="260"/>
                        </a:cubicBezTo>
                        <a:cubicBezTo>
                          <a:pt x="267" y="260"/>
                          <a:pt x="271" y="256"/>
                          <a:pt x="271" y="252"/>
                        </a:cubicBezTo>
                        <a:lnTo>
                          <a:pt x="271" y="231"/>
                        </a:lnTo>
                        <a:close/>
                        <a:moveTo>
                          <a:pt x="263" y="273"/>
                        </a:moveTo>
                        <a:cubicBezTo>
                          <a:pt x="242" y="273"/>
                          <a:pt x="242" y="273"/>
                          <a:pt x="242" y="273"/>
                        </a:cubicBezTo>
                        <a:cubicBezTo>
                          <a:pt x="237" y="273"/>
                          <a:pt x="234" y="276"/>
                          <a:pt x="234" y="281"/>
                        </a:cubicBezTo>
                        <a:cubicBezTo>
                          <a:pt x="234" y="302"/>
                          <a:pt x="234" y="302"/>
                          <a:pt x="234" y="302"/>
                        </a:cubicBezTo>
                        <a:cubicBezTo>
                          <a:pt x="234" y="306"/>
                          <a:pt x="237" y="310"/>
                          <a:pt x="242" y="310"/>
                        </a:cubicBezTo>
                        <a:cubicBezTo>
                          <a:pt x="263" y="310"/>
                          <a:pt x="263" y="310"/>
                          <a:pt x="263" y="310"/>
                        </a:cubicBezTo>
                        <a:cubicBezTo>
                          <a:pt x="267" y="310"/>
                          <a:pt x="271" y="306"/>
                          <a:pt x="271" y="302"/>
                        </a:cubicBezTo>
                        <a:cubicBezTo>
                          <a:pt x="271" y="281"/>
                          <a:pt x="271" y="281"/>
                          <a:pt x="271" y="281"/>
                        </a:cubicBezTo>
                        <a:cubicBezTo>
                          <a:pt x="271" y="276"/>
                          <a:pt x="267" y="273"/>
                          <a:pt x="263" y="273"/>
                        </a:cubicBezTo>
                        <a:close/>
                        <a:moveTo>
                          <a:pt x="293" y="138"/>
                        </a:moveTo>
                        <a:cubicBezTo>
                          <a:pt x="289" y="138"/>
                          <a:pt x="285" y="142"/>
                          <a:pt x="285" y="146"/>
                        </a:cubicBezTo>
                        <a:cubicBezTo>
                          <a:pt x="285" y="396"/>
                          <a:pt x="285" y="396"/>
                          <a:pt x="285" y="396"/>
                        </a:cubicBezTo>
                        <a:cubicBezTo>
                          <a:pt x="182" y="396"/>
                          <a:pt x="182" y="396"/>
                          <a:pt x="182" y="396"/>
                        </a:cubicBezTo>
                        <a:cubicBezTo>
                          <a:pt x="182" y="354"/>
                          <a:pt x="182" y="354"/>
                          <a:pt x="182" y="354"/>
                        </a:cubicBezTo>
                        <a:cubicBezTo>
                          <a:pt x="182" y="349"/>
                          <a:pt x="178" y="346"/>
                          <a:pt x="174" y="346"/>
                        </a:cubicBezTo>
                        <a:cubicBezTo>
                          <a:pt x="127" y="346"/>
                          <a:pt x="127" y="346"/>
                          <a:pt x="127" y="346"/>
                        </a:cubicBezTo>
                        <a:cubicBezTo>
                          <a:pt x="123" y="346"/>
                          <a:pt x="119" y="349"/>
                          <a:pt x="119" y="354"/>
                        </a:cubicBezTo>
                        <a:cubicBezTo>
                          <a:pt x="119" y="396"/>
                          <a:pt x="119" y="396"/>
                          <a:pt x="119" y="396"/>
                        </a:cubicBezTo>
                        <a:cubicBezTo>
                          <a:pt x="16" y="396"/>
                          <a:pt x="16" y="396"/>
                          <a:pt x="16" y="396"/>
                        </a:cubicBezTo>
                        <a:cubicBezTo>
                          <a:pt x="16" y="16"/>
                          <a:pt x="16" y="16"/>
                          <a:pt x="16" y="16"/>
                        </a:cubicBezTo>
                        <a:cubicBezTo>
                          <a:pt x="185" y="16"/>
                          <a:pt x="185" y="16"/>
                          <a:pt x="185" y="16"/>
                        </a:cubicBezTo>
                        <a:cubicBezTo>
                          <a:pt x="185" y="102"/>
                          <a:pt x="185" y="102"/>
                          <a:pt x="185" y="102"/>
                        </a:cubicBezTo>
                        <a:cubicBezTo>
                          <a:pt x="185" y="104"/>
                          <a:pt x="186" y="106"/>
                          <a:pt x="187" y="108"/>
                        </a:cubicBezTo>
                        <a:cubicBezTo>
                          <a:pt x="189" y="109"/>
                          <a:pt x="191" y="110"/>
                          <a:pt x="193" y="110"/>
                        </a:cubicBezTo>
                        <a:cubicBezTo>
                          <a:pt x="285" y="110"/>
                          <a:pt x="285" y="110"/>
                          <a:pt x="285" y="110"/>
                        </a:cubicBezTo>
                        <a:cubicBezTo>
                          <a:pt x="285" y="123"/>
                          <a:pt x="285" y="123"/>
                          <a:pt x="285" y="123"/>
                        </a:cubicBezTo>
                        <a:cubicBezTo>
                          <a:pt x="285" y="127"/>
                          <a:pt x="289" y="131"/>
                          <a:pt x="293" y="131"/>
                        </a:cubicBezTo>
                        <a:cubicBezTo>
                          <a:pt x="298" y="131"/>
                          <a:pt x="301" y="127"/>
                          <a:pt x="301" y="123"/>
                        </a:cubicBezTo>
                        <a:cubicBezTo>
                          <a:pt x="301" y="123"/>
                          <a:pt x="301" y="123"/>
                          <a:pt x="301" y="123"/>
                        </a:cubicBezTo>
                        <a:cubicBezTo>
                          <a:pt x="301" y="110"/>
                          <a:pt x="301" y="110"/>
                          <a:pt x="301" y="110"/>
                        </a:cubicBezTo>
                        <a:cubicBezTo>
                          <a:pt x="301" y="101"/>
                          <a:pt x="294" y="94"/>
                          <a:pt x="285" y="94"/>
                        </a:cubicBezTo>
                        <a:cubicBezTo>
                          <a:pt x="201" y="94"/>
                          <a:pt x="201" y="94"/>
                          <a:pt x="201" y="94"/>
                        </a:cubicBezTo>
                        <a:cubicBezTo>
                          <a:pt x="201" y="16"/>
                          <a:pt x="201" y="16"/>
                          <a:pt x="201" y="16"/>
                        </a:cubicBezTo>
                        <a:cubicBezTo>
                          <a:pt x="201" y="7"/>
                          <a:pt x="194" y="0"/>
                          <a:pt x="185" y="0"/>
                        </a:cubicBezTo>
                        <a:cubicBezTo>
                          <a:pt x="16" y="0"/>
                          <a:pt x="16" y="0"/>
                          <a:pt x="16" y="0"/>
                        </a:cubicBezTo>
                        <a:cubicBezTo>
                          <a:pt x="7" y="0"/>
                          <a:pt x="0" y="7"/>
                          <a:pt x="0" y="16"/>
                        </a:cubicBezTo>
                        <a:cubicBezTo>
                          <a:pt x="0" y="396"/>
                          <a:pt x="0" y="396"/>
                          <a:pt x="0" y="396"/>
                        </a:cubicBezTo>
                        <a:cubicBezTo>
                          <a:pt x="0" y="405"/>
                          <a:pt x="7" y="412"/>
                          <a:pt x="16" y="412"/>
                        </a:cubicBezTo>
                        <a:cubicBezTo>
                          <a:pt x="285" y="412"/>
                          <a:pt x="285" y="412"/>
                          <a:pt x="285" y="412"/>
                        </a:cubicBezTo>
                        <a:cubicBezTo>
                          <a:pt x="294" y="412"/>
                          <a:pt x="301" y="405"/>
                          <a:pt x="301" y="396"/>
                        </a:cubicBezTo>
                        <a:cubicBezTo>
                          <a:pt x="301" y="146"/>
                          <a:pt x="301" y="146"/>
                          <a:pt x="301" y="146"/>
                        </a:cubicBezTo>
                        <a:cubicBezTo>
                          <a:pt x="301" y="142"/>
                          <a:pt x="298" y="138"/>
                          <a:pt x="293" y="138"/>
                        </a:cubicBezTo>
                        <a:close/>
                      </a:path>
                    </a:pathLst>
                  </a:custGeom>
                  <a:solidFill>
                    <a:srgbClr val="58585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22972" name="Freeform 32"/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4512" y="1749"/>
                    <a:ext cx="141" cy="156"/>
                  </a:xfrm>
                  <a:custGeom>
                    <a:avLst/>
                    <a:gdLst>
                      <a:gd name="T0" fmla="*/ 2147483647 w 260"/>
                      <a:gd name="T1" fmla="*/ 2147483647 h 410"/>
                      <a:gd name="T2" fmla="*/ 2147483647 w 260"/>
                      <a:gd name="T3" fmla="*/ 2147483647 h 410"/>
                      <a:gd name="T4" fmla="*/ 2147483647 w 260"/>
                      <a:gd name="T5" fmla="*/ 2147483647 h 410"/>
                      <a:gd name="T6" fmla="*/ 2147483647 w 260"/>
                      <a:gd name="T7" fmla="*/ 2147483647 h 410"/>
                      <a:gd name="T8" fmla="*/ 2147483647 w 260"/>
                      <a:gd name="T9" fmla="*/ 2147483647 h 410"/>
                      <a:gd name="T10" fmla="*/ 2147483647 w 260"/>
                      <a:gd name="T11" fmla="*/ 2147483647 h 410"/>
                      <a:gd name="T12" fmla="*/ 2147483647 w 260"/>
                      <a:gd name="T13" fmla="*/ 2147483647 h 410"/>
                      <a:gd name="T14" fmla="*/ 2147483647 w 260"/>
                      <a:gd name="T15" fmla="*/ 2147483647 h 410"/>
                      <a:gd name="T16" fmla="*/ 2147483647 w 260"/>
                      <a:gd name="T17" fmla="*/ 2147483647 h 410"/>
                      <a:gd name="T18" fmla="*/ 2147483647 w 260"/>
                      <a:gd name="T19" fmla="*/ 2147483647 h 410"/>
                      <a:gd name="T20" fmla="*/ 0 w 260"/>
                      <a:gd name="T21" fmla="*/ 2147483647 h 410"/>
                      <a:gd name="T22" fmla="*/ 2147483647 w 260"/>
                      <a:gd name="T23" fmla="*/ 2147483647 h 410"/>
                      <a:gd name="T24" fmla="*/ 2147483647 w 260"/>
                      <a:gd name="T25" fmla="*/ 2147483647 h 410"/>
                      <a:gd name="T26" fmla="*/ 2147483647 w 260"/>
                      <a:gd name="T27" fmla="*/ 2147483647 h 410"/>
                      <a:gd name="T28" fmla="*/ 2147483647 w 260"/>
                      <a:gd name="T29" fmla="*/ 2147483647 h 410"/>
                      <a:gd name="T30" fmla="*/ 2147483647 w 260"/>
                      <a:gd name="T31" fmla="*/ 2147483647 h 410"/>
                      <a:gd name="T32" fmla="*/ 2147483647 w 260"/>
                      <a:gd name="T33" fmla="*/ 2147483647 h 410"/>
                      <a:gd name="T34" fmla="*/ 2147483647 w 260"/>
                      <a:gd name="T35" fmla="*/ 2147483647 h 410"/>
                      <a:gd name="T36" fmla="*/ 2147483647 w 260"/>
                      <a:gd name="T37" fmla="*/ 2147483647 h 410"/>
                      <a:gd name="T38" fmla="*/ 2147483647 w 260"/>
                      <a:gd name="T39" fmla="*/ 2147483647 h 410"/>
                      <a:gd name="T40" fmla="*/ 2147483647 w 260"/>
                      <a:gd name="T41" fmla="*/ 2147483647 h 410"/>
                      <a:gd name="T42" fmla="*/ 2147483647 w 260"/>
                      <a:gd name="T43" fmla="*/ 2147483647 h 410"/>
                      <a:gd name="T44" fmla="*/ 2147483647 w 260"/>
                      <a:gd name="T45" fmla="*/ 2147483647 h 410"/>
                      <a:gd name="T46" fmla="*/ 2147483647 w 260"/>
                      <a:gd name="T47" fmla="*/ 2147483647 h 410"/>
                      <a:gd name="T48" fmla="*/ 2147483647 w 260"/>
                      <a:gd name="T49" fmla="*/ 2147483647 h 410"/>
                      <a:gd name="T50" fmla="*/ 2147483647 w 260"/>
                      <a:gd name="T51" fmla="*/ 2147483647 h 410"/>
                      <a:gd name="T52" fmla="*/ 2147483647 w 260"/>
                      <a:gd name="T53" fmla="*/ 2147483647 h 410"/>
                      <a:gd name="T54" fmla="*/ 2147483647 w 260"/>
                      <a:gd name="T55" fmla="*/ 2147483647 h 410"/>
                      <a:gd name="T56" fmla="*/ 2147483647 w 260"/>
                      <a:gd name="T57" fmla="*/ 2147483647 h 410"/>
                      <a:gd name="T58" fmla="*/ 2147483647 w 260"/>
                      <a:gd name="T59" fmla="*/ 2147483647 h 410"/>
                      <a:gd name="T60" fmla="*/ 2147483647 w 260"/>
                      <a:gd name="T61" fmla="*/ 2147483647 h 410"/>
                      <a:gd name="T62" fmla="*/ 2147483647 w 260"/>
                      <a:gd name="T63" fmla="*/ 2147483647 h 410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</a:gdLst>
                    <a:ahLst/>
                    <a:cxnLst>
                      <a:cxn ang="T64">
                        <a:pos x="T0" y="T1"/>
                      </a:cxn>
                      <a:cxn ang="T65">
                        <a:pos x="T2" y="T3"/>
                      </a:cxn>
                      <a:cxn ang="T66">
                        <a:pos x="T4" y="T5"/>
                      </a:cxn>
                      <a:cxn ang="T67">
                        <a:pos x="T6" y="T7"/>
                      </a:cxn>
                      <a:cxn ang="T68">
                        <a:pos x="T8" y="T9"/>
                      </a:cxn>
                      <a:cxn ang="T69">
                        <a:pos x="T10" y="T11"/>
                      </a:cxn>
                      <a:cxn ang="T70">
                        <a:pos x="T12" y="T13"/>
                      </a:cxn>
                      <a:cxn ang="T71">
                        <a:pos x="T14" y="T15"/>
                      </a:cxn>
                      <a:cxn ang="T72">
                        <a:pos x="T16" y="T17"/>
                      </a:cxn>
                      <a:cxn ang="T73">
                        <a:pos x="T18" y="T19"/>
                      </a:cxn>
                      <a:cxn ang="T74">
                        <a:pos x="T20" y="T21"/>
                      </a:cxn>
                      <a:cxn ang="T75">
                        <a:pos x="T22" y="T23"/>
                      </a:cxn>
                      <a:cxn ang="T76">
                        <a:pos x="T24" y="T25"/>
                      </a:cxn>
                      <a:cxn ang="T77">
                        <a:pos x="T26" y="T27"/>
                      </a:cxn>
                      <a:cxn ang="T78">
                        <a:pos x="T28" y="T29"/>
                      </a:cxn>
                      <a:cxn ang="T79">
                        <a:pos x="T30" y="T31"/>
                      </a:cxn>
                      <a:cxn ang="T80">
                        <a:pos x="T32" y="T33"/>
                      </a:cxn>
                      <a:cxn ang="T81">
                        <a:pos x="T34" y="T35"/>
                      </a:cxn>
                      <a:cxn ang="T82">
                        <a:pos x="T36" y="T37"/>
                      </a:cxn>
                      <a:cxn ang="T83">
                        <a:pos x="T38" y="T39"/>
                      </a:cxn>
                      <a:cxn ang="T84">
                        <a:pos x="T40" y="T41"/>
                      </a:cxn>
                      <a:cxn ang="T85">
                        <a:pos x="T42" y="T43"/>
                      </a:cxn>
                      <a:cxn ang="T86">
                        <a:pos x="T44" y="T45"/>
                      </a:cxn>
                      <a:cxn ang="T87">
                        <a:pos x="T46" y="T47"/>
                      </a:cxn>
                      <a:cxn ang="T88">
                        <a:pos x="T48" y="T49"/>
                      </a:cxn>
                      <a:cxn ang="T89">
                        <a:pos x="T50" y="T51"/>
                      </a:cxn>
                      <a:cxn ang="T90">
                        <a:pos x="T52" y="T53"/>
                      </a:cxn>
                      <a:cxn ang="T91">
                        <a:pos x="T54" y="T55"/>
                      </a:cxn>
                      <a:cxn ang="T92">
                        <a:pos x="T56" y="T57"/>
                      </a:cxn>
                      <a:cxn ang="T93">
                        <a:pos x="T58" y="T59"/>
                      </a:cxn>
                      <a:cxn ang="T94">
                        <a:pos x="T60" y="T61"/>
                      </a:cxn>
                      <a:cxn ang="T95">
                        <a:pos x="T62" y="T63"/>
                      </a:cxn>
                    </a:cxnLst>
                    <a:rect l="0" t="0" r="r" b="b"/>
                    <a:pathLst>
                      <a:path w="260" h="410">
                        <a:moveTo>
                          <a:pt x="220" y="205"/>
                        </a:moveTo>
                        <a:cubicBezTo>
                          <a:pt x="236" y="155"/>
                          <a:pt x="236" y="113"/>
                          <a:pt x="236" y="106"/>
                        </a:cubicBezTo>
                        <a:cubicBezTo>
                          <a:pt x="236" y="106"/>
                          <a:pt x="236" y="106"/>
                          <a:pt x="236" y="105"/>
                        </a:cubicBezTo>
                        <a:cubicBezTo>
                          <a:pt x="236" y="83"/>
                          <a:pt x="229" y="62"/>
                          <a:pt x="216" y="44"/>
                        </a:cubicBezTo>
                        <a:cubicBezTo>
                          <a:pt x="213" y="40"/>
                          <a:pt x="208" y="39"/>
                          <a:pt x="205" y="42"/>
                        </a:cubicBezTo>
                        <a:cubicBezTo>
                          <a:pt x="201" y="44"/>
                          <a:pt x="200" y="49"/>
                          <a:pt x="203" y="53"/>
                        </a:cubicBezTo>
                        <a:cubicBezTo>
                          <a:pt x="214" y="68"/>
                          <a:pt x="220" y="86"/>
                          <a:pt x="220" y="105"/>
                        </a:cubicBezTo>
                        <a:cubicBezTo>
                          <a:pt x="220" y="105"/>
                          <a:pt x="220" y="105"/>
                          <a:pt x="220" y="105"/>
                        </a:cubicBezTo>
                        <a:cubicBezTo>
                          <a:pt x="220" y="105"/>
                          <a:pt x="220" y="105"/>
                          <a:pt x="220" y="106"/>
                        </a:cubicBezTo>
                        <a:cubicBezTo>
                          <a:pt x="220" y="106"/>
                          <a:pt x="220" y="106"/>
                          <a:pt x="220" y="106"/>
                        </a:cubicBezTo>
                        <a:cubicBezTo>
                          <a:pt x="219" y="155"/>
                          <a:pt x="179" y="195"/>
                          <a:pt x="130" y="195"/>
                        </a:cubicBezTo>
                        <a:cubicBezTo>
                          <a:pt x="81" y="195"/>
                          <a:pt x="40" y="155"/>
                          <a:pt x="40" y="105"/>
                        </a:cubicBezTo>
                        <a:cubicBezTo>
                          <a:pt x="40" y="56"/>
                          <a:pt x="81" y="16"/>
                          <a:pt x="130" y="16"/>
                        </a:cubicBezTo>
                        <a:cubicBezTo>
                          <a:pt x="149" y="16"/>
                          <a:pt x="167" y="21"/>
                          <a:pt x="182" y="32"/>
                        </a:cubicBezTo>
                        <a:cubicBezTo>
                          <a:pt x="186" y="35"/>
                          <a:pt x="191" y="34"/>
                          <a:pt x="193" y="31"/>
                        </a:cubicBezTo>
                        <a:cubicBezTo>
                          <a:pt x="196" y="27"/>
                          <a:pt x="195" y="22"/>
                          <a:pt x="192" y="19"/>
                        </a:cubicBezTo>
                        <a:cubicBezTo>
                          <a:pt x="174" y="6"/>
                          <a:pt x="152" y="0"/>
                          <a:pt x="130" y="0"/>
                        </a:cubicBezTo>
                        <a:cubicBezTo>
                          <a:pt x="72" y="0"/>
                          <a:pt x="24" y="47"/>
                          <a:pt x="24" y="105"/>
                        </a:cubicBezTo>
                        <a:cubicBezTo>
                          <a:pt x="24" y="105"/>
                          <a:pt x="24" y="105"/>
                          <a:pt x="24" y="105"/>
                        </a:cubicBezTo>
                        <a:cubicBezTo>
                          <a:pt x="24" y="108"/>
                          <a:pt x="23" y="153"/>
                          <a:pt x="40" y="205"/>
                        </a:cubicBezTo>
                        <a:cubicBezTo>
                          <a:pt x="19" y="217"/>
                          <a:pt x="0" y="240"/>
                          <a:pt x="0" y="278"/>
                        </a:cubicBezTo>
                        <a:cubicBezTo>
                          <a:pt x="0" y="402"/>
                          <a:pt x="0" y="402"/>
                          <a:pt x="0" y="402"/>
                        </a:cubicBezTo>
                        <a:cubicBezTo>
                          <a:pt x="0" y="407"/>
                          <a:pt x="3" y="410"/>
                          <a:pt x="8" y="410"/>
                        </a:cubicBezTo>
                        <a:cubicBezTo>
                          <a:pt x="12" y="410"/>
                          <a:pt x="16" y="407"/>
                          <a:pt x="16" y="402"/>
                        </a:cubicBezTo>
                        <a:cubicBezTo>
                          <a:pt x="16" y="278"/>
                          <a:pt x="16" y="278"/>
                          <a:pt x="16" y="278"/>
                        </a:cubicBezTo>
                        <a:cubicBezTo>
                          <a:pt x="16" y="249"/>
                          <a:pt x="29" y="231"/>
                          <a:pt x="45" y="220"/>
                        </a:cubicBezTo>
                        <a:cubicBezTo>
                          <a:pt x="54" y="243"/>
                          <a:pt x="67" y="268"/>
                          <a:pt x="85" y="289"/>
                        </a:cubicBezTo>
                        <a:cubicBezTo>
                          <a:pt x="83" y="294"/>
                          <a:pt x="82" y="299"/>
                          <a:pt x="82" y="304"/>
                        </a:cubicBezTo>
                        <a:cubicBezTo>
                          <a:pt x="82" y="331"/>
                          <a:pt x="104" y="352"/>
                          <a:pt x="130" y="352"/>
                        </a:cubicBezTo>
                        <a:cubicBezTo>
                          <a:pt x="156" y="352"/>
                          <a:pt x="178" y="331"/>
                          <a:pt x="178" y="304"/>
                        </a:cubicBezTo>
                        <a:cubicBezTo>
                          <a:pt x="178" y="299"/>
                          <a:pt x="177" y="294"/>
                          <a:pt x="175" y="289"/>
                        </a:cubicBezTo>
                        <a:cubicBezTo>
                          <a:pt x="193" y="268"/>
                          <a:pt x="206" y="243"/>
                          <a:pt x="215" y="220"/>
                        </a:cubicBezTo>
                        <a:cubicBezTo>
                          <a:pt x="231" y="231"/>
                          <a:pt x="244" y="249"/>
                          <a:pt x="244" y="278"/>
                        </a:cubicBezTo>
                        <a:cubicBezTo>
                          <a:pt x="244" y="402"/>
                          <a:pt x="244" y="402"/>
                          <a:pt x="244" y="402"/>
                        </a:cubicBezTo>
                        <a:cubicBezTo>
                          <a:pt x="244" y="407"/>
                          <a:pt x="248" y="410"/>
                          <a:pt x="252" y="410"/>
                        </a:cubicBezTo>
                        <a:cubicBezTo>
                          <a:pt x="257" y="410"/>
                          <a:pt x="260" y="407"/>
                          <a:pt x="260" y="402"/>
                        </a:cubicBezTo>
                        <a:cubicBezTo>
                          <a:pt x="260" y="278"/>
                          <a:pt x="260" y="278"/>
                          <a:pt x="260" y="278"/>
                        </a:cubicBezTo>
                        <a:cubicBezTo>
                          <a:pt x="260" y="240"/>
                          <a:pt x="241" y="217"/>
                          <a:pt x="220" y="205"/>
                        </a:cubicBezTo>
                        <a:close/>
                        <a:moveTo>
                          <a:pt x="47" y="171"/>
                        </a:moveTo>
                        <a:cubicBezTo>
                          <a:pt x="54" y="179"/>
                          <a:pt x="61" y="186"/>
                          <a:pt x="69" y="192"/>
                        </a:cubicBezTo>
                        <a:cubicBezTo>
                          <a:pt x="64" y="193"/>
                          <a:pt x="59" y="195"/>
                          <a:pt x="54" y="197"/>
                        </a:cubicBezTo>
                        <a:cubicBezTo>
                          <a:pt x="51" y="188"/>
                          <a:pt x="49" y="179"/>
                          <a:pt x="47" y="171"/>
                        </a:cubicBezTo>
                        <a:close/>
                        <a:moveTo>
                          <a:pt x="130" y="336"/>
                        </a:moveTo>
                        <a:cubicBezTo>
                          <a:pt x="112" y="336"/>
                          <a:pt x="98" y="322"/>
                          <a:pt x="98" y="304"/>
                        </a:cubicBezTo>
                        <a:cubicBezTo>
                          <a:pt x="98" y="287"/>
                          <a:pt x="112" y="273"/>
                          <a:pt x="130" y="273"/>
                        </a:cubicBezTo>
                        <a:cubicBezTo>
                          <a:pt x="148" y="273"/>
                          <a:pt x="162" y="287"/>
                          <a:pt x="162" y="304"/>
                        </a:cubicBezTo>
                        <a:cubicBezTo>
                          <a:pt x="162" y="322"/>
                          <a:pt x="148" y="336"/>
                          <a:pt x="130" y="336"/>
                        </a:cubicBezTo>
                        <a:close/>
                        <a:moveTo>
                          <a:pt x="167" y="274"/>
                        </a:moveTo>
                        <a:cubicBezTo>
                          <a:pt x="158" y="263"/>
                          <a:pt x="145" y="257"/>
                          <a:pt x="130" y="257"/>
                        </a:cubicBezTo>
                        <a:cubicBezTo>
                          <a:pt x="115" y="257"/>
                          <a:pt x="102" y="263"/>
                          <a:pt x="93" y="274"/>
                        </a:cubicBezTo>
                        <a:cubicBezTo>
                          <a:pt x="78" y="254"/>
                          <a:pt x="67" y="233"/>
                          <a:pt x="59" y="212"/>
                        </a:cubicBezTo>
                        <a:cubicBezTo>
                          <a:pt x="74" y="205"/>
                          <a:pt x="87" y="204"/>
                          <a:pt x="90" y="203"/>
                        </a:cubicBezTo>
                        <a:cubicBezTo>
                          <a:pt x="103" y="208"/>
                          <a:pt x="116" y="211"/>
                          <a:pt x="130" y="211"/>
                        </a:cubicBezTo>
                        <a:cubicBezTo>
                          <a:pt x="144" y="211"/>
                          <a:pt x="157" y="208"/>
                          <a:pt x="170" y="203"/>
                        </a:cubicBezTo>
                        <a:cubicBezTo>
                          <a:pt x="173" y="204"/>
                          <a:pt x="186" y="205"/>
                          <a:pt x="201" y="212"/>
                        </a:cubicBezTo>
                        <a:cubicBezTo>
                          <a:pt x="193" y="233"/>
                          <a:pt x="182" y="254"/>
                          <a:pt x="167" y="274"/>
                        </a:cubicBezTo>
                        <a:close/>
                        <a:moveTo>
                          <a:pt x="206" y="197"/>
                        </a:moveTo>
                        <a:cubicBezTo>
                          <a:pt x="201" y="195"/>
                          <a:pt x="196" y="193"/>
                          <a:pt x="191" y="192"/>
                        </a:cubicBezTo>
                        <a:cubicBezTo>
                          <a:pt x="199" y="186"/>
                          <a:pt x="206" y="179"/>
                          <a:pt x="213" y="171"/>
                        </a:cubicBezTo>
                        <a:cubicBezTo>
                          <a:pt x="211" y="179"/>
                          <a:pt x="209" y="188"/>
                          <a:pt x="206" y="197"/>
                        </a:cubicBezTo>
                        <a:close/>
                        <a:moveTo>
                          <a:pt x="130" y="284"/>
                        </a:moveTo>
                        <a:cubicBezTo>
                          <a:pt x="119" y="284"/>
                          <a:pt x="110" y="293"/>
                          <a:pt x="110" y="304"/>
                        </a:cubicBezTo>
                        <a:cubicBezTo>
                          <a:pt x="110" y="315"/>
                          <a:pt x="119" y="324"/>
                          <a:pt x="130" y="324"/>
                        </a:cubicBezTo>
                        <a:cubicBezTo>
                          <a:pt x="141" y="324"/>
                          <a:pt x="150" y="315"/>
                          <a:pt x="150" y="304"/>
                        </a:cubicBezTo>
                        <a:cubicBezTo>
                          <a:pt x="150" y="293"/>
                          <a:pt x="141" y="284"/>
                          <a:pt x="130" y="284"/>
                        </a:cubicBezTo>
                        <a:close/>
                      </a:path>
                    </a:pathLst>
                  </a:custGeom>
                  <a:solidFill>
                    <a:srgbClr val="58585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22973" name="Freeform 3"/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4752" y="1749"/>
                    <a:ext cx="168" cy="163"/>
                  </a:xfrm>
                  <a:custGeom>
                    <a:avLst/>
                    <a:gdLst>
                      <a:gd name="T0" fmla="*/ 2147483647 w 479"/>
                      <a:gd name="T1" fmla="*/ 2147483647 h 465"/>
                      <a:gd name="T2" fmla="*/ 2147483647 w 479"/>
                      <a:gd name="T3" fmla="*/ 0 h 465"/>
                      <a:gd name="T4" fmla="*/ 2147483647 w 479"/>
                      <a:gd name="T5" fmla="*/ 2147483647 h 465"/>
                      <a:gd name="T6" fmla="*/ 2147483647 w 479"/>
                      <a:gd name="T7" fmla="*/ 2147483647 h 465"/>
                      <a:gd name="T8" fmla="*/ 2147483647 w 479"/>
                      <a:gd name="T9" fmla="*/ 2147483647 h 465"/>
                      <a:gd name="T10" fmla="*/ 2147483647 w 479"/>
                      <a:gd name="T11" fmla="*/ 2147483647 h 465"/>
                      <a:gd name="T12" fmla="*/ 2147483647 w 479"/>
                      <a:gd name="T13" fmla="*/ 2147483647 h 465"/>
                      <a:gd name="T14" fmla="*/ 2147483647 w 479"/>
                      <a:gd name="T15" fmla="*/ 2147483647 h 465"/>
                      <a:gd name="T16" fmla="*/ 2147483647 w 479"/>
                      <a:gd name="T17" fmla="*/ 2147483647 h 465"/>
                      <a:gd name="T18" fmla="*/ 2147483647 w 479"/>
                      <a:gd name="T19" fmla="*/ 2147483647 h 465"/>
                      <a:gd name="T20" fmla="*/ 2147483647 w 479"/>
                      <a:gd name="T21" fmla="*/ 2147483647 h 465"/>
                      <a:gd name="T22" fmla="*/ 2147483647 w 479"/>
                      <a:gd name="T23" fmla="*/ 2147483647 h 465"/>
                      <a:gd name="T24" fmla="*/ 2147483647 w 479"/>
                      <a:gd name="T25" fmla="*/ 2147483647 h 465"/>
                      <a:gd name="T26" fmla="*/ 2147483647 w 479"/>
                      <a:gd name="T27" fmla="*/ 2147483647 h 465"/>
                      <a:gd name="T28" fmla="*/ 2147483647 w 479"/>
                      <a:gd name="T29" fmla="*/ 2147483647 h 465"/>
                      <a:gd name="T30" fmla="*/ 2147483647 w 479"/>
                      <a:gd name="T31" fmla="*/ 2147483647 h 465"/>
                      <a:gd name="T32" fmla="*/ 2147483647 w 479"/>
                      <a:gd name="T33" fmla="*/ 2147483647 h 465"/>
                      <a:gd name="T34" fmla="*/ 2147483647 w 479"/>
                      <a:gd name="T35" fmla="*/ 2147483647 h 465"/>
                      <a:gd name="T36" fmla="*/ 2147483647 w 479"/>
                      <a:gd name="T37" fmla="*/ 2147483647 h 465"/>
                      <a:gd name="T38" fmla="*/ 2147483647 w 479"/>
                      <a:gd name="T39" fmla="*/ 2147483647 h 465"/>
                      <a:gd name="T40" fmla="*/ 2147483647 w 479"/>
                      <a:gd name="T41" fmla="*/ 2147483647 h 465"/>
                      <a:gd name="T42" fmla="*/ 2147483647 w 479"/>
                      <a:gd name="T43" fmla="*/ 2147483647 h 465"/>
                      <a:gd name="T44" fmla="*/ 2147483647 w 479"/>
                      <a:gd name="T45" fmla="*/ 2147483647 h 465"/>
                      <a:gd name="T46" fmla="*/ 2147483647 w 479"/>
                      <a:gd name="T47" fmla="*/ 2147483647 h 465"/>
                      <a:gd name="T48" fmla="*/ 2147483647 w 479"/>
                      <a:gd name="T49" fmla="*/ 2147483647 h 465"/>
                      <a:gd name="T50" fmla="*/ 2147483647 w 479"/>
                      <a:gd name="T51" fmla="*/ 2147483647 h 465"/>
                      <a:gd name="T52" fmla="*/ 2147483647 w 479"/>
                      <a:gd name="T53" fmla="*/ 2147483647 h 465"/>
                      <a:gd name="T54" fmla="*/ 2147483647 w 479"/>
                      <a:gd name="T55" fmla="*/ 2147483647 h 465"/>
                      <a:gd name="T56" fmla="*/ 2147483647 w 479"/>
                      <a:gd name="T57" fmla="*/ 2147483647 h 465"/>
                      <a:gd name="T58" fmla="*/ 2147483647 w 479"/>
                      <a:gd name="T59" fmla="*/ 2147483647 h 465"/>
                      <a:gd name="T60" fmla="*/ 2147483647 w 479"/>
                      <a:gd name="T61" fmla="*/ 2147483647 h 465"/>
                      <a:gd name="T62" fmla="*/ 2147483647 w 479"/>
                      <a:gd name="T63" fmla="*/ 2147483647 h 465"/>
                      <a:gd name="T64" fmla="*/ 2147483647 w 479"/>
                      <a:gd name="T65" fmla="*/ 2147483647 h 465"/>
                      <a:gd name="T66" fmla="*/ 2147483647 w 479"/>
                      <a:gd name="T67" fmla="*/ 2147483647 h 465"/>
                      <a:gd name="T68" fmla="*/ 2147483647 w 479"/>
                      <a:gd name="T69" fmla="*/ 2147483647 h 465"/>
                      <a:gd name="T70" fmla="*/ 2147483647 w 479"/>
                      <a:gd name="T71" fmla="*/ 2147483647 h 465"/>
                      <a:gd name="T72" fmla="*/ 2147483647 w 479"/>
                      <a:gd name="T73" fmla="*/ 2147483647 h 465"/>
                      <a:gd name="T74" fmla="*/ 2147483647 w 479"/>
                      <a:gd name="T75" fmla="*/ 2147483647 h 465"/>
                      <a:gd name="T76" fmla="*/ 2147483647 w 479"/>
                      <a:gd name="T77" fmla="*/ 2147483647 h 465"/>
                      <a:gd name="T78" fmla="*/ 2147483647 w 479"/>
                      <a:gd name="T79" fmla="*/ 2147483647 h 465"/>
                      <a:gd name="T80" fmla="*/ 2147483647 w 479"/>
                      <a:gd name="T81" fmla="*/ 2147483647 h 465"/>
                      <a:gd name="T82" fmla="*/ 2147483647 w 479"/>
                      <a:gd name="T83" fmla="*/ 2147483647 h 465"/>
                      <a:gd name="T84" fmla="*/ 2147483647 w 479"/>
                      <a:gd name="T85" fmla="*/ 2147483647 h 465"/>
                      <a:gd name="T86" fmla="*/ 2147483647 w 479"/>
                      <a:gd name="T87" fmla="*/ 2147483647 h 465"/>
                      <a:gd name="T88" fmla="*/ 2147483647 w 479"/>
                      <a:gd name="T89" fmla="*/ 2147483647 h 465"/>
                      <a:gd name="T90" fmla="*/ 2147483647 w 479"/>
                      <a:gd name="T91" fmla="*/ 2147483647 h 465"/>
                      <a:gd name="T92" fmla="*/ 2147483647 w 479"/>
                      <a:gd name="T93" fmla="*/ 2147483647 h 465"/>
                      <a:gd name="T94" fmla="*/ 2147483647 w 479"/>
                      <a:gd name="T95" fmla="*/ 2147483647 h 465"/>
                      <a:gd name="T96" fmla="*/ 2147483647 w 479"/>
                      <a:gd name="T97" fmla="*/ 2147483647 h 465"/>
                      <a:gd name="T98" fmla="*/ 2147483647 w 479"/>
                      <a:gd name="T99" fmla="*/ 2147483647 h 465"/>
                      <a:gd name="T100" fmla="*/ 2147483647 w 479"/>
                      <a:gd name="T101" fmla="*/ 2147483647 h 465"/>
                      <a:gd name="T102" fmla="*/ 2147483647 w 479"/>
                      <a:gd name="T103" fmla="*/ 2147483647 h 465"/>
                      <a:gd name="T104" fmla="*/ 2147483647 w 479"/>
                      <a:gd name="T105" fmla="*/ 2147483647 h 465"/>
                      <a:gd name="T106" fmla="*/ 2147483647 w 479"/>
                      <a:gd name="T107" fmla="*/ 2147483647 h 465"/>
                      <a:gd name="T108" fmla="*/ 2147483647 w 479"/>
                      <a:gd name="T109" fmla="*/ 2147483647 h 465"/>
                      <a:gd name="T110" fmla="*/ 2147483647 w 479"/>
                      <a:gd name="T111" fmla="*/ 2147483647 h 465"/>
                      <a:gd name="T112" fmla="*/ 2147483647 w 479"/>
                      <a:gd name="T113" fmla="*/ 2147483647 h 465"/>
                      <a:gd name="T114" fmla="*/ 2147483647 w 479"/>
                      <a:gd name="T115" fmla="*/ 2147483647 h 465"/>
                      <a:gd name="T116" fmla="*/ 2147483647 w 479"/>
                      <a:gd name="T117" fmla="*/ 2147483647 h 465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</a:gdLst>
                    <a:ahLst/>
                    <a:cxnLst>
                      <a:cxn ang="T118">
                        <a:pos x="T0" y="T1"/>
                      </a:cxn>
                      <a:cxn ang="T119">
                        <a:pos x="T2" y="T3"/>
                      </a:cxn>
                      <a:cxn ang="T120">
                        <a:pos x="T4" y="T5"/>
                      </a:cxn>
                      <a:cxn ang="T121">
                        <a:pos x="T6" y="T7"/>
                      </a:cxn>
                      <a:cxn ang="T122">
                        <a:pos x="T8" y="T9"/>
                      </a:cxn>
                      <a:cxn ang="T123">
                        <a:pos x="T10" y="T11"/>
                      </a:cxn>
                      <a:cxn ang="T124">
                        <a:pos x="T12" y="T13"/>
                      </a:cxn>
                      <a:cxn ang="T125">
                        <a:pos x="T14" y="T15"/>
                      </a:cxn>
                      <a:cxn ang="T126">
                        <a:pos x="T16" y="T17"/>
                      </a:cxn>
                      <a:cxn ang="T127">
                        <a:pos x="T18" y="T19"/>
                      </a:cxn>
                      <a:cxn ang="T128">
                        <a:pos x="T20" y="T21"/>
                      </a:cxn>
                      <a:cxn ang="T129">
                        <a:pos x="T22" y="T23"/>
                      </a:cxn>
                      <a:cxn ang="T130">
                        <a:pos x="T24" y="T25"/>
                      </a:cxn>
                      <a:cxn ang="T131">
                        <a:pos x="T26" y="T27"/>
                      </a:cxn>
                      <a:cxn ang="T132">
                        <a:pos x="T28" y="T29"/>
                      </a:cxn>
                      <a:cxn ang="T133">
                        <a:pos x="T30" y="T31"/>
                      </a:cxn>
                      <a:cxn ang="T134">
                        <a:pos x="T32" y="T33"/>
                      </a:cxn>
                      <a:cxn ang="T135">
                        <a:pos x="T34" y="T35"/>
                      </a:cxn>
                      <a:cxn ang="T136">
                        <a:pos x="T36" y="T37"/>
                      </a:cxn>
                      <a:cxn ang="T137">
                        <a:pos x="T38" y="T39"/>
                      </a:cxn>
                      <a:cxn ang="T138">
                        <a:pos x="T40" y="T41"/>
                      </a:cxn>
                      <a:cxn ang="T139">
                        <a:pos x="T42" y="T43"/>
                      </a:cxn>
                      <a:cxn ang="T140">
                        <a:pos x="T44" y="T45"/>
                      </a:cxn>
                      <a:cxn ang="T141">
                        <a:pos x="T46" y="T47"/>
                      </a:cxn>
                      <a:cxn ang="T142">
                        <a:pos x="T48" y="T49"/>
                      </a:cxn>
                      <a:cxn ang="T143">
                        <a:pos x="T50" y="T51"/>
                      </a:cxn>
                      <a:cxn ang="T144">
                        <a:pos x="T52" y="T53"/>
                      </a:cxn>
                      <a:cxn ang="T145">
                        <a:pos x="T54" y="T55"/>
                      </a:cxn>
                      <a:cxn ang="T146">
                        <a:pos x="T56" y="T57"/>
                      </a:cxn>
                      <a:cxn ang="T147">
                        <a:pos x="T58" y="T59"/>
                      </a:cxn>
                      <a:cxn ang="T148">
                        <a:pos x="T60" y="T61"/>
                      </a:cxn>
                      <a:cxn ang="T149">
                        <a:pos x="T62" y="T63"/>
                      </a:cxn>
                      <a:cxn ang="T150">
                        <a:pos x="T64" y="T65"/>
                      </a:cxn>
                      <a:cxn ang="T151">
                        <a:pos x="T66" y="T67"/>
                      </a:cxn>
                      <a:cxn ang="T152">
                        <a:pos x="T68" y="T69"/>
                      </a:cxn>
                      <a:cxn ang="T153">
                        <a:pos x="T70" y="T71"/>
                      </a:cxn>
                      <a:cxn ang="T154">
                        <a:pos x="T72" y="T73"/>
                      </a:cxn>
                      <a:cxn ang="T155">
                        <a:pos x="T74" y="T75"/>
                      </a:cxn>
                      <a:cxn ang="T156">
                        <a:pos x="T76" y="T77"/>
                      </a:cxn>
                      <a:cxn ang="T157">
                        <a:pos x="T78" y="T79"/>
                      </a:cxn>
                      <a:cxn ang="T158">
                        <a:pos x="T80" y="T81"/>
                      </a:cxn>
                      <a:cxn ang="T159">
                        <a:pos x="T82" y="T83"/>
                      </a:cxn>
                      <a:cxn ang="T160">
                        <a:pos x="T84" y="T85"/>
                      </a:cxn>
                      <a:cxn ang="T161">
                        <a:pos x="T86" y="T87"/>
                      </a:cxn>
                      <a:cxn ang="T162">
                        <a:pos x="T88" y="T89"/>
                      </a:cxn>
                      <a:cxn ang="T163">
                        <a:pos x="T90" y="T91"/>
                      </a:cxn>
                      <a:cxn ang="T164">
                        <a:pos x="T92" y="T93"/>
                      </a:cxn>
                      <a:cxn ang="T165">
                        <a:pos x="T94" y="T95"/>
                      </a:cxn>
                      <a:cxn ang="T166">
                        <a:pos x="T96" y="T97"/>
                      </a:cxn>
                      <a:cxn ang="T167">
                        <a:pos x="T98" y="T99"/>
                      </a:cxn>
                      <a:cxn ang="T168">
                        <a:pos x="T100" y="T101"/>
                      </a:cxn>
                      <a:cxn ang="T169">
                        <a:pos x="T102" y="T103"/>
                      </a:cxn>
                      <a:cxn ang="T170">
                        <a:pos x="T104" y="T105"/>
                      </a:cxn>
                      <a:cxn ang="T171">
                        <a:pos x="T106" y="T107"/>
                      </a:cxn>
                      <a:cxn ang="T172">
                        <a:pos x="T108" y="T109"/>
                      </a:cxn>
                      <a:cxn ang="T173">
                        <a:pos x="T110" y="T111"/>
                      </a:cxn>
                      <a:cxn ang="T174">
                        <a:pos x="T112" y="T113"/>
                      </a:cxn>
                      <a:cxn ang="T175">
                        <a:pos x="T114" y="T115"/>
                      </a:cxn>
                      <a:cxn ang="T176">
                        <a:pos x="T116" y="T117"/>
                      </a:cxn>
                    </a:cxnLst>
                    <a:rect l="0" t="0" r="r" b="b"/>
                    <a:pathLst>
                      <a:path w="479" h="465">
                        <a:moveTo>
                          <a:pt x="316" y="16"/>
                        </a:moveTo>
                        <a:cubicBezTo>
                          <a:pt x="316" y="16"/>
                          <a:pt x="316" y="16"/>
                          <a:pt x="316" y="16"/>
                        </a:cubicBezTo>
                        <a:cubicBezTo>
                          <a:pt x="382" y="17"/>
                          <a:pt x="436" y="70"/>
                          <a:pt x="436" y="137"/>
                        </a:cubicBezTo>
                        <a:cubicBezTo>
                          <a:pt x="436" y="141"/>
                          <a:pt x="440" y="145"/>
                          <a:pt x="444" y="145"/>
                        </a:cubicBezTo>
                        <a:cubicBezTo>
                          <a:pt x="448" y="145"/>
                          <a:pt x="452" y="141"/>
                          <a:pt x="452" y="137"/>
                        </a:cubicBezTo>
                        <a:cubicBezTo>
                          <a:pt x="452" y="62"/>
                          <a:pt x="391" y="0"/>
                          <a:pt x="316" y="0"/>
                        </a:cubicBezTo>
                        <a:cubicBezTo>
                          <a:pt x="311" y="0"/>
                          <a:pt x="308" y="4"/>
                          <a:pt x="308" y="8"/>
                        </a:cubicBezTo>
                        <a:cubicBezTo>
                          <a:pt x="308" y="13"/>
                          <a:pt x="311" y="16"/>
                          <a:pt x="316" y="16"/>
                        </a:cubicBezTo>
                        <a:close/>
                        <a:moveTo>
                          <a:pt x="316" y="93"/>
                        </a:moveTo>
                        <a:cubicBezTo>
                          <a:pt x="316" y="93"/>
                          <a:pt x="316" y="93"/>
                          <a:pt x="316" y="93"/>
                        </a:cubicBezTo>
                        <a:cubicBezTo>
                          <a:pt x="340" y="93"/>
                          <a:pt x="359" y="113"/>
                          <a:pt x="359" y="137"/>
                        </a:cubicBezTo>
                        <a:cubicBezTo>
                          <a:pt x="359" y="141"/>
                          <a:pt x="363" y="145"/>
                          <a:pt x="367" y="145"/>
                        </a:cubicBezTo>
                        <a:cubicBezTo>
                          <a:pt x="371" y="145"/>
                          <a:pt x="375" y="141"/>
                          <a:pt x="375" y="137"/>
                        </a:cubicBezTo>
                        <a:cubicBezTo>
                          <a:pt x="375" y="104"/>
                          <a:pt x="348" y="77"/>
                          <a:pt x="316" y="77"/>
                        </a:cubicBezTo>
                        <a:cubicBezTo>
                          <a:pt x="311" y="77"/>
                          <a:pt x="308" y="81"/>
                          <a:pt x="308" y="85"/>
                        </a:cubicBezTo>
                        <a:cubicBezTo>
                          <a:pt x="308" y="90"/>
                          <a:pt x="311" y="93"/>
                          <a:pt x="316" y="93"/>
                        </a:cubicBezTo>
                        <a:close/>
                        <a:moveTo>
                          <a:pt x="316" y="55"/>
                        </a:moveTo>
                        <a:cubicBezTo>
                          <a:pt x="316" y="55"/>
                          <a:pt x="316" y="55"/>
                          <a:pt x="316" y="55"/>
                        </a:cubicBezTo>
                        <a:cubicBezTo>
                          <a:pt x="361" y="55"/>
                          <a:pt x="397" y="92"/>
                          <a:pt x="398" y="137"/>
                        </a:cubicBezTo>
                        <a:cubicBezTo>
                          <a:pt x="398" y="141"/>
                          <a:pt x="401" y="145"/>
                          <a:pt x="406" y="145"/>
                        </a:cubicBezTo>
                        <a:cubicBezTo>
                          <a:pt x="410" y="145"/>
                          <a:pt x="414" y="141"/>
                          <a:pt x="414" y="137"/>
                        </a:cubicBezTo>
                        <a:cubicBezTo>
                          <a:pt x="414" y="83"/>
                          <a:pt x="370" y="39"/>
                          <a:pt x="316" y="39"/>
                        </a:cubicBezTo>
                        <a:cubicBezTo>
                          <a:pt x="311" y="39"/>
                          <a:pt x="308" y="43"/>
                          <a:pt x="308" y="47"/>
                        </a:cubicBezTo>
                        <a:cubicBezTo>
                          <a:pt x="308" y="51"/>
                          <a:pt x="311" y="55"/>
                          <a:pt x="316" y="55"/>
                        </a:cubicBezTo>
                        <a:close/>
                        <a:moveTo>
                          <a:pt x="119" y="222"/>
                        </a:moveTo>
                        <a:cubicBezTo>
                          <a:pt x="119" y="258"/>
                          <a:pt x="148" y="287"/>
                          <a:pt x="184" y="287"/>
                        </a:cubicBezTo>
                        <a:cubicBezTo>
                          <a:pt x="221" y="287"/>
                          <a:pt x="250" y="258"/>
                          <a:pt x="250" y="222"/>
                        </a:cubicBezTo>
                        <a:cubicBezTo>
                          <a:pt x="250" y="185"/>
                          <a:pt x="221" y="156"/>
                          <a:pt x="184" y="156"/>
                        </a:cubicBezTo>
                        <a:cubicBezTo>
                          <a:pt x="148" y="156"/>
                          <a:pt x="119" y="185"/>
                          <a:pt x="119" y="222"/>
                        </a:cubicBezTo>
                        <a:close/>
                        <a:moveTo>
                          <a:pt x="201" y="186"/>
                        </a:moveTo>
                        <a:cubicBezTo>
                          <a:pt x="201" y="205"/>
                          <a:pt x="201" y="205"/>
                          <a:pt x="201" y="205"/>
                        </a:cubicBezTo>
                        <a:cubicBezTo>
                          <a:pt x="220" y="205"/>
                          <a:pt x="220" y="205"/>
                          <a:pt x="220" y="205"/>
                        </a:cubicBezTo>
                        <a:cubicBezTo>
                          <a:pt x="225" y="205"/>
                          <a:pt x="230" y="210"/>
                          <a:pt x="230" y="215"/>
                        </a:cubicBezTo>
                        <a:cubicBezTo>
                          <a:pt x="230" y="228"/>
                          <a:pt x="230" y="228"/>
                          <a:pt x="230" y="228"/>
                        </a:cubicBezTo>
                        <a:cubicBezTo>
                          <a:pt x="230" y="234"/>
                          <a:pt x="225" y="238"/>
                          <a:pt x="220" y="238"/>
                        </a:cubicBezTo>
                        <a:cubicBezTo>
                          <a:pt x="201" y="238"/>
                          <a:pt x="201" y="238"/>
                          <a:pt x="201" y="238"/>
                        </a:cubicBezTo>
                        <a:cubicBezTo>
                          <a:pt x="201" y="257"/>
                          <a:pt x="201" y="257"/>
                          <a:pt x="201" y="257"/>
                        </a:cubicBezTo>
                        <a:cubicBezTo>
                          <a:pt x="201" y="263"/>
                          <a:pt x="196" y="267"/>
                          <a:pt x="191" y="267"/>
                        </a:cubicBezTo>
                        <a:cubicBezTo>
                          <a:pt x="178" y="267"/>
                          <a:pt x="178" y="267"/>
                          <a:pt x="178" y="267"/>
                        </a:cubicBezTo>
                        <a:cubicBezTo>
                          <a:pt x="172" y="267"/>
                          <a:pt x="168" y="263"/>
                          <a:pt x="168" y="257"/>
                        </a:cubicBezTo>
                        <a:cubicBezTo>
                          <a:pt x="168" y="238"/>
                          <a:pt x="168" y="238"/>
                          <a:pt x="168" y="238"/>
                        </a:cubicBezTo>
                        <a:cubicBezTo>
                          <a:pt x="149" y="238"/>
                          <a:pt x="149" y="238"/>
                          <a:pt x="149" y="238"/>
                        </a:cubicBezTo>
                        <a:cubicBezTo>
                          <a:pt x="143" y="238"/>
                          <a:pt x="139" y="234"/>
                          <a:pt x="139" y="228"/>
                        </a:cubicBezTo>
                        <a:cubicBezTo>
                          <a:pt x="139" y="215"/>
                          <a:pt x="139" y="215"/>
                          <a:pt x="139" y="215"/>
                        </a:cubicBezTo>
                        <a:cubicBezTo>
                          <a:pt x="139" y="210"/>
                          <a:pt x="143" y="205"/>
                          <a:pt x="149" y="205"/>
                        </a:cubicBezTo>
                        <a:cubicBezTo>
                          <a:pt x="168" y="205"/>
                          <a:pt x="168" y="205"/>
                          <a:pt x="168" y="205"/>
                        </a:cubicBezTo>
                        <a:cubicBezTo>
                          <a:pt x="168" y="186"/>
                          <a:pt x="168" y="186"/>
                          <a:pt x="168" y="186"/>
                        </a:cubicBezTo>
                        <a:cubicBezTo>
                          <a:pt x="168" y="181"/>
                          <a:pt x="172" y="176"/>
                          <a:pt x="178" y="176"/>
                        </a:cubicBezTo>
                        <a:cubicBezTo>
                          <a:pt x="191" y="176"/>
                          <a:pt x="191" y="176"/>
                          <a:pt x="191" y="176"/>
                        </a:cubicBezTo>
                        <a:cubicBezTo>
                          <a:pt x="196" y="176"/>
                          <a:pt x="201" y="181"/>
                          <a:pt x="201" y="186"/>
                        </a:cubicBezTo>
                        <a:close/>
                        <a:moveTo>
                          <a:pt x="468" y="372"/>
                        </a:moveTo>
                        <a:cubicBezTo>
                          <a:pt x="462" y="364"/>
                          <a:pt x="451" y="359"/>
                          <a:pt x="440" y="359"/>
                        </a:cubicBezTo>
                        <a:cubicBezTo>
                          <a:pt x="433" y="359"/>
                          <a:pt x="427" y="361"/>
                          <a:pt x="420" y="364"/>
                        </a:cubicBezTo>
                        <a:cubicBezTo>
                          <a:pt x="414" y="366"/>
                          <a:pt x="409" y="368"/>
                          <a:pt x="404" y="370"/>
                        </a:cubicBezTo>
                        <a:cubicBezTo>
                          <a:pt x="450" y="322"/>
                          <a:pt x="450" y="322"/>
                          <a:pt x="450" y="322"/>
                        </a:cubicBezTo>
                        <a:cubicBezTo>
                          <a:pt x="452" y="319"/>
                          <a:pt x="452" y="314"/>
                          <a:pt x="450" y="311"/>
                        </a:cubicBezTo>
                        <a:cubicBezTo>
                          <a:pt x="448" y="308"/>
                          <a:pt x="443" y="307"/>
                          <a:pt x="440" y="309"/>
                        </a:cubicBezTo>
                        <a:cubicBezTo>
                          <a:pt x="400" y="330"/>
                          <a:pt x="400" y="330"/>
                          <a:pt x="400" y="330"/>
                        </a:cubicBezTo>
                        <a:cubicBezTo>
                          <a:pt x="413" y="311"/>
                          <a:pt x="413" y="311"/>
                          <a:pt x="413" y="311"/>
                        </a:cubicBezTo>
                        <a:cubicBezTo>
                          <a:pt x="415" y="308"/>
                          <a:pt x="415" y="304"/>
                          <a:pt x="412" y="301"/>
                        </a:cubicBezTo>
                        <a:cubicBezTo>
                          <a:pt x="410" y="298"/>
                          <a:pt x="406" y="297"/>
                          <a:pt x="403" y="299"/>
                        </a:cubicBezTo>
                        <a:cubicBezTo>
                          <a:pt x="355" y="320"/>
                          <a:pt x="355" y="320"/>
                          <a:pt x="355" y="320"/>
                        </a:cubicBezTo>
                        <a:cubicBezTo>
                          <a:pt x="400" y="276"/>
                          <a:pt x="400" y="276"/>
                          <a:pt x="400" y="276"/>
                        </a:cubicBezTo>
                        <a:cubicBezTo>
                          <a:pt x="403" y="273"/>
                          <a:pt x="403" y="269"/>
                          <a:pt x="401" y="265"/>
                        </a:cubicBezTo>
                        <a:cubicBezTo>
                          <a:pt x="399" y="262"/>
                          <a:pt x="394" y="261"/>
                          <a:pt x="391" y="263"/>
                        </a:cubicBezTo>
                        <a:cubicBezTo>
                          <a:pt x="345" y="285"/>
                          <a:pt x="345" y="285"/>
                          <a:pt x="345" y="285"/>
                        </a:cubicBezTo>
                        <a:cubicBezTo>
                          <a:pt x="332" y="273"/>
                          <a:pt x="323" y="268"/>
                          <a:pt x="317" y="266"/>
                        </a:cubicBezTo>
                        <a:cubicBezTo>
                          <a:pt x="317" y="197"/>
                          <a:pt x="317" y="197"/>
                          <a:pt x="317" y="197"/>
                        </a:cubicBezTo>
                        <a:cubicBezTo>
                          <a:pt x="317" y="193"/>
                          <a:pt x="313" y="189"/>
                          <a:pt x="309" y="189"/>
                        </a:cubicBezTo>
                        <a:cubicBezTo>
                          <a:pt x="305" y="189"/>
                          <a:pt x="301" y="193"/>
                          <a:pt x="301" y="197"/>
                        </a:cubicBezTo>
                        <a:cubicBezTo>
                          <a:pt x="301" y="197"/>
                          <a:pt x="301" y="197"/>
                          <a:pt x="301" y="197"/>
                        </a:cubicBezTo>
                        <a:cubicBezTo>
                          <a:pt x="301" y="298"/>
                          <a:pt x="301" y="298"/>
                          <a:pt x="301" y="298"/>
                        </a:cubicBezTo>
                        <a:cubicBezTo>
                          <a:pt x="301" y="300"/>
                          <a:pt x="300" y="301"/>
                          <a:pt x="298" y="301"/>
                        </a:cubicBezTo>
                        <a:cubicBezTo>
                          <a:pt x="70" y="301"/>
                          <a:pt x="70" y="301"/>
                          <a:pt x="70" y="301"/>
                        </a:cubicBezTo>
                        <a:cubicBezTo>
                          <a:pt x="69" y="301"/>
                          <a:pt x="68" y="300"/>
                          <a:pt x="68" y="298"/>
                        </a:cubicBezTo>
                        <a:cubicBezTo>
                          <a:pt x="68" y="145"/>
                          <a:pt x="68" y="145"/>
                          <a:pt x="68" y="145"/>
                        </a:cubicBezTo>
                        <a:cubicBezTo>
                          <a:pt x="68" y="144"/>
                          <a:pt x="69" y="142"/>
                          <a:pt x="70" y="142"/>
                        </a:cubicBezTo>
                        <a:cubicBezTo>
                          <a:pt x="298" y="142"/>
                          <a:pt x="298" y="142"/>
                          <a:pt x="298" y="142"/>
                        </a:cubicBezTo>
                        <a:cubicBezTo>
                          <a:pt x="300" y="142"/>
                          <a:pt x="301" y="144"/>
                          <a:pt x="301" y="145"/>
                        </a:cubicBezTo>
                        <a:cubicBezTo>
                          <a:pt x="301" y="165"/>
                          <a:pt x="301" y="165"/>
                          <a:pt x="301" y="165"/>
                        </a:cubicBezTo>
                        <a:cubicBezTo>
                          <a:pt x="301" y="169"/>
                          <a:pt x="305" y="173"/>
                          <a:pt x="309" y="173"/>
                        </a:cubicBezTo>
                        <a:cubicBezTo>
                          <a:pt x="313" y="173"/>
                          <a:pt x="317" y="169"/>
                          <a:pt x="317" y="165"/>
                        </a:cubicBezTo>
                        <a:cubicBezTo>
                          <a:pt x="317" y="145"/>
                          <a:pt x="317" y="145"/>
                          <a:pt x="317" y="145"/>
                        </a:cubicBezTo>
                        <a:cubicBezTo>
                          <a:pt x="317" y="135"/>
                          <a:pt x="309" y="126"/>
                          <a:pt x="298" y="126"/>
                        </a:cubicBezTo>
                        <a:cubicBezTo>
                          <a:pt x="235" y="126"/>
                          <a:pt x="235" y="126"/>
                          <a:pt x="235" y="126"/>
                        </a:cubicBezTo>
                        <a:cubicBezTo>
                          <a:pt x="235" y="120"/>
                          <a:pt x="235" y="120"/>
                          <a:pt x="235" y="120"/>
                        </a:cubicBezTo>
                        <a:cubicBezTo>
                          <a:pt x="235" y="110"/>
                          <a:pt x="227" y="102"/>
                          <a:pt x="217" y="102"/>
                        </a:cubicBezTo>
                        <a:cubicBezTo>
                          <a:pt x="151" y="102"/>
                          <a:pt x="151" y="102"/>
                          <a:pt x="151" y="102"/>
                        </a:cubicBezTo>
                        <a:cubicBezTo>
                          <a:pt x="142" y="102"/>
                          <a:pt x="133" y="110"/>
                          <a:pt x="133" y="120"/>
                        </a:cubicBezTo>
                        <a:cubicBezTo>
                          <a:pt x="133" y="126"/>
                          <a:pt x="133" y="126"/>
                          <a:pt x="133" y="126"/>
                        </a:cubicBezTo>
                        <a:cubicBezTo>
                          <a:pt x="70" y="126"/>
                          <a:pt x="70" y="126"/>
                          <a:pt x="70" y="126"/>
                        </a:cubicBezTo>
                        <a:cubicBezTo>
                          <a:pt x="60" y="126"/>
                          <a:pt x="52" y="135"/>
                          <a:pt x="52" y="145"/>
                        </a:cubicBezTo>
                        <a:cubicBezTo>
                          <a:pt x="52" y="298"/>
                          <a:pt x="52" y="298"/>
                          <a:pt x="52" y="298"/>
                        </a:cubicBezTo>
                        <a:cubicBezTo>
                          <a:pt x="52" y="309"/>
                          <a:pt x="60" y="317"/>
                          <a:pt x="70" y="317"/>
                        </a:cubicBezTo>
                        <a:cubicBezTo>
                          <a:pt x="298" y="317"/>
                          <a:pt x="298" y="317"/>
                          <a:pt x="298" y="317"/>
                        </a:cubicBezTo>
                        <a:cubicBezTo>
                          <a:pt x="309" y="317"/>
                          <a:pt x="317" y="309"/>
                          <a:pt x="317" y="298"/>
                        </a:cubicBezTo>
                        <a:cubicBezTo>
                          <a:pt x="317" y="283"/>
                          <a:pt x="317" y="283"/>
                          <a:pt x="317" y="283"/>
                        </a:cubicBezTo>
                        <a:cubicBezTo>
                          <a:pt x="322" y="286"/>
                          <a:pt x="328" y="291"/>
                          <a:pt x="337" y="300"/>
                        </a:cubicBezTo>
                        <a:cubicBezTo>
                          <a:pt x="340" y="302"/>
                          <a:pt x="343" y="303"/>
                          <a:pt x="346" y="301"/>
                        </a:cubicBezTo>
                        <a:cubicBezTo>
                          <a:pt x="356" y="297"/>
                          <a:pt x="356" y="297"/>
                          <a:pt x="356" y="297"/>
                        </a:cubicBezTo>
                        <a:cubicBezTo>
                          <a:pt x="313" y="340"/>
                          <a:pt x="313" y="340"/>
                          <a:pt x="313" y="340"/>
                        </a:cubicBezTo>
                        <a:cubicBezTo>
                          <a:pt x="311" y="342"/>
                          <a:pt x="310" y="347"/>
                          <a:pt x="312" y="350"/>
                        </a:cubicBezTo>
                        <a:cubicBezTo>
                          <a:pt x="315" y="353"/>
                          <a:pt x="319" y="354"/>
                          <a:pt x="322" y="353"/>
                        </a:cubicBezTo>
                        <a:cubicBezTo>
                          <a:pt x="383" y="325"/>
                          <a:pt x="383" y="325"/>
                          <a:pt x="383" y="325"/>
                        </a:cubicBezTo>
                        <a:cubicBezTo>
                          <a:pt x="368" y="347"/>
                          <a:pt x="368" y="347"/>
                          <a:pt x="368" y="347"/>
                        </a:cubicBezTo>
                        <a:cubicBezTo>
                          <a:pt x="366" y="350"/>
                          <a:pt x="366" y="354"/>
                          <a:pt x="369" y="357"/>
                        </a:cubicBezTo>
                        <a:cubicBezTo>
                          <a:pt x="371" y="360"/>
                          <a:pt x="375" y="360"/>
                          <a:pt x="378" y="359"/>
                        </a:cubicBezTo>
                        <a:cubicBezTo>
                          <a:pt x="407" y="344"/>
                          <a:pt x="407" y="344"/>
                          <a:pt x="407" y="344"/>
                        </a:cubicBezTo>
                        <a:cubicBezTo>
                          <a:pt x="369" y="385"/>
                          <a:pt x="369" y="385"/>
                          <a:pt x="369" y="385"/>
                        </a:cubicBezTo>
                        <a:cubicBezTo>
                          <a:pt x="367" y="387"/>
                          <a:pt x="366" y="390"/>
                          <a:pt x="367" y="393"/>
                        </a:cubicBezTo>
                        <a:cubicBezTo>
                          <a:pt x="369" y="396"/>
                          <a:pt x="372" y="398"/>
                          <a:pt x="375" y="398"/>
                        </a:cubicBezTo>
                        <a:cubicBezTo>
                          <a:pt x="375" y="398"/>
                          <a:pt x="375" y="398"/>
                          <a:pt x="375" y="398"/>
                        </a:cubicBezTo>
                        <a:cubicBezTo>
                          <a:pt x="377" y="398"/>
                          <a:pt x="377" y="398"/>
                          <a:pt x="379" y="397"/>
                        </a:cubicBezTo>
                        <a:cubicBezTo>
                          <a:pt x="382" y="396"/>
                          <a:pt x="392" y="393"/>
                          <a:pt x="426" y="379"/>
                        </a:cubicBezTo>
                        <a:cubicBezTo>
                          <a:pt x="431" y="376"/>
                          <a:pt x="436" y="375"/>
                          <a:pt x="440" y="375"/>
                        </a:cubicBezTo>
                        <a:cubicBezTo>
                          <a:pt x="454" y="375"/>
                          <a:pt x="462" y="387"/>
                          <a:pt x="462" y="399"/>
                        </a:cubicBezTo>
                        <a:cubicBezTo>
                          <a:pt x="462" y="409"/>
                          <a:pt x="458" y="419"/>
                          <a:pt x="445" y="424"/>
                        </a:cubicBezTo>
                        <a:cubicBezTo>
                          <a:pt x="412" y="438"/>
                          <a:pt x="389" y="448"/>
                          <a:pt x="358" y="448"/>
                        </a:cubicBezTo>
                        <a:cubicBezTo>
                          <a:pt x="350" y="448"/>
                          <a:pt x="341" y="447"/>
                          <a:pt x="332" y="446"/>
                        </a:cubicBezTo>
                        <a:cubicBezTo>
                          <a:pt x="309" y="442"/>
                          <a:pt x="293" y="430"/>
                          <a:pt x="276" y="418"/>
                        </a:cubicBezTo>
                        <a:cubicBezTo>
                          <a:pt x="260" y="407"/>
                          <a:pt x="244" y="396"/>
                          <a:pt x="222" y="394"/>
                        </a:cubicBezTo>
                        <a:cubicBezTo>
                          <a:pt x="222" y="367"/>
                          <a:pt x="222" y="367"/>
                          <a:pt x="222" y="367"/>
                        </a:cubicBezTo>
                        <a:cubicBezTo>
                          <a:pt x="222" y="354"/>
                          <a:pt x="211" y="343"/>
                          <a:pt x="198" y="343"/>
                        </a:cubicBezTo>
                        <a:cubicBezTo>
                          <a:pt x="76" y="343"/>
                          <a:pt x="76" y="343"/>
                          <a:pt x="76" y="343"/>
                        </a:cubicBezTo>
                        <a:cubicBezTo>
                          <a:pt x="65" y="343"/>
                          <a:pt x="56" y="350"/>
                          <a:pt x="53" y="359"/>
                        </a:cubicBezTo>
                        <a:cubicBezTo>
                          <a:pt x="16" y="359"/>
                          <a:pt x="16" y="359"/>
                          <a:pt x="16" y="359"/>
                        </a:cubicBezTo>
                        <a:cubicBezTo>
                          <a:pt x="7" y="359"/>
                          <a:pt x="0" y="366"/>
                          <a:pt x="0" y="375"/>
                        </a:cubicBezTo>
                        <a:cubicBezTo>
                          <a:pt x="0" y="433"/>
                          <a:pt x="0" y="433"/>
                          <a:pt x="0" y="433"/>
                        </a:cubicBezTo>
                        <a:cubicBezTo>
                          <a:pt x="0" y="442"/>
                          <a:pt x="7" y="449"/>
                          <a:pt x="16" y="449"/>
                        </a:cubicBezTo>
                        <a:cubicBezTo>
                          <a:pt x="53" y="449"/>
                          <a:pt x="53" y="449"/>
                          <a:pt x="53" y="449"/>
                        </a:cubicBezTo>
                        <a:cubicBezTo>
                          <a:pt x="56" y="458"/>
                          <a:pt x="65" y="465"/>
                          <a:pt x="76" y="465"/>
                        </a:cubicBezTo>
                        <a:cubicBezTo>
                          <a:pt x="198" y="465"/>
                          <a:pt x="198" y="465"/>
                          <a:pt x="198" y="465"/>
                        </a:cubicBezTo>
                        <a:cubicBezTo>
                          <a:pt x="211" y="465"/>
                          <a:pt x="222" y="454"/>
                          <a:pt x="222" y="441"/>
                        </a:cubicBezTo>
                        <a:cubicBezTo>
                          <a:pt x="222" y="410"/>
                          <a:pt x="222" y="410"/>
                          <a:pt x="222" y="410"/>
                        </a:cubicBezTo>
                        <a:cubicBezTo>
                          <a:pt x="238" y="412"/>
                          <a:pt x="252" y="421"/>
                          <a:pt x="267" y="431"/>
                        </a:cubicBezTo>
                        <a:cubicBezTo>
                          <a:pt x="284" y="443"/>
                          <a:pt x="302" y="457"/>
                          <a:pt x="329" y="462"/>
                        </a:cubicBezTo>
                        <a:cubicBezTo>
                          <a:pt x="340" y="463"/>
                          <a:pt x="349" y="464"/>
                          <a:pt x="358" y="464"/>
                        </a:cubicBezTo>
                        <a:cubicBezTo>
                          <a:pt x="358" y="464"/>
                          <a:pt x="358" y="464"/>
                          <a:pt x="358" y="464"/>
                        </a:cubicBezTo>
                        <a:cubicBezTo>
                          <a:pt x="393" y="464"/>
                          <a:pt x="419" y="453"/>
                          <a:pt x="451" y="439"/>
                        </a:cubicBezTo>
                        <a:cubicBezTo>
                          <a:pt x="470" y="431"/>
                          <a:pt x="479" y="415"/>
                          <a:pt x="478" y="399"/>
                        </a:cubicBezTo>
                        <a:cubicBezTo>
                          <a:pt x="478" y="389"/>
                          <a:pt x="475" y="380"/>
                          <a:pt x="468" y="372"/>
                        </a:cubicBezTo>
                        <a:close/>
                        <a:moveTo>
                          <a:pt x="149" y="120"/>
                        </a:moveTo>
                        <a:cubicBezTo>
                          <a:pt x="149" y="119"/>
                          <a:pt x="150" y="118"/>
                          <a:pt x="151" y="118"/>
                        </a:cubicBezTo>
                        <a:cubicBezTo>
                          <a:pt x="217" y="118"/>
                          <a:pt x="217" y="118"/>
                          <a:pt x="217" y="118"/>
                        </a:cubicBezTo>
                        <a:cubicBezTo>
                          <a:pt x="218" y="118"/>
                          <a:pt x="219" y="119"/>
                          <a:pt x="219" y="120"/>
                        </a:cubicBezTo>
                        <a:cubicBezTo>
                          <a:pt x="219" y="126"/>
                          <a:pt x="219" y="126"/>
                          <a:pt x="219" y="126"/>
                        </a:cubicBezTo>
                        <a:cubicBezTo>
                          <a:pt x="149" y="126"/>
                          <a:pt x="149" y="126"/>
                          <a:pt x="149" y="126"/>
                        </a:cubicBezTo>
                        <a:lnTo>
                          <a:pt x="149" y="120"/>
                        </a:lnTo>
                        <a:close/>
                        <a:moveTo>
                          <a:pt x="50" y="432"/>
                        </a:moveTo>
                        <a:cubicBezTo>
                          <a:pt x="50" y="435"/>
                          <a:pt x="48" y="437"/>
                          <a:pt x="45" y="437"/>
                        </a:cubicBezTo>
                        <a:cubicBezTo>
                          <a:pt x="32" y="437"/>
                          <a:pt x="32" y="437"/>
                          <a:pt x="32" y="437"/>
                        </a:cubicBezTo>
                        <a:cubicBezTo>
                          <a:pt x="29" y="437"/>
                          <a:pt x="27" y="435"/>
                          <a:pt x="27" y="432"/>
                        </a:cubicBezTo>
                        <a:cubicBezTo>
                          <a:pt x="27" y="417"/>
                          <a:pt x="27" y="417"/>
                          <a:pt x="27" y="417"/>
                        </a:cubicBezTo>
                        <a:cubicBezTo>
                          <a:pt x="27" y="415"/>
                          <a:pt x="29" y="412"/>
                          <a:pt x="32" y="412"/>
                        </a:cubicBezTo>
                        <a:cubicBezTo>
                          <a:pt x="45" y="412"/>
                          <a:pt x="45" y="412"/>
                          <a:pt x="45" y="412"/>
                        </a:cubicBezTo>
                        <a:cubicBezTo>
                          <a:pt x="48" y="412"/>
                          <a:pt x="50" y="415"/>
                          <a:pt x="50" y="417"/>
                        </a:cubicBezTo>
                        <a:lnTo>
                          <a:pt x="50" y="432"/>
                        </a:lnTo>
                        <a:close/>
                        <a:moveTo>
                          <a:pt x="50" y="391"/>
                        </a:moveTo>
                        <a:cubicBezTo>
                          <a:pt x="50" y="394"/>
                          <a:pt x="48" y="396"/>
                          <a:pt x="45" y="396"/>
                        </a:cubicBezTo>
                        <a:cubicBezTo>
                          <a:pt x="32" y="396"/>
                          <a:pt x="32" y="396"/>
                          <a:pt x="32" y="396"/>
                        </a:cubicBezTo>
                        <a:cubicBezTo>
                          <a:pt x="29" y="396"/>
                          <a:pt x="27" y="394"/>
                          <a:pt x="27" y="391"/>
                        </a:cubicBezTo>
                        <a:cubicBezTo>
                          <a:pt x="27" y="376"/>
                          <a:pt x="27" y="376"/>
                          <a:pt x="27" y="376"/>
                        </a:cubicBezTo>
                        <a:cubicBezTo>
                          <a:pt x="27" y="374"/>
                          <a:pt x="29" y="372"/>
                          <a:pt x="32" y="372"/>
                        </a:cubicBezTo>
                        <a:cubicBezTo>
                          <a:pt x="45" y="372"/>
                          <a:pt x="45" y="372"/>
                          <a:pt x="45" y="372"/>
                        </a:cubicBezTo>
                        <a:cubicBezTo>
                          <a:pt x="48" y="372"/>
                          <a:pt x="50" y="374"/>
                          <a:pt x="50" y="376"/>
                        </a:cubicBezTo>
                        <a:lnTo>
                          <a:pt x="50" y="391"/>
                        </a:lnTo>
                        <a:close/>
                        <a:moveTo>
                          <a:pt x="206" y="401"/>
                        </a:moveTo>
                        <a:cubicBezTo>
                          <a:pt x="206" y="401"/>
                          <a:pt x="206" y="401"/>
                          <a:pt x="206" y="401"/>
                        </a:cubicBezTo>
                        <a:cubicBezTo>
                          <a:pt x="206" y="401"/>
                          <a:pt x="206" y="401"/>
                          <a:pt x="206" y="401"/>
                        </a:cubicBezTo>
                        <a:cubicBezTo>
                          <a:pt x="206" y="441"/>
                          <a:pt x="206" y="441"/>
                          <a:pt x="206" y="441"/>
                        </a:cubicBezTo>
                        <a:cubicBezTo>
                          <a:pt x="206" y="446"/>
                          <a:pt x="202" y="449"/>
                          <a:pt x="198" y="449"/>
                        </a:cubicBezTo>
                        <a:cubicBezTo>
                          <a:pt x="76" y="449"/>
                          <a:pt x="76" y="449"/>
                          <a:pt x="76" y="449"/>
                        </a:cubicBezTo>
                        <a:cubicBezTo>
                          <a:pt x="71" y="449"/>
                          <a:pt x="68" y="446"/>
                          <a:pt x="68" y="441"/>
                        </a:cubicBezTo>
                        <a:cubicBezTo>
                          <a:pt x="68" y="367"/>
                          <a:pt x="68" y="367"/>
                          <a:pt x="68" y="367"/>
                        </a:cubicBezTo>
                        <a:cubicBezTo>
                          <a:pt x="68" y="363"/>
                          <a:pt x="71" y="359"/>
                          <a:pt x="76" y="359"/>
                        </a:cubicBezTo>
                        <a:cubicBezTo>
                          <a:pt x="198" y="359"/>
                          <a:pt x="198" y="359"/>
                          <a:pt x="198" y="359"/>
                        </a:cubicBezTo>
                        <a:cubicBezTo>
                          <a:pt x="202" y="359"/>
                          <a:pt x="206" y="363"/>
                          <a:pt x="206" y="367"/>
                        </a:cubicBezTo>
                        <a:lnTo>
                          <a:pt x="206" y="401"/>
                        </a:lnTo>
                        <a:close/>
                      </a:path>
                    </a:pathLst>
                  </a:custGeom>
                  <a:solidFill>
                    <a:srgbClr val="58585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</p:grpSp>
        </p:grpSp>
      </p:grpSp>
      <p:sp>
        <p:nvSpPr>
          <p:cNvPr id="73" name="Rounded Rectangle 72"/>
          <p:cNvSpPr>
            <a:spLocks noChangeArrowheads="1"/>
          </p:cNvSpPr>
          <p:nvPr/>
        </p:nvSpPr>
        <p:spPr bwMode="auto">
          <a:xfrm>
            <a:off x="3654446" y="1433513"/>
            <a:ext cx="1439863" cy="533400"/>
          </a:xfrm>
          <a:prstGeom prst="roundRect">
            <a:avLst>
              <a:gd name="adj" fmla="val 16667"/>
            </a:avLst>
          </a:prstGeom>
          <a:blipFill dpi="0" rotWithShape="1">
            <a:blip r:embed="rId4"/>
            <a:srcRect/>
            <a:stretch>
              <a:fillRect/>
            </a:stretch>
          </a:blipFill>
          <a:ln w="25400">
            <a:solidFill>
              <a:srgbClr val="FFFFFF"/>
            </a:solidFill>
            <a:round/>
            <a:headEnd/>
            <a:tailEnd/>
          </a:ln>
        </p:spPr>
        <p:txBody>
          <a:bodyPr lIns="72000" rIns="72000" anchor="ctr"/>
          <a:lstStyle/>
          <a:p>
            <a:pPr algn="ctr">
              <a:spcBef>
                <a:spcPct val="50000"/>
              </a:spcBef>
              <a:defRPr/>
            </a:pPr>
            <a:r>
              <a:rPr lang="en-AU" sz="1000" b="1" i="1" dirty="0">
                <a:solidFill>
                  <a:srgbClr val="FFFFFF"/>
                </a:solidFill>
                <a:latin typeface="+mn-lt"/>
                <a:ea typeface="+mn-ea"/>
              </a:rPr>
              <a:t>CIO</a:t>
            </a:r>
          </a:p>
        </p:txBody>
      </p:sp>
      <p:sp>
        <p:nvSpPr>
          <p:cNvPr id="8" name="Rounded Rectangle 7"/>
          <p:cNvSpPr>
            <a:spLocks noChangeArrowheads="1"/>
          </p:cNvSpPr>
          <p:nvPr/>
        </p:nvSpPr>
        <p:spPr bwMode="auto">
          <a:xfrm>
            <a:off x="6853241" y="1462088"/>
            <a:ext cx="1474787" cy="538162"/>
          </a:xfrm>
          <a:prstGeom prst="roundRect">
            <a:avLst>
              <a:gd name="adj" fmla="val 10829"/>
            </a:avLst>
          </a:prstGeom>
          <a:solidFill>
            <a:schemeClr val="accent2"/>
          </a:solidFill>
          <a:ln w="25400">
            <a:solidFill>
              <a:srgbClr val="FFFFFF"/>
            </a:solidFill>
            <a:round/>
            <a:headEnd/>
            <a:tailEnd/>
          </a:ln>
        </p:spPr>
        <p:txBody>
          <a:bodyPr lIns="72000" rIns="72000" anchor="ctr"/>
          <a:lstStyle/>
          <a:p>
            <a:pPr algn="ctr">
              <a:spcBef>
                <a:spcPct val="50000"/>
              </a:spcBef>
            </a:pPr>
            <a:r>
              <a:rPr lang="en-AU" sz="1000" b="1" i="1">
                <a:solidFill>
                  <a:srgbClr val="FFFFFF"/>
                </a:solidFill>
              </a:rPr>
              <a:t>CMO </a:t>
            </a:r>
          </a:p>
        </p:txBody>
      </p:sp>
    </p:spTree>
    <p:extLst>
      <p:ext uri="{BB962C8B-B14F-4D97-AF65-F5344CB8AC3E}">
        <p14:creationId xmlns:p14="http://schemas.microsoft.com/office/powerpoint/2010/main" val="1933331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AutoShape 2"/>
          <p:cNvSpPr>
            <a:spLocks noChangeArrowheads="1"/>
          </p:cNvSpPr>
          <p:nvPr/>
        </p:nvSpPr>
        <p:spPr bwMode="auto">
          <a:xfrm>
            <a:off x="5160988" y="4508536"/>
            <a:ext cx="1368425" cy="576263"/>
          </a:xfrm>
          <a:prstGeom prst="roundRect">
            <a:avLst>
              <a:gd name="adj" fmla="val 16667"/>
            </a:avLst>
          </a:prstGeom>
          <a:solidFill>
            <a:srgbClr val="DFCDDD"/>
          </a:solidFill>
          <a:ln w="9525" algn="ctr">
            <a:solidFill>
              <a:srgbClr val="7B0663"/>
            </a:solidFill>
            <a:prstDash val="dash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4A043B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147" name="AutoShape 3"/>
          <p:cNvSpPr>
            <a:spLocks noChangeArrowheads="1"/>
          </p:cNvSpPr>
          <p:nvPr/>
        </p:nvSpPr>
        <p:spPr bwMode="auto">
          <a:xfrm>
            <a:off x="5160988" y="5157788"/>
            <a:ext cx="1368425" cy="576262"/>
          </a:xfrm>
          <a:prstGeom prst="roundRect">
            <a:avLst>
              <a:gd name="adj" fmla="val 16667"/>
            </a:avLst>
          </a:prstGeom>
          <a:solidFill>
            <a:srgbClr val="C3C5D9"/>
          </a:solidFill>
          <a:ln w="9525" algn="ctr">
            <a:solidFill>
              <a:schemeClr val="tx2"/>
            </a:solidFill>
            <a:prstDash val="dash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1838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148" name="Title 1"/>
          <p:cNvSpPr>
            <a:spLocks noGrp="1"/>
          </p:cNvSpPr>
          <p:nvPr>
            <p:ph type="title"/>
          </p:nvPr>
        </p:nvSpPr>
        <p:spPr>
          <a:xfrm>
            <a:off x="550863" y="260350"/>
            <a:ext cx="7200900" cy="1085850"/>
          </a:xfrm>
        </p:spPr>
        <p:txBody>
          <a:bodyPr lIns="71987" rIns="71987"/>
          <a:lstStyle/>
          <a:p>
            <a:r>
              <a:rPr lang="en-US" smtClean="0"/>
              <a:t>Telecom Industry Trends</a:t>
            </a:r>
          </a:p>
        </p:txBody>
      </p:sp>
      <p:sp>
        <p:nvSpPr>
          <p:cNvPr id="6149" name="Line 3"/>
          <p:cNvSpPr>
            <a:spLocks noChangeShapeType="1"/>
          </p:cNvSpPr>
          <p:nvPr/>
        </p:nvSpPr>
        <p:spPr bwMode="auto">
          <a:xfrm>
            <a:off x="407991" y="6021388"/>
            <a:ext cx="11377612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6150" name="Line 4"/>
          <p:cNvSpPr>
            <a:spLocks noChangeShapeType="1"/>
          </p:cNvSpPr>
          <p:nvPr/>
        </p:nvSpPr>
        <p:spPr bwMode="auto">
          <a:xfrm flipV="1">
            <a:off x="407988" y="1365250"/>
            <a:ext cx="0" cy="4656138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6151" name="Text Box 7"/>
          <p:cNvSpPr txBox="1">
            <a:spLocks noChangeArrowheads="1"/>
          </p:cNvSpPr>
          <p:nvPr/>
        </p:nvSpPr>
        <p:spPr bwMode="auto">
          <a:xfrm>
            <a:off x="1011239" y="6021423"/>
            <a:ext cx="1542954" cy="461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4" tIns="45712" rIns="91424" bIns="45712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2400"/>
              <a:t>Yesterday</a:t>
            </a:r>
          </a:p>
        </p:txBody>
      </p:sp>
      <p:sp>
        <p:nvSpPr>
          <p:cNvPr id="6152" name="TextBox 77"/>
          <p:cNvSpPr txBox="1">
            <a:spLocks noChangeArrowheads="1"/>
          </p:cNvSpPr>
          <p:nvPr/>
        </p:nvSpPr>
        <p:spPr bwMode="auto">
          <a:xfrm>
            <a:off x="839813" y="2179673"/>
            <a:ext cx="1977613" cy="46164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52700E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1987" tIns="45712" rIns="71987" bIns="45712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sv-SE" sz="2400">
                <a:solidFill>
                  <a:srgbClr val="0099FF"/>
                </a:solidFill>
              </a:rPr>
              <a:t>Purpose Built</a:t>
            </a:r>
          </a:p>
        </p:txBody>
      </p:sp>
      <p:sp>
        <p:nvSpPr>
          <p:cNvPr id="6153" name="Freeform 28"/>
          <p:cNvSpPr>
            <a:spLocks noChangeAspect="1"/>
          </p:cNvSpPr>
          <p:nvPr/>
        </p:nvSpPr>
        <p:spPr bwMode="auto">
          <a:xfrm>
            <a:off x="958852" y="4872074"/>
            <a:ext cx="517525" cy="631825"/>
          </a:xfrm>
          <a:custGeom>
            <a:avLst/>
            <a:gdLst>
              <a:gd name="T0" fmla="*/ 2147483647 w 393"/>
              <a:gd name="T1" fmla="*/ 2147483647 h 573"/>
              <a:gd name="T2" fmla="*/ 2147483647 w 393"/>
              <a:gd name="T3" fmla="*/ 2147483647 h 573"/>
              <a:gd name="T4" fmla="*/ 2147483647 w 393"/>
              <a:gd name="T5" fmla="*/ 2147483647 h 573"/>
              <a:gd name="T6" fmla="*/ 2147483647 w 393"/>
              <a:gd name="T7" fmla="*/ 2147483647 h 573"/>
              <a:gd name="T8" fmla="*/ 0 w 393"/>
              <a:gd name="T9" fmla="*/ 2147483647 h 573"/>
              <a:gd name="T10" fmla="*/ 0 w 393"/>
              <a:gd name="T11" fmla="*/ 2147483647 h 573"/>
              <a:gd name="T12" fmla="*/ 2147483647 w 393"/>
              <a:gd name="T13" fmla="*/ 0 h 573"/>
              <a:gd name="T14" fmla="*/ 2147483647 w 393"/>
              <a:gd name="T15" fmla="*/ 0 h 573"/>
              <a:gd name="T16" fmla="*/ 2147483647 w 393"/>
              <a:gd name="T17" fmla="*/ 2147483647 h 573"/>
              <a:gd name="T18" fmla="*/ 2147483647 w 393"/>
              <a:gd name="T19" fmla="*/ 2147483647 h 57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93" h="573">
                <a:moveTo>
                  <a:pt x="393" y="83"/>
                </a:moveTo>
                <a:cubicBezTo>
                  <a:pt x="393" y="541"/>
                  <a:pt x="393" y="541"/>
                  <a:pt x="393" y="541"/>
                </a:cubicBezTo>
                <a:cubicBezTo>
                  <a:pt x="393" y="559"/>
                  <a:pt x="379" y="573"/>
                  <a:pt x="361" y="573"/>
                </a:cubicBezTo>
                <a:cubicBezTo>
                  <a:pt x="32" y="573"/>
                  <a:pt x="32" y="573"/>
                  <a:pt x="32" y="573"/>
                </a:cubicBezTo>
                <a:cubicBezTo>
                  <a:pt x="14" y="573"/>
                  <a:pt x="0" y="559"/>
                  <a:pt x="0" y="541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14"/>
                  <a:pt x="14" y="0"/>
                  <a:pt x="32" y="0"/>
                </a:cubicBezTo>
                <a:cubicBezTo>
                  <a:pt x="361" y="0"/>
                  <a:pt x="361" y="0"/>
                  <a:pt x="361" y="0"/>
                </a:cubicBezTo>
                <a:cubicBezTo>
                  <a:pt x="379" y="0"/>
                  <a:pt x="393" y="14"/>
                  <a:pt x="393" y="32"/>
                </a:cubicBezTo>
                <a:cubicBezTo>
                  <a:pt x="393" y="51"/>
                  <a:pt x="393" y="51"/>
                  <a:pt x="393" y="51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/>
          </a:p>
        </p:txBody>
      </p:sp>
      <p:sp>
        <p:nvSpPr>
          <p:cNvPr id="6154" name="Freeform 29"/>
          <p:cNvSpPr>
            <a:spLocks noChangeAspect="1" noEditPoints="1"/>
          </p:cNvSpPr>
          <p:nvPr/>
        </p:nvSpPr>
        <p:spPr bwMode="auto">
          <a:xfrm>
            <a:off x="947758" y="4862549"/>
            <a:ext cx="539751" cy="650875"/>
          </a:xfrm>
          <a:custGeom>
            <a:avLst/>
            <a:gdLst>
              <a:gd name="T0" fmla="*/ 2147483647 w 409"/>
              <a:gd name="T1" fmla="*/ 2147483647 h 589"/>
              <a:gd name="T2" fmla="*/ 2147483647 w 409"/>
              <a:gd name="T3" fmla="*/ 0 h 589"/>
              <a:gd name="T4" fmla="*/ 0 w 409"/>
              <a:gd name="T5" fmla="*/ 2147483647 h 589"/>
              <a:gd name="T6" fmla="*/ 2147483647 w 409"/>
              <a:gd name="T7" fmla="*/ 2147483647 h 589"/>
              <a:gd name="T8" fmla="*/ 2147483647 w 409"/>
              <a:gd name="T9" fmla="*/ 2147483647 h 589"/>
              <a:gd name="T10" fmla="*/ 2147483647 w 409"/>
              <a:gd name="T11" fmla="*/ 2147483647 h 589"/>
              <a:gd name="T12" fmla="*/ 2147483647 w 409"/>
              <a:gd name="T13" fmla="*/ 2147483647 h 589"/>
              <a:gd name="T14" fmla="*/ 2147483647 w 409"/>
              <a:gd name="T15" fmla="*/ 2147483647 h 589"/>
              <a:gd name="T16" fmla="*/ 2147483647 w 409"/>
              <a:gd name="T17" fmla="*/ 2147483647 h 589"/>
              <a:gd name="T18" fmla="*/ 2147483647 w 409"/>
              <a:gd name="T19" fmla="*/ 2147483647 h 589"/>
              <a:gd name="T20" fmla="*/ 2147483647 w 409"/>
              <a:gd name="T21" fmla="*/ 2147483647 h 589"/>
              <a:gd name="T22" fmla="*/ 2147483647 w 409"/>
              <a:gd name="T23" fmla="*/ 2147483647 h 589"/>
              <a:gd name="T24" fmla="*/ 2147483647 w 409"/>
              <a:gd name="T25" fmla="*/ 2147483647 h 589"/>
              <a:gd name="T26" fmla="*/ 2147483647 w 409"/>
              <a:gd name="T27" fmla="*/ 2147483647 h 589"/>
              <a:gd name="T28" fmla="*/ 2147483647 w 409"/>
              <a:gd name="T29" fmla="*/ 2147483647 h 589"/>
              <a:gd name="T30" fmla="*/ 2147483647 w 409"/>
              <a:gd name="T31" fmla="*/ 2147483647 h 589"/>
              <a:gd name="T32" fmla="*/ 2147483647 w 409"/>
              <a:gd name="T33" fmla="*/ 2147483647 h 589"/>
              <a:gd name="T34" fmla="*/ 2147483647 w 409"/>
              <a:gd name="T35" fmla="*/ 2147483647 h 589"/>
              <a:gd name="T36" fmla="*/ 2147483647 w 409"/>
              <a:gd name="T37" fmla="*/ 2147483647 h 589"/>
              <a:gd name="T38" fmla="*/ 2147483647 w 409"/>
              <a:gd name="T39" fmla="*/ 2147483647 h 589"/>
              <a:gd name="T40" fmla="*/ 2147483647 w 409"/>
              <a:gd name="T41" fmla="*/ 2147483647 h 589"/>
              <a:gd name="T42" fmla="*/ 2147483647 w 409"/>
              <a:gd name="T43" fmla="*/ 2147483647 h 589"/>
              <a:gd name="T44" fmla="*/ 2147483647 w 409"/>
              <a:gd name="T45" fmla="*/ 2147483647 h 589"/>
              <a:gd name="T46" fmla="*/ 2147483647 w 409"/>
              <a:gd name="T47" fmla="*/ 2147483647 h 589"/>
              <a:gd name="T48" fmla="*/ 2147483647 w 409"/>
              <a:gd name="T49" fmla="*/ 2147483647 h 589"/>
              <a:gd name="T50" fmla="*/ 2147483647 w 409"/>
              <a:gd name="T51" fmla="*/ 2147483647 h 589"/>
              <a:gd name="T52" fmla="*/ 2147483647 w 409"/>
              <a:gd name="T53" fmla="*/ 2147483647 h 589"/>
              <a:gd name="T54" fmla="*/ 2147483647 w 409"/>
              <a:gd name="T55" fmla="*/ 2147483647 h 589"/>
              <a:gd name="T56" fmla="*/ 2147483647 w 409"/>
              <a:gd name="T57" fmla="*/ 2147483647 h 589"/>
              <a:gd name="T58" fmla="*/ 2147483647 w 409"/>
              <a:gd name="T59" fmla="*/ 2147483647 h 589"/>
              <a:gd name="T60" fmla="*/ 2147483647 w 409"/>
              <a:gd name="T61" fmla="*/ 2147483647 h 589"/>
              <a:gd name="T62" fmla="*/ 2147483647 w 409"/>
              <a:gd name="T63" fmla="*/ 2147483647 h 589"/>
              <a:gd name="T64" fmla="*/ 2147483647 w 409"/>
              <a:gd name="T65" fmla="*/ 2147483647 h 589"/>
              <a:gd name="T66" fmla="*/ 2147483647 w 409"/>
              <a:gd name="T67" fmla="*/ 2147483647 h 589"/>
              <a:gd name="T68" fmla="*/ 2147483647 w 409"/>
              <a:gd name="T69" fmla="*/ 2147483647 h 589"/>
              <a:gd name="T70" fmla="*/ 2147483647 w 409"/>
              <a:gd name="T71" fmla="*/ 2147483647 h 589"/>
              <a:gd name="T72" fmla="*/ 2147483647 w 409"/>
              <a:gd name="T73" fmla="*/ 2147483647 h 58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409" h="589">
                <a:moveTo>
                  <a:pt x="401" y="67"/>
                </a:moveTo>
                <a:cubicBezTo>
                  <a:pt x="405" y="67"/>
                  <a:pt x="409" y="64"/>
                  <a:pt x="409" y="59"/>
                </a:cubicBezTo>
                <a:cubicBezTo>
                  <a:pt x="409" y="40"/>
                  <a:pt x="409" y="40"/>
                  <a:pt x="409" y="40"/>
                </a:cubicBezTo>
                <a:cubicBezTo>
                  <a:pt x="409" y="18"/>
                  <a:pt x="391" y="0"/>
                  <a:pt x="369" y="0"/>
                </a:cubicBezTo>
                <a:cubicBezTo>
                  <a:pt x="40" y="0"/>
                  <a:pt x="40" y="0"/>
                  <a:pt x="40" y="0"/>
                </a:cubicBezTo>
                <a:cubicBezTo>
                  <a:pt x="18" y="0"/>
                  <a:pt x="0" y="18"/>
                  <a:pt x="0" y="40"/>
                </a:cubicBezTo>
                <a:cubicBezTo>
                  <a:pt x="0" y="549"/>
                  <a:pt x="0" y="549"/>
                  <a:pt x="0" y="549"/>
                </a:cubicBezTo>
                <a:cubicBezTo>
                  <a:pt x="0" y="571"/>
                  <a:pt x="18" y="589"/>
                  <a:pt x="40" y="589"/>
                </a:cubicBezTo>
                <a:cubicBezTo>
                  <a:pt x="369" y="589"/>
                  <a:pt x="369" y="589"/>
                  <a:pt x="369" y="589"/>
                </a:cubicBezTo>
                <a:cubicBezTo>
                  <a:pt x="391" y="589"/>
                  <a:pt x="409" y="571"/>
                  <a:pt x="409" y="549"/>
                </a:cubicBezTo>
                <a:cubicBezTo>
                  <a:pt x="409" y="91"/>
                  <a:pt x="409" y="91"/>
                  <a:pt x="409" y="91"/>
                </a:cubicBezTo>
                <a:cubicBezTo>
                  <a:pt x="409" y="87"/>
                  <a:pt x="405" y="83"/>
                  <a:pt x="401" y="83"/>
                </a:cubicBezTo>
                <a:cubicBezTo>
                  <a:pt x="397" y="83"/>
                  <a:pt x="393" y="87"/>
                  <a:pt x="393" y="91"/>
                </a:cubicBezTo>
                <a:cubicBezTo>
                  <a:pt x="393" y="549"/>
                  <a:pt x="393" y="549"/>
                  <a:pt x="393" y="549"/>
                </a:cubicBezTo>
                <a:cubicBezTo>
                  <a:pt x="393" y="562"/>
                  <a:pt x="382" y="573"/>
                  <a:pt x="369" y="573"/>
                </a:cubicBezTo>
                <a:cubicBezTo>
                  <a:pt x="40" y="573"/>
                  <a:pt x="40" y="573"/>
                  <a:pt x="40" y="573"/>
                </a:cubicBezTo>
                <a:cubicBezTo>
                  <a:pt x="26" y="573"/>
                  <a:pt x="16" y="562"/>
                  <a:pt x="16" y="549"/>
                </a:cubicBezTo>
                <a:cubicBezTo>
                  <a:pt x="16" y="40"/>
                  <a:pt x="16" y="40"/>
                  <a:pt x="16" y="40"/>
                </a:cubicBezTo>
                <a:cubicBezTo>
                  <a:pt x="16" y="27"/>
                  <a:pt x="26" y="16"/>
                  <a:pt x="40" y="16"/>
                </a:cubicBezTo>
                <a:cubicBezTo>
                  <a:pt x="369" y="16"/>
                  <a:pt x="369" y="16"/>
                  <a:pt x="369" y="16"/>
                </a:cubicBezTo>
                <a:cubicBezTo>
                  <a:pt x="382" y="16"/>
                  <a:pt x="393" y="27"/>
                  <a:pt x="393" y="40"/>
                </a:cubicBezTo>
                <a:cubicBezTo>
                  <a:pt x="393" y="59"/>
                  <a:pt x="393" y="59"/>
                  <a:pt x="393" y="59"/>
                </a:cubicBezTo>
                <a:cubicBezTo>
                  <a:pt x="393" y="64"/>
                  <a:pt x="397" y="67"/>
                  <a:pt x="401" y="67"/>
                </a:cubicBezTo>
                <a:close/>
                <a:moveTo>
                  <a:pt x="319" y="153"/>
                </a:moveTo>
                <a:cubicBezTo>
                  <a:pt x="323" y="153"/>
                  <a:pt x="327" y="149"/>
                  <a:pt x="327" y="145"/>
                </a:cubicBezTo>
                <a:cubicBezTo>
                  <a:pt x="327" y="145"/>
                  <a:pt x="327" y="145"/>
                  <a:pt x="327" y="145"/>
                </a:cubicBezTo>
                <a:cubicBezTo>
                  <a:pt x="327" y="86"/>
                  <a:pt x="327" y="86"/>
                  <a:pt x="327" y="86"/>
                </a:cubicBezTo>
                <a:cubicBezTo>
                  <a:pt x="327" y="84"/>
                  <a:pt x="326" y="82"/>
                  <a:pt x="324" y="80"/>
                </a:cubicBezTo>
                <a:cubicBezTo>
                  <a:pt x="323" y="79"/>
                  <a:pt x="321" y="78"/>
                  <a:pt x="319" y="78"/>
                </a:cubicBezTo>
                <a:cubicBezTo>
                  <a:pt x="260" y="78"/>
                  <a:pt x="260" y="78"/>
                  <a:pt x="260" y="78"/>
                </a:cubicBezTo>
                <a:cubicBezTo>
                  <a:pt x="255" y="78"/>
                  <a:pt x="252" y="82"/>
                  <a:pt x="252" y="86"/>
                </a:cubicBezTo>
                <a:cubicBezTo>
                  <a:pt x="252" y="91"/>
                  <a:pt x="255" y="94"/>
                  <a:pt x="260" y="94"/>
                </a:cubicBezTo>
                <a:cubicBezTo>
                  <a:pt x="299" y="94"/>
                  <a:pt x="299" y="94"/>
                  <a:pt x="299" y="94"/>
                </a:cubicBezTo>
                <a:cubicBezTo>
                  <a:pt x="198" y="195"/>
                  <a:pt x="198" y="195"/>
                  <a:pt x="198" y="195"/>
                </a:cubicBezTo>
                <a:cubicBezTo>
                  <a:pt x="97" y="94"/>
                  <a:pt x="97" y="94"/>
                  <a:pt x="97" y="94"/>
                </a:cubicBezTo>
                <a:cubicBezTo>
                  <a:pt x="137" y="94"/>
                  <a:pt x="137" y="94"/>
                  <a:pt x="137" y="94"/>
                </a:cubicBezTo>
                <a:cubicBezTo>
                  <a:pt x="141" y="94"/>
                  <a:pt x="145" y="91"/>
                  <a:pt x="145" y="86"/>
                </a:cubicBezTo>
                <a:cubicBezTo>
                  <a:pt x="145" y="82"/>
                  <a:pt x="141" y="78"/>
                  <a:pt x="137" y="78"/>
                </a:cubicBezTo>
                <a:cubicBezTo>
                  <a:pt x="78" y="78"/>
                  <a:pt x="78" y="78"/>
                  <a:pt x="78" y="78"/>
                </a:cubicBezTo>
                <a:cubicBezTo>
                  <a:pt x="76" y="78"/>
                  <a:pt x="74" y="79"/>
                  <a:pt x="73" y="80"/>
                </a:cubicBezTo>
                <a:cubicBezTo>
                  <a:pt x="71" y="82"/>
                  <a:pt x="70" y="84"/>
                  <a:pt x="70" y="86"/>
                </a:cubicBezTo>
                <a:cubicBezTo>
                  <a:pt x="70" y="145"/>
                  <a:pt x="70" y="145"/>
                  <a:pt x="70" y="145"/>
                </a:cubicBezTo>
                <a:cubicBezTo>
                  <a:pt x="70" y="149"/>
                  <a:pt x="74" y="153"/>
                  <a:pt x="78" y="153"/>
                </a:cubicBezTo>
                <a:cubicBezTo>
                  <a:pt x="83" y="153"/>
                  <a:pt x="86" y="149"/>
                  <a:pt x="86" y="145"/>
                </a:cubicBezTo>
                <a:cubicBezTo>
                  <a:pt x="86" y="105"/>
                  <a:pt x="86" y="105"/>
                  <a:pt x="86" y="105"/>
                </a:cubicBezTo>
                <a:cubicBezTo>
                  <a:pt x="187" y="206"/>
                  <a:pt x="187" y="206"/>
                  <a:pt x="187" y="206"/>
                </a:cubicBezTo>
                <a:cubicBezTo>
                  <a:pt x="86" y="307"/>
                  <a:pt x="86" y="307"/>
                  <a:pt x="86" y="307"/>
                </a:cubicBezTo>
                <a:cubicBezTo>
                  <a:pt x="86" y="268"/>
                  <a:pt x="86" y="268"/>
                  <a:pt x="86" y="268"/>
                </a:cubicBezTo>
                <a:cubicBezTo>
                  <a:pt x="86" y="263"/>
                  <a:pt x="83" y="260"/>
                  <a:pt x="78" y="260"/>
                </a:cubicBezTo>
                <a:cubicBezTo>
                  <a:pt x="74" y="260"/>
                  <a:pt x="70" y="263"/>
                  <a:pt x="70" y="268"/>
                </a:cubicBezTo>
                <a:cubicBezTo>
                  <a:pt x="70" y="268"/>
                  <a:pt x="70" y="268"/>
                  <a:pt x="70" y="268"/>
                </a:cubicBezTo>
                <a:cubicBezTo>
                  <a:pt x="70" y="327"/>
                  <a:pt x="70" y="327"/>
                  <a:pt x="70" y="327"/>
                </a:cubicBezTo>
                <a:cubicBezTo>
                  <a:pt x="70" y="329"/>
                  <a:pt x="71" y="331"/>
                  <a:pt x="73" y="332"/>
                </a:cubicBezTo>
                <a:cubicBezTo>
                  <a:pt x="74" y="334"/>
                  <a:pt x="76" y="335"/>
                  <a:pt x="78" y="335"/>
                </a:cubicBezTo>
                <a:cubicBezTo>
                  <a:pt x="137" y="335"/>
                  <a:pt x="137" y="335"/>
                  <a:pt x="137" y="335"/>
                </a:cubicBezTo>
                <a:cubicBezTo>
                  <a:pt x="141" y="335"/>
                  <a:pt x="145" y="331"/>
                  <a:pt x="145" y="327"/>
                </a:cubicBezTo>
                <a:cubicBezTo>
                  <a:pt x="145" y="322"/>
                  <a:pt x="141" y="319"/>
                  <a:pt x="137" y="319"/>
                </a:cubicBezTo>
                <a:cubicBezTo>
                  <a:pt x="97" y="319"/>
                  <a:pt x="97" y="319"/>
                  <a:pt x="97" y="319"/>
                </a:cubicBezTo>
                <a:cubicBezTo>
                  <a:pt x="198" y="218"/>
                  <a:pt x="198" y="218"/>
                  <a:pt x="198" y="218"/>
                </a:cubicBezTo>
                <a:cubicBezTo>
                  <a:pt x="299" y="319"/>
                  <a:pt x="299" y="319"/>
                  <a:pt x="299" y="319"/>
                </a:cubicBezTo>
                <a:cubicBezTo>
                  <a:pt x="260" y="319"/>
                  <a:pt x="260" y="319"/>
                  <a:pt x="260" y="319"/>
                </a:cubicBezTo>
                <a:cubicBezTo>
                  <a:pt x="255" y="319"/>
                  <a:pt x="252" y="322"/>
                  <a:pt x="252" y="327"/>
                </a:cubicBezTo>
                <a:cubicBezTo>
                  <a:pt x="252" y="331"/>
                  <a:pt x="255" y="335"/>
                  <a:pt x="260" y="335"/>
                </a:cubicBezTo>
                <a:cubicBezTo>
                  <a:pt x="260" y="335"/>
                  <a:pt x="260" y="335"/>
                  <a:pt x="260" y="335"/>
                </a:cubicBezTo>
                <a:cubicBezTo>
                  <a:pt x="319" y="335"/>
                  <a:pt x="319" y="335"/>
                  <a:pt x="319" y="335"/>
                </a:cubicBezTo>
                <a:cubicBezTo>
                  <a:pt x="321" y="335"/>
                  <a:pt x="323" y="334"/>
                  <a:pt x="324" y="332"/>
                </a:cubicBezTo>
                <a:cubicBezTo>
                  <a:pt x="326" y="331"/>
                  <a:pt x="327" y="329"/>
                  <a:pt x="327" y="327"/>
                </a:cubicBezTo>
                <a:cubicBezTo>
                  <a:pt x="327" y="268"/>
                  <a:pt x="327" y="268"/>
                  <a:pt x="327" y="268"/>
                </a:cubicBezTo>
                <a:cubicBezTo>
                  <a:pt x="327" y="263"/>
                  <a:pt x="323" y="260"/>
                  <a:pt x="319" y="260"/>
                </a:cubicBezTo>
                <a:cubicBezTo>
                  <a:pt x="314" y="260"/>
                  <a:pt x="311" y="263"/>
                  <a:pt x="311" y="268"/>
                </a:cubicBezTo>
                <a:cubicBezTo>
                  <a:pt x="311" y="307"/>
                  <a:pt x="311" y="307"/>
                  <a:pt x="311" y="307"/>
                </a:cubicBezTo>
                <a:cubicBezTo>
                  <a:pt x="210" y="206"/>
                  <a:pt x="210" y="206"/>
                  <a:pt x="210" y="206"/>
                </a:cubicBezTo>
                <a:cubicBezTo>
                  <a:pt x="311" y="105"/>
                  <a:pt x="311" y="105"/>
                  <a:pt x="311" y="105"/>
                </a:cubicBezTo>
                <a:cubicBezTo>
                  <a:pt x="311" y="145"/>
                  <a:pt x="311" y="145"/>
                  <a:pt x="311" y="145"/>
                </a:cubicBezTo>
                <a:cubicBezTo>
                  <a:pt x="311" y="149"/>
                  <a:pt x="314" y="153"/>
                  <a:pt x="319" y="153"/>
                </a:cubicBezTo>
                <a:close/>
              </a:path>
            </a:pathLst>
          </a:custGeom>
          <a:solidFill>
            <a:srgbClr val="00285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/>
          </a:p>
        </p:txBody>
      </p:sp>
      <p:sp>
        <p:nvSpPr>
          <p:cNvPr id="6155" name="Text Box 30"/>
          <p:cNvSpPr txBox="1">
            <a:spLocks noChangeAspect="1" noChangeArrowheads="1"/>
          </p:cNvSpPr>
          <p:nvPr/>
        </p:nvSpPr>
        <p:spPr bwMode="auto">
          <a:xfrm>
            <a:off x="989013" y="5312539"/>
            <a:ext cx="457200" cy="147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01688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801688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801688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801688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801688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sv-SE" sz="1200">
                <a:solidFill>
                  <a:srgbClr val="00285F"/>
                </a:solidFill>
              </a:rPr>
              <a:t>BRAS</a:t>
            </a:r>
          </a:p>
        </p:txBody>
      </p:sp>
      <p:sp>
        <p:nvSpPr>
          <p:cNvPr id="6156" name="Freeform 32"/>
          <p:cNvSpPr>
            <a:spLocks noChangeAspect="1"/>
          </p:cNvSpPr>
          <p:nvPr/>
        </p:nvSpPr>
        <p:spPr bwMode="auto">
          <a:xfrm>
            <a:off x="2114574" y="4710113"/>
            <a:ext cx="657225" cy="792162"/>
          </a:xfrm>
          <a:custGeom>
            <a:avLst/>
            <a:gdLst>
              <a:gd name="T0" fmla="*/ 2147483647 w 393"/>
              <a:gd name="T1" fmla="*/ 2147483647 h 573"/>
              <a:gd name="T2" fmla="*/ 2147483647 w 393"/>
              <a:gd name="T3" fmla="*/ 2147483647 h 573"/>
              <a:gd name="T4" fmla="*/ 2147483647 w 393"/>
              <a:gd name="T5" fmla="*/ 2147483647 h 573"/>
              <a:gd name="T6" fmla="*/ 2147483647 w 393"/>
              <a:gd name="T7" fmla="*/ 2147483647 h 573"/>
              <a:gd name="T8" fmla="*/ 0 w 393"/>
              <a:gd name="T9" fmla="*/ 2147483647 h 573"/>
              <a:gd name="T10" fmla="*/ 0 w 393"/>
              <a:gd name="T11" fmla="*/ 2147483647 h 573"/>
              <a:gd name="T12" fmla="*/ 2147483647 w 393"/>
              <a:gd name="T13" fmla="*/ 0 h 573"/>
              <a:gd name="T14" fmla="*/ 2147483647 w 393"/>
              <a:gd name="T15" fmla="*/ 0 h 573"/>
              <a:gd name="T16" fmla="*/ 2147483647 w 393"/>
              <a:gd name="T17" fmla="*/ 2147483647 h 573"/>
              <a:gd name="T18" fmla="*/ 2147483647 w 393"/>
              <a:gd name="T19" fmla="*/ 2147483647 h 57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93" h="573">
                <a:moveTo>
                  <a:pt x="393" y="83"/>
                </a:moveTo>
                <a:cubicBezTo>
                  <a:pt x="393" y="541"/>
                  <a:pt x="393" y="541"/>
                  <a:pt x="393" y="541"/>
                </a:cubicBezTo>
                <a:cubicBezTo>
                  <a:pt x="393" y="559"/>
                  <a:pt x="379" y="573"/>
                  <a:pt x="361" y="573"/>
                </a:cubicBezTo>
                <a:cubicBezTo>
                  <a:pt x="32" y="573"/>
                  <a:pt x="32" y="573"/>
                  <a:pt x="32" y="573"/>
                </a:cubicBezTo>
                <a:cubicBezTo>
                  <a:pt x="14" y="573"/>
                  <a:pt x="0" y="559"/>
                  <a:pt x="0" y="541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14"/>
                  <a:pt x="14" y="0"/>
                  <a:pt x="32" y="0"/>
                </a:cubicBezTo>
                <a:cubicBezTo>
                  <a:pt x="361" y="0"/>
                  <a:pt x="361" y="0"/>
                  <a:pt x="361" y="0"/>
                </a:cubicBezTo>
                <a:cubicBezTo>
                  <a:pt x="379" y="0"/>
                  <a:pt x="393" y="14"/>
                  <a:pt x="393" y="32"/>
                </a:cubicBezTo>
                <a:cubicBezTo>
                  <a:pt x="393" y="51"/>
                  <a:pt x="393" y="51"/>
                  <a:pt x="393" y="51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/>
          </a:p>
        </p:txBody>
      </p:sp>
      <p:sp>
        <p:nvSpPr>
          <p:cNvPr id="6157" name="Freeform 33"/>
          <p:cNvSpPr>
            <a:spLocks noChangeAspect="1" noEditPoints="1"/>
          </p:cNvSpPr>
          <p:nvPr/>
        </p:nvSpPr>
        <p:spPr bwMode="auto">
          <a:xfrm>
            <a:off x="2101874" y="4699000"/>
            <a:ext cx="682625" cy="814388"/>
          </a:xfrm>
          <a:custGeom>
            <a:avLst/>
            <a:gdLst>
              <a:gd name="T0" fmla="*/ 2147483647 w 409"/>
              <a:gd name="T1" fmla="*/ 2147483647 h 589"/>
              <a:gd name="T2" fmla="*/ 2147483647 w 409"/>
              <a:gd name="T3" fmla="*/ 0 h 589"/>
              <a:gd name="T4" fmla="*/ 0 w 409"/>
              <a:gd name="T5" fmla="*/ 2147483647 h 589"/>
              <a:gd name="T6" fmla="*/ 2147483647 w 409"/>
              <a:gd name="T7" fmla="*/ 2147483647 h 589"/>
              <a:gd name="T8" fmla="*/ 2147483647 w 409"/>
              <a:gd name="T9" fmla="*/ 2147483647 h 589"/>
              <a:gd name="T10" fmla="*/ 2147483647 w 409"/>
              <a:gd name="T11" fmla="*/ 2147483647 h 589"/>
              <a:gd name="T12" fmla="*/ 2147483647 w 409"/>
              <a:gd name="T13" fmla="*/ 2147483647 h 589"/>
              <a:gd name="T14" fmla="*/ 2147483647 w 409"/>
              <a:gd name="T15" fmla="*/ 2147483647 h 589"/>
              <a:gd name="T16" fmla="*/ 2147483647 w 409"/>
              <a:gd name="T17" fmla="*/ 2147483647 h 589"/>
              <a:gd name="T18" fmla="*/ 2147483647 w 409"/>
              <a:gd name="T19" fmla="*/ 2147483647 h 589"/>
              <a:gd name="T20" fmla="*/ 2147483647 w 409"/>
              <a:gd name="T21" fmla="*/ 2147483647 h 589"/>
              <a:gd name="T22" fmla="*/ 2147483647 w 409"/>
              <a:gd name="T23" fmla="*/ 2147483647 h 589"/>
              <a:gd name="T24" fmla="*/ 2147483647 w 409"/>
              <a:gd name="T25" fmla="*/ 2147483647 h 589"/>
              <a:gd name="T26" fmla="*/ 2147483647 w 409"/>
              <a:gd name="T27" fmla="*/ 2147483647 h 589"/>
              <a:gd name="T28" fmla="*/ 2147483647 w 409"/>
              <a:gd name="T29" fmla="*/ 2147483647 h 589"/>
              <a:gd name="T30" fmla="*/ 2147483647 w 409"/>
              <a:gd name="T31" fmla="*/ 2147483647 h 589"/>
              <a:gd name="T32" fmla="*/ 2147483647 w 409"/>
              <a:gd name="T33" fmla="*/ 2147483647 h 589"/>
              <a:gd name="T34" fmla="*/ 2147483647 w 409"/>
              <a:gd name="T35" fmla="*/ 2147483647 h 589"/>
              <a:gd name="T36" fmla="*/ 2147483647 w 409"/>
              <a:gd name="T37" fmla="*/ 2147483647 h 589"/>
              <a:gd name="T38" fmla="*/ 2147483647 w 409"/>
              <a:gd name="T39" fmla="*/ 2147483647 h 589"/>
              <a:gd name="T40" fmla="*/ 2147483647 w 409"/>
              <a:gd name="T41" fmla="*/ 2147483647 h 589"/>
              <a:gd name="T42" fmla="*/ 2147483647 w 409"/>
              <a:gd name="T43" fmla="*/ 2147483647 h 589"/>
              <a:gd name="T44" fmla="*/ 2147483647 w 409"/>
              <a:gd name="T45" fmla="*/ 2147483647 h 589"/>
              <a:gd name="T46" fmla="*/ 2147483647 w 409"/>
              <a:gd name="T47" fmla="*/ 2147483647 h 589"/>
              <a:gd name="T48" fmla="*/ 2147483647 w 409"/>
              <a:gd name="T49" fmla="*/ 2147483647 h 589"/>
              <a:gd name="T50" fmla="*/ 2147483647 w 409"/>
              <a:gd name="T51" fmla="*/ 2147483647 h 589"/>
              <a:gd name="T52" fmla="*/ 2147483647 w 409"/>
              <a:gd name="T53" fmla="*/ 2147483647 h 589"/>
              <a:gd name="T54" fmla="*/ 2147483647 w 409"/>
              <a:gd name="T55" fmla="*/ 2147483647 h 589"/>
              <a:gd name="T56" fmla="*/ 2147483647 w 409"/>
              <a:gd name="T57" fmla="*/ 2147483647 h 589"/>
              <a:gd name="T58" fmla="*/ 2147483647 w 409"/>
              <a:gd name="T59" fmla="*/ 2147483647 h 589"/>
              <a:gd name="T60" fmla="*/ 2147483647 w 409"/>
              <a:gd name="T61" fmla="*/ 2147483647 h 589"/>
              <a:gd name="T62" fmla="*/ 2147483647 w 409"/>
              <a:gd name="T63" fmla="*/ 2147483647 h 589"/>
              <a:gd name="T64" fmla="*/ 2147483647 w 409"/>
              <a:gd name="T65" fmla="*/ 2147483647 h 589"/>
              <a:gd name="T66" fmla="*/ 2147483647 w 409"/>
              <a:gd name="T67" fmla="*/ 2147483647 h 589"/>
              <a:gd name="T68" fmla="*/ 2147483647 w 409"/>
              <a:gd name="T69" fmla="*/ 2147483647 h 589"/>
              <a:gd name="T70" fmla="*/ 2147483647 w 409"/>
              <a:gd name="T71" fmla="*/ 2147483647 h 589"/>
              <a:gd name="T72" fmla="*/ 2147483647 w 409"/>
              <a:gd name="T73" fmla="*/ 2147483647 h 58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409" h="589">
                <a:moveTo>
                  <a:pt x="401" y="67"/>
                </a:moveTo>
                <a:cubicBezTo>
                  <a:pt x="405" y="67"/>
                  <a:pt x="409" y="64"/>
                  <a:pt x="409" y="59"/>
                </a:cubicBezTo>
                <a:cubicBezTo>
                  <a:pt x="409" y="40"/>
                  <a:pt x="409" y="40"/>
                  <a:pt x="409" y="40"/>
                </a:cubicBezTo>
                <a:cubicBezTo>
                  <a:pt x="409" y="18"/>
                  <a:pt x="391" y="0"/>
                  <a:pt x="369" y="0"/>
                </a:cubicBezTo>
                <a:cubicBezTo>
                  <a:pt x="40" y="0"/>
                  <a:pt x="40" y="0"/>
                  <a:pt x="40" y="0"/>
                </a:cubicBezTo>
                <a:cubicBezTo>
                  <a:pt x="18" y="0"/>
                  <a:pt x="0" y="18"/>
                  <a:pt x="0" y="40"/>
                </a:cubicBezTo>
                <a:cubicBezTo>
                  <a:pt x="0" y="549"/>
                  <a:pt x="0" y="549"/>
                  <a:pt x="0" y="549"/>
                </a:cubicBezTo>
                <a:cubicBezTo>
                  <a:pt x="0" y="571"/>
                  <a:pt x="18" y="589"/>
                  <a:pt x="40" y="589"/>
                </a:cubicBezTo>
                <a:cubicBezTo>
                  <a:pt x="369" y="589"/>
                  <a:pt x="369" y="589"/>
                  <a:pt x="369" y="589"/>
                </a:cubicBezTo>
                <a:cubicBezTo>
                  <a:pt x="391" y="589"/>
                  <a:pt x="409" y="571"/>
                  <a:pt x="409" y="549"/>
                </a:cubicBezTo>
                <a:cubicBezTo>
                  <a:pt x="409" y="91"/>
                  <a:pt x="409" y="91"/>
                  <a:pt x="409" y="91"/>
                </a:cubicBezTo>
                <a:cubicBezTo>
                  <a:pt x="409" y="87"/>
                  <a:pt x="405" y="83"/>
                  <a:pt x="401" y="83"/>
                </a:cubicBezTo>
                <a:cubicBezTo>
                  <a:pt x="397" y="83"/>
                  <a:pt x="393" y="87"/>
                  <a:pt x="393" y="91"/>
                </a:cubicBezTo>
                <a:cubicBezTo>
                  <a:pt x="393" y="549"/>
                  <a:pt x="393" y="549"/>
                  <a:pt x="393" y="549"/>
                </a:cubicBezTo>
                <a:cubicBezTo>
                  <a:pt x="393" y="562"/>
                  <a:pt x="382" y="573"/>
                  <a:pt x="369" y="573"/>
                </a:cubicBezTo>
                <a:cubicBezTo>
                  <a:pt x="40" y="573"/>
                  <a:pt x="40" y="573"/>
                  <a:pt x="40" y="573"/>
                </a:cubicBezTo>
                <a:cubicBezTo>
                  <a:pt x="26" y="573"/>
                  <a:pt x="16" y="562"/>
                  <a:pt x="16" y="549"/>
                </a:cubicBezTo>
                <a:cubicBezTo>
                  <a:pt x="16" y="40"/>
                  <a:pt x="16" y="40"/>
                  <a:pt x="16" y="40"/>
                </a:cubicBezTo>
                <a:cubicBezTo>
                  <a:pt x="16" y="27"/>
                  <a:pt x="26" y="16"/>
                  <a:pt x="40" y="16"/>
                </a:cubicBezTo>
                <a:cubicBezTo>
                  <a:pt x="369" y="16"/>
                  <a:pt x="369" y="16"/>
                  <a:pt x="369" y="16"/>
                </a:cubicBezTo>
                <a:cubicBezTo>
                  <a:pt x="382" y="16"/>
                  <a:pt x="393" y="27"/>
                  <a:pt x="393" y="40"/>
                </a:cubicBezTo>
                <a:cubicBezTo>
                  <a:pt x="393" y="59"/>
                  <a:pt x="393" y="59"/>
                  <a:pt x="393" y="59"/>
                </a:cubicBezTo>
                <a:cubicBezTo>
                  <a:pt x="393" y="64"/>
                  <a:pt x="397" y="67"/>
                  <a:pt x="401" y="67"/>
                </a:cubicBezTo>
                <a:close/>
                <a:moveTo>
                  <a:pt x="319" y="153"/>
                </a:moveTo>
                <a:cubicBezTo>
                  <a:pt x="323" y="153"/>
                  <a:pt x="327" y="149"/>
                  <a:pt x="327" y="145"/>
                </a:cubicBezTo>
                <a:cubicBezTo>
                  <a:pt x="327" y="145"/>
                  <a:pt x="327" y="145"/>
                  <a:pt x="327" y="145"/>
                </a:cubicBezTo>
                <a:cubicBezTo>
                  <a:pt x="327" y="86"/>
                  <a:pt x="327" y="86"/>
                  <a:pt x="327" y="86"/>
                </a:cubicBezTo>
                <a:cubicBezTo>
                  <a:pt x="327" y="84"/>
                  <a:pt x="326" y="82"/>
                  <a:pt x="324" y="80"/>
                </a:cubicBezTo>
                <a:cubicBezTo>
                  <a:pt x="323" y="79"/>
                  <a:pt x="321" y="78"/>
                  <a:pt x="319" y="78"/>
                </a:cubicBezTo>
                <a:cubicBezTo>
                  <a:pt x="260" y="78"/>
                  <a:pt x="260" y="78"/>
                  <a:pt x="260" y="78"/>
                </a:cubicBezTo>
                <a:cubicBezTo>
                  <a:pt x="255" y="78"/>
                  <a:pt x="252" y="82"/>
                  <a:pt x="252" y="86"/>
                </a:cubicBezTo>
                <a:cubicBezTo>
                  <a:pt x="252" y="91"/>
                  <a:pt x="255" y="94"/>
                  <a:pt x="260" y="94"/>
                </a:cubicBezTo>
                <a:cubicBezTo>
                  <a:pt x="299" y="94"/>
                  <a:pt x="299" y="94"/>
                  <a:pt x="299" y="94"/>
                </a:cubicBezTo>
                <a:cubicBezTo>
                  <a:pt x="198" y="195"/>
                  <a:pt x="198" y="195"/>
                  <a:pt x="198" y="195"/>
                </a:cubicBezTo>
                <a:cubicBezTo>
                  <a:pt x="97" y="94"/>
                  <a:pt x="97" y="94"/>
                  <a:pt x="97" y="94"/>
                </a:cubicBezTo>
                <a:cubicBezTo>
                  <a:pt x="137" y="94"/>
                  <a:pt x="137" y="94"/>
                  <a:pt x="137" y="94"/>
                </a:cubicBezTo>
                <a:cubicBezTo>
                  <a:pt x="141" y="94"/>
                  <a:pt x="145" y="91"/>
                  <a:pt x="145" y="86"/>
                </a:cubicBezTo>
                <a:cubicBezTo>
                  <a:pt x="145" y="82"/>
                  <a:pt x="141" y="78"/>
                  <a:pt x="137" y="78"/>
                </a:cubicBezTo>
                <a:cubicBezTo>
                  <a:pt x="78" y="78"/>
                  <a:pt x="78" y="78"/>
                  <a:pt x="78" y="78"/>
                </a:cubicBezTo>
                <a:cubicBezTo>
                  <a:pt x="76" y="78"/>
                  <a:pt x="74" y="79"/>
                  <a:pt x="73" y="80"/>
                </a:cubicBezTo>
                <a:cubicBezTo>
                  <a:pt x="71" y="82"/>
                  <a:pt x="70" y="84"/>
                  <a:pt x="70" y="86"/>
                </a:cubicBezTo>
                <a:cubicBezTo>
                  <a:pt x="70" y="145"/>
                  <a:pt x="70" y="145"/>
                  <a:pt x="70" y="145"/>
                </a:cubicBezTo>
                <a:cubicBezTo>
                  <a:pt x="70" y="149"/>
                  <a:pt x="74" y="153"/>
                  <a:pt x="78" y="153"/>
                </a:cubicBezTo>
                <a:cubicBezTo>
                  <a:pt x="83" y="153"/>
                  <a:pt x="86" y="149"/>
                  <a:pt x="86" y="145"/>
                </a:cubicBezTo>
                <a:cubicBezTo>
                  <a:pt x="86" y="105"/>
                  <a:pt x="86" y="105"/>
                  <a:pt x="86" y="105"/>
                </a:cubicBezTo>
                <a:cubicBezTo>
                  <a:pt x="187" y="206"/>
                  <a:pt x="187" y="206"/>
                  <a:pt x="187" y="206"/>
                </a:cubicBezTo>
                <a:cubicBezTo>
                  <a:pt x="86" y="307"/>
                  <a:pt x="86" y="307"/>
                  <a:pt x="86" y="307"/>
                </a:cubicBezTo>
                <a:cubicBezTo>
                  <a:pt x="86" y="268"/>
                  <a:pt x="86" y="268"/>
                  <a:pt x="86" y="268"/>
                </a:cubicBezTo>
                <a:cubicBezTo>
                  <a:pt x="86" y="263"/>
                  <a:pt x="83" y="260"/>
                  <a:pt x="78" y="260"/>
                </a:cubicBezTo>
                <a:cubicBezTo>
                  <a:pt x="74" y="260"/>
                  <a:pt x="70" y="263"/>
                  <a:pt x="70" y="268"/>
                </a:cubicBezTo>
                <a:cubicBezTo>
                  <a:pt x="70" y="268"/>
                  <a:pt x="70" y="268"/>
                  <a:pt x="70" y="268"/>
                </a:cubicBezTo>
                <a:cubicBezTo>
                  <a:pt x="70" y="327"/>
                  <a:pt x="70" y="327"/>
                  <a:pt x="70" y="327"/>
                </a:cubicBezTo>
                <a:cubicBezTo>
                  <a:pt x="70" y="329"/>
                  <a:pt x="71" y="331"/>
                  <a:pt x="73" y="332"/>
                </a:cubicBezTo>
                <a:cubicBezTo>
                  <a:pt x="74" y="334"/>
                  <a:pt x="76" y="335"/>
                  <a:pt x="78" y="335"/>
                </a:cubicBezTo>
                <a:cubicBezTo>
                  <a:pt x="137" y="335"/>
                  <a:pt x="137" y="335"/>
                  <a:pt x="137" y="335"/>
                </a:cubicBezTo>
                <a:cubicBezTo>
                  <a:pt x="141" y="335"/>
                  <a:pt x="145" y="331"/>
                  <a:pt x="145" y="327"/>
                </a:cubicBezTo>
                <a:cubicBezTo>
                  <a:pt x="145" y="322"/>
                  <a:pt x="141" y="319"/>
                  <a:pt x="137" y="319"/>
                </a:cubicBezTo>
                <a:cubicBezTo>
                  <a:pt x="97" y="319"/>
                  <a:pt x="97" y="319"/>
                  <a:pt x="97" y="319"/>
                </a:cubicBezTo>
                <a:cubicBezTo>
                  <a:pt x="198" y="218"/>
                  <a:pt x="198" y="218"/>
                  <a:pt x="198" y="218"/>
                </a:cubicBezTo>
                <a:cubicBezTo>
                  <a:pt x="299" y="319"/>
                  <a:pt x="299" y="319"/>
                  <a:pt x="299" y="319"/>
                </a:cubicBezTo>
                <a:cubicBezTo>
                  <a:pt x="260" y="319"/>
                  <a:pt x="260" y="319"/>
                  <a:pt x="260" y="319"/>
                </a:cubicBezTo>
                <a:cubicBezTo>
                  <a:pt x="255" y="319"/>
                  <a:pt x="252" y="322"/>
                  <a:pt x="252" y="327"/>
                </a:cubicBezTo>
                <a:cubicBezTo>
                  <a:pt x="252" y="331"/>
                  <a:pt x="255" y="335"/>
                  <a:pt x="260" y="335"/>
                </a:cubicBezTo>
                <a:cubicBezTo>
                  <a:pt x="260" y="335"/>
                  <a:pt x="260" y="335"/>
                  <a:pt x="260" y="335"/>
                </a:cubicBezTo>
                <a:cubicBezTo>
                  <a:pt x="319" y="335"/>
                  <a:pt x="319" y="335"/>
                  <a:pt x="319" y="335"/>
                </a:cubicBezTo>
                <a:cubicBezTo>
                  <a:pt x="321" y="335"/>
                  <a:pt x="323" y="334"/>
                  <a:pt x="324" y="332"/>
                </a:cubicBezTo>
                <a:cubicBezTo>
                  <a:pt x="326" y="331"/>
                  <a:pt x="327" y="329"/>
                  <a:pt x="327" y="327"/>
                </a:cubicBezTo>
                <a:cubicBezTo>
                  <a:pt x="327" y="268"/>
                  <a:pt x="327" y="268"/>
                  <a:pt x="327" y="268"/>
                </a:cubicBezTo>
                <a:cubicBezTo>
                  <a:pt x="327" y="263"/>
                  <a:pt x="323" y="260"/>
                  <a:pt x="319" y="260"/>
                </a:cubicBezTo>
                <a:cubicBezTo>
                  <a:pt x="314" y="260"/>
                  <a:pt x="311" y="263"/>
                  <a:pt x="311" y="268"/>
                </a:cubicBezTo>
                <a:cubicBezTo>
                  <a:pt x="311" y="307"/>
                  <a:pt x="311" y="307"/>
                  <a:pt x="311" y="307"/>
                </a:cubicBezTo>
                <a:cubicBezTo>
                  <a:pt x="210" y="206"/>
                  <a:pt x="210" y="206"/>
                  <a:pt x="210" y="206"/>
                </a:cubicBezTo>
                <a:cubicBezTo>
                  <a:pt x="311" y="105"/>
                  <a:pt x="311" y="105"/>
                  <a:pt x="311" y="105"/>
                </a:cubicBezTo>
                <a:cubicBezTo>
                  <a:pt x="311" y="145"/>
                  <a:pt x="311" y="145"/>
                  <a:pt x="311" y="145"/>
                </a:cubicBezTo>
                <a:cubicBezTo>
                  <a:pt x="311" y="149"/>
                  <a:pt x="314" y="153"/>
                  <a:pt x="319" y="153"/>
                </a:cubicBezTo>
                <a:close/>
              </a:path>
            </a:pathLst>
          </a:custGeom>
          <a:solidFill>
            <a:srgbClr val="00285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/>
          </a:p>
        </p:txBody>
      </p:sp>
      <p:sp>
        <p:nvSpPr>
          <p:cNvPr id="6158" name="Text Box 34"/>
          <p:cNvSpPr txBox="1">
            <a:spLocks noChangeAspect="1" noChangeArrowheads="1"/>
          </p:cNvSpPr>
          <p:nvPr/>
        </p:nvSpPr>
        <p:spPr bwMode="auto">
          <a:xfrm>
            <a:off x="2128841" y="5301427"/>
            <a:ext cx="574675" cy="147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01688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801688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801688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801688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801688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sv-SE" sz="1200">
                <a:solidFill>
                  <a:srgbClr val="00285F"/>
                </a:solidFill>
              </a:rPr>
              <a:t>S/PGW</a:t>
            </a:r>
          </a:p>
        </p:txBody>
      </p:sp>
      <p:sp>
        <p:nvSpPr>
          <p:cNvPr id="6159" name="Text Box 7"/>
          <p:cNvSpPr txBox="1">
            <a:spLocks noChangeArrowheads="1"/>
          </p:cNvSpPr>
          <p:nvPr/>
        </p:nvSpPr>
        <p:spPr bwMode="auto">
          <a:xfrm>
            <a:off x="5335613" y="6021423"/>
            <a:ext cx="1006525" cy="461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4" tIns="45712" rIns="91424" bIns="45712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2400"/>
              <a:t>Today</a:t>
            </a:r>
          </a:p>
        </p:txBody>
      </p:sp>
      <p:sp>
        <p:nvSpPr>
          <p:cNvPr id="119817" name="Text Box 9"/>
          <p:cNvSpPr txBox="1">
            <a:spLocks noChangeArrowheads="1"/>
          </p:cNvSpPr>
          <p:nvPr/>
        </p:nvSpPr>
        <p:spPr bwMode="auto">
          <a:xfrm>
            <a:off x="5186364" y="1268448"/>
            <a:ext cx="1139242" cy="46164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1987" tIns="45712" rIns="71987" bIns="45712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2400">
                <a:solidFill>
                  <a:srgbClr val="0099FF"/>
                </a:solidFill>
              </a:rPr>
              <a:t>Shared</a:t>
            </a:r>
          </a:p>
        </p:txBody>
      </p:sp>
      <p:sp>
        <p:nvSpPr>
          <p:cNvPr id="6161" name="Text Box 7"/>
          <p:cNvSpPr txBox="1">
            <a:spLocks noChangeArrowheads="1"/>
          </p:cNvSpPr>
          <p:nvPr/>
        </p:nvSpPr>
        <p:spPr bwMode="auto">
          <a:xfrm>
            <a:off x="9482139" y="6021423"/>
            <a:ext cx="1537120" cy="461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4" tIns="45712" rIns="91424" bIns="45712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2400"/>
              <a:t>Tomorrow</a:t>
            </a:r>
          </a:p>
        </p:txBody>
      </p:sp>
      <p:sp>
        <p:nvSpPr>
          <p:cNvPr id="119818" name="Text Box 10"/>
          <p:cNvSpPr txBox="1">
            <a:spLocks noChangeArrowheads="1"/>
          </p:cNvSpPr>
          <p:nvPr/>
        </p:nvSpPr>
        <p:spPr bwMode="auto">
          <a:xfrm>
            <a:off x="9409114" y="836622"/>
            <a:ext cx="1531978" cy="46164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1987" tIns="45712" rIns="71987" bIns="45712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2400" dirty="0">
                <a:solidFill>
                  <a:srgbClr val="0099FF"/>
                </a:solidFill>
              </a:rPr>
              <a:t>Integrated</a:t>
            </a:r>
          </a:p>
        </p:txBody>
      </p:sp>
      <p:sp>
        <p:nvSpPr>
          <p:cNvPr id="6163" name="Freeform 8"/>
          <p:cNvSpPr>
            <a:spLocks/>
          </p:cNvSpPr>
          <p:nvPr/>
        </p:nvSpPr>
        <p:spPr bwMode="auto">
          <a:xfrm>
            <a:off x="3073403" y="4654586"/>
            <a:ext cx="1728788" cy="847725"/>
          </a:xfrm>
          <a:custGeom>
            <a:avLst/>
            <a:gdLst>
              <a:gd name="T0" fmla="*/ 2147483647 w 545"/>
              <a:gd name="T1" fmla="*/ 2147483647 h 226"/>
              <a:gd name="T2" fmla="*/ 2147483647 w 545"/>
              <a:gd name="T3" fmla="*/ 2147483647 h 226"/>
              <a:gd name="T4" fmla="*/ 2147483647 w 545"/>
              <a:gd name="T5" fmla="*/ 2147483647 h 226"/>
              <a:gd name="T6" fmla="*/ 0 w 545"/>
              <a:gd name="T7" fmla="*/ 2147483647 h 226"/>
              <a:gd name="T8" fmla="*/ 2147483647 w 545"/>
              <a:gd name="T9" fmla="*/ 2147483647 h 226"/>
              <a:gd name="T10" fmla="*/ 2147483647 w 545"/>
              <a:gd name="T11" fmla="*/ 2147483647 h 226"/>
              <a:gd name="T12" fmla="*/ 2147483647 w 545"/>
              <a:gd name="T13" fmla="*/ 2147483647 h 226"/>
              <a:gd name="T14" fmla="*/ 2147483647 w 545"/>
              <a:gd name="T15" fmla="*/ 2147483647 h 226"/>
              <a:gd name="T16" fmla="*/ 2147483647 w 545"/>
              <a:gd name="T17" fmla="*/ 0 h 226"/>
              <a:gd name="T18" fmla="*/ 2147483647 w 545"/>
              <a:gd name="T19" fmla="*/ 2147483647 h 226"/>
              <a:gd name="T20" fmla="*/ 2147483647 w 545"/>
              <a:gd name="T21" fmla="*/ 2147483647 h 226"/>
              <a:gd name="T22" fmla="*/ 2147483647 w 545"/>
              <a:gd name="T23" fmla="*/ 2147483647 h 226"/>
              <a:gd name="T24" fmla="*/ 2147483647 w 545"/>
              <a:gd name="T25" fmla="*/ 2147483647 h 226"/>
              <a:gd name="T26" fmla="*/ 2147483647 w 545"/>
              <a:gd name="T27" fmla="*/ 2147483647 h 226"/>
              <a:gd name="T28" fmla="*/ 2147483647 w 545"/>
              <a:gd name="T29" fmla="*/ 2147483647 h 226"/>
              <a:gd name="T30" fmla="*/ 2147483647 w 545"/>
              <a:gd name="T31" fmla="*/ 2147483647 h 226"/>
              <a:gd name="T32" fmla="*/ 2147483647 w 545"/>
              <a:gd name="T33" fmla="*/ 2147483647 h 226"/>
              <a:gd name="T34" fmla="*/ 2147483647 w 545"/>
              <a:gd name="T35" fmla="*/ 2147483647 h 226"/>
              <a:gd name="T36" fmla="*/ 2147483647 w 545"/>
              <a:gd name="T37" fmla="*/ 2147483647 h 226"/>
              <a:gd name="T38" fmla="*/ 2147483647 w 545"/>
              <a:gd name="T39" fmla="*/ 2147483647 h 226"/>
              <a:gd name="T40" fmla="*/ 2147483647 w 545"/>
              <a:gd name="T41" fmla="*/ 2147483647 h 226"/>
              <a:gd name="T42" fmla="*/ 2147483647 w 545"/>
              <a:gd name="T43" fmla="*/ 2147483647 h 226"/>
              <a:gd name="T44" fmla="*/ 2147483647 w 545"/>
              <a:gd name="T45" fmla="*/ 2147483647 h 226"/>
              <a:gd name="T46" fmla="*/ 2147483647 w 545"/>
              <a:gd name="T47" fmla="*/ 2147483647 h 226"/>
              <a:gd name="T48" fmla="*/ 2147483647 w 545"/>
              <a:gd name="T49" fmla="*/ 2147483647 h 226"/>
              <a:gd name="T50" fmla="*/ 2147483647 w 545"/>
              <a:gd name="T51" fmla="*/ 2147483647 h 226"/>
              <a:gd name="T52" fmla="*/ 2147483647 w 545"/>
              <a:gd name="T53" fmla="*/ 2147483647 h 226"/>
              <a:gd name="T54" fmla="*/ 2147483647 w 545"/>
              <a:gd name="T55" fmla="*/ 2147483647 h 226"/>
              <a:gd name="T56" fmla="*/ 2147483647 w 545"/>
              <a:gd name="T57" fmla="*/ 2147483647 h 226"/>
              <a:gd name="T58" fmla="*/ 2147483647 w 545"/>
              <a:gd name="T59" fmla="*/ 2147483647 h 226"/>
              <a:gd name="T60" fmla="*/ 2147483647 w 545"/>
              <a:gd name="T61" fmla="*/ 2147483647 h 226"/>
              <a:gd name="T62" fmla="*/ 2147483647 w 545"/>
              <a:gd name="T63" fmla="*/ 2147483647 h 226"/>
              <a:gd name="T64" fmla="*/ 2147483647 w 545"/>
              <a:gd name="T65" fmla="*/ 2147483647 h 226"/>
              <a:gd name="T66" fmla="*/ 2147483647 w 545"/>
              <a:gd name="T67" fmla="*/ 2147483647 h 226"/>
              <a:gd name="T68" fmla="*/ 2147483647 w 545"/>
              <a:gd name="T69" fmla="*/ 2147483647 h 226"/>
              <a:gd name="T70" fmla="*/ 2147483647 w 545"/>
              <a:gd name="T71" fmla="*/ 2147483647 h 226"/>
              <a:gd name="T72" fmla="*/ 2147483647 w 545"/>
              <a:gd name="T73" fmla="*/ 2147483647 h 226"/>
              <a:gd name="T74" fmla="*/ 2147483647 w 545"/>
              <a:gd name="T75" fmla="*/ 2147483647 h 226"/>
              <a:gd name="T76" fmla="*/ 2147483647 w 545"/>
              <a:gd name="T77" fmla="*/ 2147483647 h 226"/>
              <a:gd name="T78" fmla="*/ 2147483647 w 545"/>
              <a:gd name="T79" fmla="*/ 2147483647 h 226"/>
              <a:gd name="T80" fmla="*/ 2147483647 w 545"/>
              <a:gd name="T81" fmla="*/ 2147483647 h 226"/>
              <a:gd name="T82" fmla="*/ 2147483647 w 545"/>
              <a:gd name="T83" fmla="*/ 2147483647 h 226"/>
              <a:gd name="T84" fmla="*/ 2147483647 w 545"/>
              <a:gd name="T85" fmla="*/ 2147483647 h 22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545"/>
              <a:gd name="T130" fmla="*/ 0 h 226"/>
              <a:gd name="T131" fmla="*/ 545 w 545"/>
              <a:gd name="T132" fmla="*/ 226 h 22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545" h="226">
                <a:moveTo>
                  <a:pt x="396" y="218"/>
                </a:moveTo>
                <a:cubicBezTo>
                  <a:pt x="392" y="213"/>
                  <a:pt x="391" y="207"/>
                  <a:pt x="390" y="200"/>
                </a:cubicBezTo>
                <a:cubicBezTo>
                  <a:pt x="390" y="200"/>
                  <a:pt x="390" y="200"/>
                  <a:pt x="390" y="200"/>
                </a:cubicBezTo>
                <a:cubicBezTo>
                  <a:pt x="390" y="197"/>
                  <a:pt x="390" y="194"/>
                  <a:pt x="390" y="191"/>
                </a:cubicBezTo>
                <a:cubicBezTo>
                  <a:pt x="390" y="191"/>
                  <a:pt x="390" y="191"/>
                  <a:pt x="390" y="191"/>
                </a:cubicBezTo>
                <a:cubicBezTo>
                  <a:pt x="22" y="191"/>
                  <a:pt x="22" y="191"/>
                  <a:pt x="22" y="191"/>
                </a:cubicBezTo>
                <a:cubicBezTo>
                  <a:pt x="10" y="191"/>
                  <a:pt x="0" y="181"/>
                  <a:pt x="0" y="169"/>
                </a:cubicBezTo>
                <a:cubicBezTo>
                  <a:pt x="0" y="169"/>
                  <a:pt x="0" y="169"/>
                  <a:pt x="0" y="169"/>
                </a:cubicBezTo>
                <a:cubicBezTo>
                  <a:pt x="0" y="57"/>
                  <a:pt x="0" y="57"/>
                  <a:pt x="0" y="57"/>
                </a:cubicBezTo>
                <a:cubicBezTo>
                  <a:pt x="0" y="45"/>
                  <a:pt x="10" y="35"/>
                  <a:pt x="22" y="35"/>
                </a:cubicBezTo>
                <a:cubicBezTo>
                  <a:pt x="22" y="35"/>
                  <a:pt x="22" y="35"/>
                  <a:pt x="22" y="35"/>
                </a:cubicBezTo>
                <a:cubicBezTo>
                  <a:pt x="390" y="35"/>
                  <a:pt x="390" y="35"/>
                  <a:pt x="390" y="35"/>
                </a:cubicBezTo>
                <a:cubicBezTo>
                  <a:pt x="390" y="32"/>
                  <a:pt x="390" y="29"/>
                  <a:pt x="390" y="26"/>
                </a:cubicBezTo>
                <a:cubicBezTo>
                  <a:pt x="390" y="26"/>
                  <a:pt x="390" y="26"/>
                  <a:pt x="390" y="26"/>
                </a:cubicBezTo>
                <a:cubicBezTo>
                  <a:pt x="391" y="19"/>
                  <a:pt x="392" y="13"/>
                  <a:pt x="395" y="8"/>
                </a:cubicBezTo>
                <a:cubicBezTo>
                  <a:pt x="395" y="8"/>
                  <a:pt x="395" y="8"/>
                  <a:pt x="395" y="8"/>
                </a:cubicBezTo>
                <a:cubicBezTo>
                  <a:pt x="398" y="3"/>
                  <a:pt x="404" y="0"/>
                  <a:pt x="410" y="0"/>
                </a:cubicBezTo>
                <a:cubicBezTo>
                  <a:pt x="410" y="0"/>
                  <a:pt x="410" y="0"/>
                  <a:pt x="410" y="0"/>
                </a:cubicBezTo>
                <a:cubicBezTo>
                  <a:pt x="417" y="0"/>
                  <a:pt x="422" y="3"/>
                  <a:pt x="428" y="7"/>
                </a:cubicBezTo>
                <a:cubicBezTo>
                  <a:pt x="428" y="7"/>
                  <a:pt x="428" y="7"/>
                  <a:pt x="428" y="7"/>
                </a:cubicBezTo>
                <a:cubicBezTo>
                  <a:pt x="429" y="7"/>
                  <a:pt x="429" y="7"/>
                  <a:pt x="429" y="8"/>
                </a:cubicBezTo>
                <a:cubicBezTo>
                  <a:pt x="429" y="8"/>
                  <a:pt x="429" y="8"/>
                  <a:pt x="429" y="8"/>
                </a:cubicBezTo>
                <a:cubicBezTo>
                  <a:pt x="430" y="8"/>
                  <a:pt x="430" y="8"/>
                  <a:pt x="431" y="9"/>
                </a:cubicBezTo>
                <a:cubicBezTo>
                  <a:pt x="431" y="9"/>
                  <a:pt x="431" y="9"/>
                  <a:pt x="431" y="9"/>
                </a:cubicBezTo>
                <a:cubicBezTo>
                  <a:pt x="432" y="10"/>
                  <a:pt x="434" y="11"/>
                  <a:pt x="436" y="13"/>
                </a:cubicBezTo>
                <a:cubicBezTo>
                  <a:pt x="436" y="13"/>
                  <a:pt x="436" y="13"/>
                  <a:pt x="436" y="13"/>
                </a:cubicBezTo>
                <a:cubicBezTo>
                  <a:pt x="441" y="17"/>
                  <a:pt x="447" y="22"/>
                  <a:pt x="455" y="28"/>
                </a:cubicBezTo>
                <a:cubicBezTo>
                  <a:pt x="455" y="28"/>
                  <a:pt x="455" y="28"/>
                  <a:pt x="455" y="28"/>
                </a:cubicBezTo>
                <a:cubicBezTo>
                  <a:pt x="455" y="28"/>
                  <a:pt x="455" y="28"/>
                  <a:pt x="455" y="28"/>
                </a:cubicBezTo>
                <a:cubicBezTo>
                  <a:pt x="458" y="31"/>
                  <a:pt x="459" y="36"/>
                  <a:pt x="456" y="39"/>
                </a:cubicBezTo>
                <a:cubicBezTo>
                  <a:pt x="456" y="39"/>
                  <a:pt x="456" y="39"/>
                  <a:pt x="456" y="39"/>
                </a:cubicBezTo>
                <a:cubicBezTo>
                  <a:pt x="453" y="43"/>
                  <a:pt x="448" y="43"/>
                  <a:pt x="445" y="40"/>
                </a:cubicBezTo>
                <a:cubicBezTo>
                  <a:pt x="445" y="40"/>
                  <a:pt x="445" y="40"/>
                  <a:pt x="445" y="40"/>
                </a:cubicBezTo>
                <a:cubicBezTo>
                  <a:pt x="431" y="29"/>
                  <a:pt x="420" y="21"/>
                  <a:pt x="419" y="20"/>
                </a:cubicBezTo>
                <a:cubicBezTo>
                  <a:pt x="419" y="20"/>
                  <a:pt x="419" y="20"/>
                  <a:pt x="419" y="20"/>
                </a:cubicBezTo>
                <a:cubicBezTo>
                  <a:pt x="415" y="17"/>
                  <a:pt x="411" y="16"/>
                  <a:pt x="410" y="16"/>
                </a:cubicBezTo>
                <a:cubicBezTo>
                  <a:pt x="410" y="16"/>
                  <a:pt x="410" y="16"/>
                  <a:pt x="410" y="16"/>
                </a:cubicBezTo>
                <a:cubicBezTo>
                  <a:pt x="409" y="16"/>
                  <a:pt x="409" y="16"/>
                  <a:pt x="408" y="17"/>
                </a:cubicBezTo>
                <a:cubicBezTo>
                  <a:pt x="408" y="17"/>
                  <a:pt x="408" y="17"/>
                  <a:pt x="408" y="17"/>
                </a:cubicBezTo>
                <a:cubicBezTo>
                  <a:pt x="408" y="18"/>
                  <a:pt x="407" y="21"/>
                  <a:pt x="406" y="27"/>
                </a:cubicBezTo>
                <a:cubicBezTo>
                  <a:pt x="406" y="27"/>
                  <a:pt x="406" y="27"/>
                  <a:pt x="406" y="27"/>
                </a:cubicBezTo>
                <a:cubicBezTo>
                  <a:pt x="406" y="31"/>
                  <a:pt x="406" y="36"/>
                  <a:pt x="406" y="43"/>
                </a:cubicBezTo>
                <a:cubicBezTo>
                  <a:pt x="406" y="43"/>
                  <a:pt x="406" y="43"/>
                  <a:pt x="406" y="43"/>
                </a:cubicBezTo>
                <a:cubicBezTo>
                  <a:pt x="406" y="47"/>
                  <a:pt x="403" y="51"/>
                  <a:pt x="398" y="51"/>
                </a:cubicBezTo>
                <a:cubicBezTo>
                  <a:pt x="398" y="51"/>
                  <a:pt x="398" y="51"/>
                  <a:pt x="398" y="51"/>
                </a:cubicBezTo>
                <a:cubicBezTo>
                  <a:pt x="22" y="51"/>
                  <a:pt x="22" y="51"/>
                  <a:pt x="22" y="51"/>
                </a:cubicBezTo>
                <a:cubicBezTo>
                  <a:pt x="19" y="51"/>
                  <a:pt x="16" y="54"/>
                  <a:pt x="16" y="57"/>
                </a:cubicBezTo>
                <a:cubicBezTo>
                  <a:pt x="16" y="57"/>
                  <a:pt x="16" y="57"/>
                  <a:pt x="16" y="57"/>
                </a:cubicBezTo>
                <a:cubicBezTo>
                  <a:pt x="16" y="169"/>
                  <a:pt x="16" y="169"/>
                  <a:pt x="16" y="169"/>
                </a:cubicBezTo>
                <a:cubicBezTo>
                  <a:pt x="16" y="172"/>
                  <a:pt x="19" y="175"/>
                  <a:pt x="22" y="175"/>
                </a:cubicBezTo>
                <a:cubicBezTo>
                  <a:pt x="22" y="175"/>
                  <a:pt x="22" y="175"/>
                  <a:pt x="22" y="175"/>
                </a:cubicBezTo>
                <a:cubicBezTo>
                  <a:pt x="398" y="175"/>
                  <a:pt x="398" y="175"/>
                  <a:pt x="398" y="175"/>
                </a:cubicBezTo>
                <a:cubicBezTo>
                  <a:pt x="403" y="175"/>
                  <a:pt x="406" y="179"/>
                  <a:pt x="406" y="183"/>
                </a:cubicBezTo>
                <a:cubicBezTo>
                  <a:pt x="406" y="183"/>
                  <a:pt x="406" y="183"/>
                  <a:pt x="406" y="183"/>
                </a:cubicBezTo>
                <a:cubicBezTo>
                  <a:pt x="406" y="190"/>
                  <a:pt x="406" y="196"/>
                  <a:pt x="406" y="200"/>
                </a:cubicBezTo>
                <a:cubicBezTo>
                  <a:pt x="406" y="200"/>
                  <a:pt x="406" y="200"/>
                  <a:pt x="406" y="200"/>
                </a:cubicBezTo>
                <a:cubicBezTo>
                  <a:pt x="407" y="205"/>
                  <a:pt x="408" y="208"/>
                  <a:pt x="409" y="209"/>
                </a:cubicBezTo>
                <a:cubicBezTo>
                  <a:pt x="409" y="209"/>
                  <a:pt x="409" y="209"/>
                  <a:pt x="409" y="209"/>
                </a:cubicBezTo>
                <a:cubicBezTo>
                  <a:pt x="409" y="210"/>
                  <a:pt x="410" y="210"/>
                  <a:pt x="411" y="210"/>
                </a:cubicBezTo>
                <a:cubicBezTo>
                  <a:pt x="411" y="210"/>
                  <a:pt x="411" y="210"/>
                  <a:pt x="411" y="210"/>
                </a:cubicBezTo>
                <a:cubicBezTo>
                  <a:pt x="412" y="210"/>
                  <a:pt x="415" y="209"/>
                  <a:pt x="419" y="207"/>
                </a:cubicBezTo>
                <a:cubicBezTo>
                  <a:pt x="419" y="207"/>
                  <a:pt x="419" y="207"/>
                  <a:pt x="419" y="207"/>
                </a:cubicBezTo>
                <a:cubicBezTo>
                  <a:pt x="431" y="196"/>
                  <a:pt x="512" y="133"/>
                  <a:pt x="523" y="124"/>
                </a:cubicBezTo>
                <a:cubicBezTo>
                  <a:pt x="523" y="124"/>
                  <a:pt x="523" y="124"/>
                  <a:pt x="523" y="124"/>
                </a:cubicBezTo>
                <a:cubicBezTo>
                  <a:pt x="528" y="120"/>
                  <a:pt x="529" y="117"/>
                  <a:pt x="529" y="113"/>
                </a:cubicBezTo>
                <a:cubicBezTo>
                  <a:pt x="529" y="113"/>
                  <a:pt x="529" y="113"/>
                  <a:pt x="529" y="113"/>
                </a:cubicBezTo>
                <a:cubicBezTo>
                  <a:pt x="529" y="109"/>
                  <a:pt x="528" y="107"/>
                  <a:pt x="523" y="103"/>
                </a:cubicBezTo>
                <a:cubicBezTo>
                  <a:pt x="523" y="103"/>
                  <a:pt x="523" y="103"/>
                  <a:pt x="523" y="103"/>
                </a:cubicBezTo>
                <a:cubicBezTo>
                  <a:pt x="522" y="102"/>
                  <a:pt x="494" y="79"/>
                  <a:pt x="467" y="58"/>
                </a:cubicBezTo>
                <a:cubicBezTo>
                  <a:pt x="467" y="58"/>
                  <a:pt x="467" y="58"/>
                  <a:pt x="467" y="58"/>
                </a:cubicBezTo>
                <a:cubicBezTo>
                  <a:pt x="463" y="55"/>
                  <a:pt x="463" y="50"/>
                  <a:pt x="466" y="47"/>
                </a:cubicBezTo>
                <a:cubicBezTo>
                  <a:pt x="466" y="47"/>
                  <a:pt x="466" y="47"/>
                  <a:pt x="466" y="47"/>
                </a:cubicBezTo>
                <a:cubicBezTo>
                  <a:pt x="468" y="43"/>
                  <a:pt x="473" y="43"/>
                  <a:pt x="477" y="45"/>
                </a:cubicBezTo>
                <a:cubicBezTo>
                  <a:pt x="477" y="45"/>
                  <a:pt x="477" y="45"/>
                  <a:pt x="477" y="45"/>
                </a:cubicBezTo>
                <a:cubicBezTo>
                  <a:pt x="504" y="67"/>
                  <a:pt x="532" y="89"/>
                  <a:pt x="533" y="90"/>
                </a:cubicBezTo>
                <a:cubicBezTo>
                  <a:pt x="533" y="90"/>
                  <a:pt x="533" y="90"/>
                  <a:pt x="533" y="90"/>
                </a:cubicBezTo>
                <a:cubicBezTo>
                  <a:pt x="540" y="96"/>
                  <a:pt x="545" y="104"/>
                  <a:pt x="545" y="113"/>
                </a:cubicBezTo>
                <a:cubicBezTo>
                  <a:pt x="545" y="113"/>
                  <a:pt x="545" y="113"/>
                  <a:pt x="545" y="113"/>
                </a:cubicBezTo>
                <a:cubicBezTo>
                  <a:pt x="545" y="122"/>
                  <a:pt x="540" y="131"/>
                  <a:pt x="533" y="136"/>
                </a:cubicBezTo>
                <a:cubicBezTo>
                  <a:pt x="533" y="136"/>
                  <a:pt x="533" y="136"/>
                  <a:pt x="533" y="136"/>
                </a:cubicBezTo>
                <a:cubicBezTo>
                  <a:pt x="522" y="145"/>
                  <a:pt x="441" y="209"/>
                  <a:pt x="429" y="219"/>
                </a:cubicBezTo>
                <a:cubicBezTo>
                  <a:pt x="429" y="219"/>
                  <a:pt x="429" y="219"/>
                  <a:pt x="429" y="219"/>
                </a:cubicBezTo>
                <a:cubicBezTo>
                  <a:pt x="423" y="223"/>
                  <a:pt x="417" y="226"/>
                  <a:pt x="411" y="226"/>
                </a:cubicBezTo>
                <a:cubicBezTo>
                  <a:pt x="411" y="226"/>
                  <a:pt x="411" y="226"/>
                  <a:pt x="411" y="226"/>
                </a:cubicBezTo>
                <a:cubicBezTo>
                  <a:pt x="411" y="226"/>
                  <a:pt x="411" y="226"/>
                  <a:pt x="410" y="226"/>
                </a:cubicBezTo>
                <a:cubicBezTo>
                  <a:pt x="410" y="226"/>
                  <a:pt x="410" y="226"/>
                  <a:pt x="410" y="226"/>
                </a:cubicBezTo>
                <a:cubicBezTo>
                  <a:pt x="405" y="226"/>
                  <a:pt x="399" y="223"/>
                  <a:pt x="396" y="218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6000" anchor="ctr"/>
          <a:lstStyle/>
          <a:p>
            <a:pPr>
              <a:lnSpc>
                <a:spcPct val="75000"/>
              </a:lnSpc>
            </a:pPr>
            <a:r>
              <a:rPr lang="sv-SE" sz="1400">
                <a:solidFill>
                  <a:schemeClr val="tx2"/>
                </a:solidFill>
              </a:rPr>
              <a:t>Split architecture, Multi applications</a:t>
            </a:r>
          </a:p>
        </p:txBody>
      </p:sp>
      <p:sp>
        <p:nvSpPr>
          <p:cNvPr id="6164" name="Freeform 9"/>
          <p:cNvSpPr>
            <a:spLocks noChangeAspect="1"/>
          </p:cNvSpPr>
          <p:nvPr/>
        </p:nvSpPr>
        <p:spPr bwMode="auto">
          <a:xfrm>
            <a:off x="8474075" y="1293823"/>
            <a:ext cx="3240088" cy="1919287"/>
          </a:xfrm>
          <a:custGeom>
            <a:avLst/>
            <a:gdLst>
              <a:gd name="T0" fmla="*/ 2147483647 w 474"/>
              <a:gd name="T1" fmla="*/ 2147483647 h 295"/>
              <a:gd name="T2" fmla="*/ 2147483647 w 474"/>
              <a:gd name="T3" fmla="*/ 2147483647 h 295"/>
              <a:gd name="T4" fmla="*/ 2147483647 w 474"/>
              <a:gd name="T5" fmla="*/ 2147483647 h 295"/>
              <a:gd name="T6" fmla="*/ 2147483647 w 474"/>
              <a:gd name="T7" fmla="*/ 2147483647 h 295"/>
              <a:gd name="T8" fmla="*/ 2147483647 w 474"/>
              <a:gd name="T9" fmla="*/ 2147483647 h 295"/>
              <a:gd name="T10" fmla="*/ 2147483647 w 474"/>
              <a:gd name="T11" fmla="*/ 2147483647 h 295"/>
              <a:gd name="T12" fmla="*/ 2147483647 w 474"/>
              <a:gd name="T13" fmla="*/ 2147483647 h 295"/>
              <a:gd name="T14" fmla="*/ 2147483647 w 474"/>
              <a:gd name="T15" fmla="*/ 2147483647 h 295"/>
              <a:gd name="T16" fmla="*/ 2147483647 w 474"/>
              <a:gd name="T17" fmla="*/ 2147483647 h 295"/>
              <a:gd name="T18" fmla="*/ 2147483647 w 474"/>
              <a:gd name="T19" fmla="*/ 2147483647 h 295"/>
              <a:gd name="T20" fmla="*/ 2147483647 w 474"/>
              <a:gd name="T21" fmla="*/ 2147483647 h 295"/>
              <a:gd name="T22" fmla="*/ 2147483647 w 474"/>
              <a:gd name="T23" fmla="*/ 2147483647 h 295"/>
              <a:gd name="T24" fmla="*/ 2147483647 w 474"/>
              <a:gd name="T25" fmla="*/ 2147483647 h 295"/>
              <a:gd name="T26" fmla="*/ 2147483647 w 474"/>
              <a:gd name="T27" fmla="*/ 2147483647 h 295"/>
              <a:gd name="T28" fmla="*/ 2147483647 w 474"/>
              <a:gd name="T29" fmla="*/ 2147483647 h 295"/>
              <a:gd name="T30" fmla="*/ 2147483647 w 474"/>
              <a:gd name="T31" fmla="*/ 2147483647 h 295"/>
              <a:gd name="T32" fmla="*/ 2147483647 w 474"/>
              <a:gd name="T33" fmla="*/ 2147483647 h 295"/>
              <a:gd name="T34" fmla="*/ 2147483647 w 474"/>
              <a:gd name="T35" fmla="*/ 2147483647 h 295"/>
              <a:gd name="T36" fmla="*/ 2147483647 w 474"/>
              <a:gd name="T37" fmla="*/ 2147483647 h 295"/>
              <a:gd name="T38" fmla="*/ 2147483647 w 474"/>
              <a:gd name="T39" fmla="*/ 2147483647 h 295"/>
              <a:gd name="T40" fmla="*/ 2147483647 w 474"/>
              <a:gd name="T41" fmla="*/ 2147483647 h 295"/>
              <a:gd name="T42" fmla="*/ 0 w 474"/>
              <a:gd name="T43" fmla="*/ 2147483647 h 295"/>
              <a:gd name="T44" fmla="*/ 2147483647 w 474"/>
              <a:gd name="T45" fmla="*/ 2147483647 h 295"/>
              <a:gd name="T46" fmla="*/ 2147483647 w 474"/>
              <a:gd name="T47" fmla="*/ 0 h 295"/>
              <a:gd name="T48" fmla="*/ 2147483647 w 474"/>
              <a:gd name="T49" fmla="*/ 2147483647 h 295"/>
              <a:gd name="T50" fmla="*/ 2147483647 w 474"/>
              <a:gd name="T51" fmla="*/ 2147483647 h 295"/>
              <a:gd name="T52" fmla="*/ 2147483647 w 474"/>
              <a:gd name="T53" fmla="*/ 2147483647 h 295"/>
              <a:gd name="T54" fmla="*/ 2147483647 w 474"/>
              <a:gd name="T55" fmla="*/ 2147483647 h 295"/>
              <a:gd name="T56" fmla="*/ 2147483647 w 474"/>
              <a:gd name="T57" fmla="*/ 2147483647 h 295"/>
              <a:gd name="T58" fmla="*/ 2147483647 w 474"/>
              <a:gd name="T59" fmla="*/ 2147483647 h 295"/>
              <a:gd name="T60" fmla="*/ 2147483647 w 474"/>
              <a:gd name="T61" fmla="*/ 2147483647 h 295"/>
              <a:gd name="T62" fmla="*/ 2147483647 w 474"/>
              <a:gd name="T63" fmla="*/ 2147483647 h 295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474"/>
              <a:gd name="T97" fmla="*/ 0 h 295"/>
              <a:gd name="T98" fmla="*/ 474 w 474"/>
              <a:gd name="T99" fmla="*/ 295 h 295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474" h="295">
                <a:moveTo>
                  <a:pt x="410" y="295"/>
                </a:moveTo>
                <a:cubicBezTo>
                  <a:pt x="382" y="295"/>
                  <a:pt x="382" y="295"/>
                  <a:pt x="382" y="295"/>
                </a:cubicBezTo>
                <a:cubicBezTo>
                  <a:pt x="378" y="295"/>
                  <a:pt x="374" y="291"/>
                  <a:pt x="374" y="287"/>
                </a:cubicBezTo>
                <a:cubicBezTo>
                  <a:pt x="374" y="287"/>
                  <a:pt x="374" y="287"/>
                  <a:pt x="374" y="287"/>
                </a:cubicBezTo>
                <a:cubicBezTo>
                  <a:pt x="374" y="283"/>
                  <a:pt x="378" y="279"/>
                  <a:pt x="382" y="279"/>
                </a:cubicBezTo>
                <a:cubicBezTo>
                  <a:pt x="382" y="279"/>
                  <a:pt x="382" y="279"/>
                  <a:pt x="382" y="279"/>
                </a:cubicBezTo>
                <a:cubicBezTo>
                  <a:pt x="410" y="279"/>
                  <a:pt x="410" y="279"/>
                  <a:pt x="410" y="279"/>
                </a:cubicBezTo>
                <a:cubicBezTo>
                  <a:pt x="425" y="279"/>
                  <a:pt x="436" y="272"/>
                  <a:pt x="445" y="262"/>
                </a:cubicBezTo>
                <a:cubicBezTo>
                  <a:pt x="445" y="262"/>
                  <a:pt x="445" y="262"/>
                  <a:pt x="445" y="262"/>
                </a:cubicBezTo>
                <a:cubicBezTo>
                  <a:pt x="453" y="253"/>
                  <a:pt x="458" y="240"/>
                  <a:pt x="458" y="230"/>
                </a:cubicBezTo>
                <a:cubicBezTo>
                  <a:pt x="458" y="230"/>
                  <a:pt x="458" y="230"/>
                  <a:pt x="458" y="230"/>
                </a:cubicBezTo>
                <a:cubicBezTo>
                  <a:pt x="458" y="214"/>
                  <a:pt x="451" y="200"/>
                  <a:pt x="439" y="189"/>
                </a:cubicBezTo>
                <a:cubicBezTo>
                  <a:pt x="439" y="189"/>
                  <a:pt x="439" y="189"/>
                  <a:pt x="439" y="189"/>
                </a:cubicBezTo>
                <a:cubicBezTo>
                  <a:pt x="436" y="187"/>
                  <a:pt x="436" y="182"/>
                  <a:pt x="438" y="179"/>
                </a:cubicBezTo>
                <a:cubicBezTo>
                  <a:pt x="438" y="179"/>
                  <a:pt x="438" y="179"/>
                  <a:pt x="438" y="179"/>
                </a:cubicBezTo>
                <a:cubicBezTo>
                  <a:pt x="445" y="166"/>
                  <a:pt x="450" y="152"/>
                  <a:pt x="450" y="136"/>
                </a:cubicBezTo>
                <a:cubicBezTo>
                  <a:pt x="450" y="136"/>
                  <a:pt x="450" y="136"/>
                  <a:pt x="450" y="136"/>
                </a:cubicBezTo>
                <a:cubicBezTo>
                  <a:pt x="450" y="90"/>
                  <a:pt x="412" y="52"/>
                  <a:pt x="365" y="52"/>
                </a:cubicBezTo>
                <a:cubicBezTo>
                  <a:pt x="365" y="52"/>
                  <a:pt x="365" y="52"/>
                  <a:pt x="365" y="52"/>
                </a:cubicBezTo>
                <a:cubicBezTo>
                  <a:pt x="347" y="52"/>
                  <a:pt x="330" y="58"/>
                  <a:pt x="316" y="68"/>
                </a:cubicBezTo>
                <a:cubicBezTo>
                  <a:pt x="316" y="68"/>
                  <a:pt x="316" y="68"/>
                  <a:pt x="316" y="68"/>
                </a:cubicBezTo>
                <a:cubicBezTo>
                  <a:pt x="313" y="70"/>
                  <a:pt x="308" y="69"/>
                  <a:pt x="305" y="66"/>
                </a:cubicBezTo>
                <a:cubicBezTo>
                  <a:pt x="305" y="66"/>
                  <a:pt x="305" y="66"/>
                  <a:pt x="305" y="66"/>
                </a:cubicBezTo>
                <a:cubicBezTo>
                  <a:pt x="283" y="36"/>
                  <a:pt x="247" y="16"/>
                  <a:pt x="206" y="16"/>
                </a:cubicBezTo>
                <a:cubicBezTo>
                  <a:pt x="206" y="16"/>
                  <a:pt x="206" y="16"/>
                  <a:pt x="206" y="16"/>
                </a:cubicBezTo>
                <a:cubicBezTo>
                  <a:pt x="143" y="16"/>
                  <a:pt x="90" y="65"/>
                  <a:pt x="84" y="127"/>
                </a:cubicBezTo>
                <a:cubicBezTo>
                  <a:pt x="84" y="127"/>
                  <a:pt x="84" y="127"/>
                  <a:pt x="84" y="127"/>
                </a:cubicBezTo>
                <a:cubicBezTo>
                  <a:pt x="84" y="130"/>
                  <a:pt x="81" y="133"/>
                  <a:pt x="77" y="134"/>
                </a:cubicBezTo>
                <a:cubicBezTo>
                  <a:pt x="77" y="134"/>
                  <a:pt x="77" y="134"/>
                  <a:pt x="77" y="134"/>
                </a:cubicBezTo>
                <a:cubicBezTo>
                  <a:pt x="42" y="141"/>
                  <a:pt x="16" y="172"/>
                  <a:pt x="16" y="209"/>
                </a:cubicBezTo>
                <a:cubicBezTo>
                  <a:pt x="16" y="209"/>
                  <a:pt x="16" y="209"/>
                  <a:pt x="16" y="209"/>
                </a:cubicBezTo>
                <a:cubicBezTo>
                  <a:pt x="16" y="224"/>
                  <a:pt x="22" y="243"/>
                  <a:pt x="33" y="256"/>
                </a:cubicBezTo>
                <a:cubicBezTo>
                  <a:pt x="33" y="256"/>
                  <a:pt x="33" y="256"/>
                  <a:pt x="33" y="256"/>
                </a:cubicBezTo>
                <a:cubicBezTo>
                  <a:pt x="44" y="270"/>
                  <a:pt x="58" y="279"/>
                  <a:pt x="75" y="279"/>
                </a:cubicBezTo>
                <a:cubicBezTo>
                  <a:pt x="75" y="279"/>
                  <a:pt x="75" y="279"/>
                  <a:pt x="75" y="279"/>
                </a:cubicBezTo>
                <a:cubicBezTo>
                  <a:pt x="351" y="279"/>
                  <a:pt x="351" y="279"/>
                  <a:pt x="351" y="279"/>
                </a:cubicBezTo>
                <a:cubicBezTo>
                  <a:pt x="355" y="279"/>
                  <a:pt x="359" y="283"/>
                  <a:pt x="359" y="287"/>
                </a:cubicBezTo>
                <a:cubicBezTo>
                  <a:pt x="359" y="287"/>
                  <a:pt x="359" y="287"/>
                  <a:pt x="359" y="287"/>
                </a:cubicBezTo>
                <a:cubicBezTo>
                  <a:pt x="359" y="291"/>
                  <a:pt x="355" y="295"/>
                  <a:pt x="351" y="295"/>
                </a:cubicBezTo>
                <a:cubicBezTo>
                  <a:pt x="351" y="295"/>
                  <a:pt x="351" y="295"/>
                  <a:pt x="351" y="295"/>
                </a:cubicBezTo>
                <a:cubicBezTo>
                  <a:pt x="75" y="295"/>
                  <a:pt x="75" y="295"/>
                  <a:pt x="75" y="295"/>
                </a:cubicBezTo>
                <a:cubicBezTo>
                  <a:pt x="52" y="295"/>
                  <a:pt x="33" y="283"/>
                  <a:pt x="21" y="266"/>
                </a:cubicBezTo>
                <a:cubicBezTo>
                  <a:pt x="21" y="266"/>
                  <a:pt x="21" y="266"/>
                  <a:pt x="21" y="266"/>
                </a:cubicBezTo>
                <a:cubicBezTo>
                  <a:pt x="8" y="250"/>
                  <a:pt x="0" y="229"/>
                  <a:pt x="0" y="209"/>
                </a:cubicBezTo>
                <a:cubicBezTo>
                  <a:pt x="0" y="209"/>
                  <a:pt x="0" y="209"/>
                  <a:pt x="0" y="209"/>
                </a:cubicBezTo>
                <a:cubicBezTo>
                  <a:pt x="0" y="166"/>
                  <a:pt x="29" y="130"/>
                  <a:pt x="69" y="120"/>
                </a:cubicBezTo>
                <a:cubicBezTo>
                  <a:pt x="69" y="120"/>
                  <a:pt x="69" y="120"/>
                  <a:pt x="69" y="120"/>
                </a:cubicBezTo>
                <a:cubicBezTo>
                  <a:pt x="78" y="52"/>
                  <a:pt x="136" y="0"/>
                  <a:pt x="206" y="0"/>
                </a:cubicBezTo>
                <a:cubicBezTo>
                  <a:pt x="206" y="0"/>
                  <a:pt x="206" y="0"/>
                  <a:pt x="206" y="0"/>
                </a:cubicBezTo>
                <a:cubicBezTo>
                  <a:pt x="250" y="0"/>
                  <a:pt x="288" y="20"/>
                  <a:pt x="313" y="50"/>
                </a:cubicBezTo>
                <a:cubicBezTo>
                  <a:pt x="313" y="50"/>
                  <a:pt x="313" y="50"/>
                  <a:pt x="313" y="50"/>
                </a:cubicBezTo>
                <a:cubicBezTo>
                  <a:pt x="328" y="41"/>
                  <a:pt x="346" y="36"/>
                  <a:pt x="365" y="36"/>
                </a:cubicBezTo>
                <a:cubicBezTo>
                  <a:pt x="365" y="36"/>
                  <a:pt x="365" y="36"/>
                  <a:pt x="365" y="36"/>
                </a:cubicBezTo>
                <a:cubicBezTo>
                  <a:pt x="421" y="36"/>
                  <a:pt x="466" y="81"/>
                  <a:pt x="466" y="136"/>
                </a:cubicBezTo>
                <a:cubicBezTo>
                  <a:pt x="466" y="136"/>
                  <a:pt x="466" y="136"/>
                  <a:pt x="466" y="136"/>
                </a:cubicBezTo>
                <a:cubicBezTo>
                  <a:pt x="466" y="153"/>
                  <a:pt x="462" y="168"/>
                  <a:pt x="454" y="182"/>
                </a:cubicBezTo>
                <a:cubicBezTo>
                  <a:pt x="454" y="182"/>
                  <a:pt x="454" y="182"/>
                  <a:pt x="454" y="182"/>
                </a:cubicBezTo>
                <a:cubicBezTo>
                  <a:pt x="466" y="194"/>
                  <a:pt x="474" y="211"/>
                  <a:pt x="474" y="230"/>
                </a:cubicBezTo>
                <a:cubicBezTo>
                  <a:pt x="474" y="230"/>
                  <a:pt x="474" y="230"/>
                  <a:pt x="474" y="230"/>
                </a:cubicBezTo>
                <a:cubicBezTo>
                  <a:pt x="474" y="244"/>
                  <a:pt x="468" y="260"/>
                  <a:pt x="457" y="273"/>
                </a:cubicBezTo>
                <a:cubicBezTo>
                  <a:pt x="457" y="273"/>
                  <a:pt x="457" y="273"/>
                  <a:pt x="457" y="273"/>
                </a:cubicBezTo>
                <a:cubicBezTo>
                  <a:pt x="446" y="285"/>
                  <a:pt x="430" y="295"/>
                  <a:pt x="410" y="295"/>
                </a:cubicBezTo>
                <a:cubicBezTo>
                  <a:pt x="410" y="295"/>
                  <a:pt x="410" y="295"/>
                  <a:pt x="410" y="295"/>
                </a:cubicBezTo>
                <a:cubicBezTo>
                  <a:pt x="410" y="295"/>
                  <a:pt x="410" y="295"/>
                  <a:pt x="410" y="295"/>
                </a:cubicBezTo>
                <a:close/>
              </a:path>
            </a:pathLst>
          </a:custGeom>
          <a:solidFill>
            <a:srgbClr val="DB004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en-US"/>
          </a:p>
        </p:txBody>
      </p:sp>
      <p:sp>
        <p:nvSpPr>
          <p:cNvPr id="6165" name="Freeform 28"/>
          <p:cNvSpPr>
            <a:spLocks noChangeAspect="1"/>
          </p:cNvSpPr>
          <p:nvPr/>
        </p:nvSpPr>
        <p:spPr bwMode="auto">
          <a:xfrm>
            <a:off x="1535116" y="5087974"/>
            <a:ext cx="517525" cy="631825"/>
          </a:xfrm>
          <a:custGeom>
            <a:avLst/>
            <a:gdLst>
              <a:gd name="T0" fmla="*/ 2147483647 w 393"/>
              <a:gd name="T1" fmla="*/ 2147483647 h 573"/>
              <a:gd name="T2" fmla="*/ 2147483647 w 393"/>
              <a:gd name="T3" fmla="*/ 2147483647 h 573"/>
              <a:gd name="T4" fmla="*/ 2147483647 w 393"/>
              <a:gd name="T5" fmla="*/ 2147483647 h 573"/>
              <a:gd name="T6" fmla="*/ 2147483647 w 393"/>
              <a:gd name="T7" fmla="*/ 2147483647 h 573"/>
              <a:gd name="T8" fmla="*/ 0 w 393"/>
              <a:gd name="T9" fmla="*/ 2147483647 h 573"/>
              <a:gd name="T10" fmla="*/ 0 w 393"/>
              <a:gd name="T11" fmla="*/ 2147483647 h 573"/>
              <a:gd name="T12" fmla="*/ 2147483647 w 393"/>
              <a:gd name="T13" fmla="*/ 0 h 573"/>
              <a:gd name="T14" fmla="*/ 2147483647 w 393"/>
              <a:gd name="T15" fmla="*/ 0 h 573"/>
              <a:gd name="T16" fmla="*/ 2147483647 w 393"/>
              <a:gd name="T17" fmla="*/ 2147483647 h 573"/>
              <a:gd name="T18" fmla="*/ 2147483647 w 393"/>
              <a:gd name="T19" fmla="*/ 2147483647 h 57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93" h="573">
                <a:moveTo>
                  <a:pt x="393" y="83"/>
                </a:moveTo>
                <a:cubicBezTo>
                  <a:pt x="393" y="541"/>
                  <a:pt x="393" y="541"/>
                  <a:pt x="393" y="541"/>
                </a:cubicBezTo>
                <a:cubicBezTo>
                  <a:pt x="393" y="559"/>
                  <a:pt x="379" y="573"/>
                  <a:pt x="361" y="573"/>
                </a:cubicBezTo>
                <a:cubicBezTo>
                  <a:pt x="32" y="573"/>
                  <a:pt x="32" y="573"/>
                  <a:pt x="32" y="573"/>
                </a:cubicBezTo>
                <a:cubicBezTo>
                  <a:pt x="14" y="573"/>
                  <a:pt x="0" y="559"/>
                  <a:pt x="0" y="541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14"/>
                  <a:pt x="14" y="0"/>
                  <a:pt x="32" y="0"/>
                </a:cubicBezTo>
                <a:cubicBezTo>
                  <a:pt x="361" y="0"/>
                  <a:pt x="361" y="0"/>
                  <a:pt x="361" y="0"/>
                </a:cubicBezTo>
                <a:cubicBezTo>
                  <a:pt x="379" y="0"/>
                  <a:pt x="393" y="14"/>
                  <a:pt x="393" y="32"/>
                </a:cubicBezTo>
                <a:cubicBezTo>
                  <a:pt x="393" y="51"/>
                  <a:pt x="393" y="51"/>
                  <a:pt x="393" y="51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/>
          </a:p>
        </p:txBody>
      </p:sp>
      <p:sp>
        <p:nvSpPr>
          <p:cNvPr id="6166" name="Freeform 29"/>
          <p:cNvSpPr>
            <a:spLocks noChangeAspect="1" noEditPoints="1"/>
          </p:cNvSpPr>
          <p:nvPr/>
        </p:nvSpPr>
        <p:spPr bwMode="auto">
          <a:xfrm>
            <a:off x="1524023" y="5078449"/>
            <a:ext cx="539751" cy="650875"/>
          </a:xfrm>
          <a:custGeom>
            <a:avLst/>
            <a:gdLst>
              <a:gd name="T0" fmla="*/ 2147483647 w 409"/>
              <a:gd name="T1" fmla="*/ 2147483647 h 589"/>
              <a:gd name="T2" fmla="*/ 2147483647 w 409"/>
              <a:gd name="T3" fmla="*/ 0 h 589"/>
              <a:gd name="T4" fmla="*/ 0 w 409"/>
              <a:gd name="T5" fmla="*/ 2147483647 h 589"/>
              <a:gd name="T6" fmla="*/ 2147483647 w 409"/>
              <a:gd name="T7" fmla="*/ 2147483647 h 589"/>
              <a:gd name="T8" fmla="*/ 2147483647 w 409"/>
              <a:gd name="T9" fmla="*/ 2147483647 h 589"/>
              <a:gd name="T10" fmla="*/ 2147483647 w 409"/>
              <a:gd name="T11" fmla="*/ 2147483647 h 589"/>
              <a:gd name="T12" fmla="*/ 2147483647 w 409"/>
              <a:gd name="T13" fmla="*/ 2147483647 h 589"/>
              <a:gd name="T14" fmla="*/ 2147483647 w 409"/>
              <a:gd name="T15" fmla="*/ 2147483647 h 589"/>
              <a:gd name="T16" fmla="*/ 2147483647 w 409"/>
              <a:gd name="T17" fmla="*/ 2147483647 h 589"/>
              <a:gd name="T18" fmla="*/ 2147483647 w 409"/>
              <a:gd name="T19" fmla="*/ 2147483647 h 589"/>
              <a:gd name="T20" fmla="*/ 2147483647 w 409"/>
              <a:gd name="T21" fmla="*/ 2147483647 h 589"/>
              <a:gd name="T22" fmla="*/ 2147483647 w 409"/>
              <a:gd name="T23" fmla="*/ 2147483647 h 589"/>
              <a:gd name="T24" fmla="*/ 2147483647 w 409"/>
              <a:gd name="T25" fmla="*/ 2147483647 h 589"/>
              <a:gd name="T26" fmla="*/ 2147483647 w 409"/>
              <a:gd name="T27" fmla="*/ 2147483647 h 589"/>
              <a:gd name="T28" fmla="*/ 2147483647 w 409"/>
              <a:gd name="T29" fmla="*/ 2147483647 h 589"/>
              <a:gd name="T30" fmla="*/ 2147483647 w 409"/>
              <a:gd name="T31" fmla="*/ 2147483647 h 589"/>
              <a:gd name="T32" fmla="*/ 2147483647 w 409"/>
              <a:gd name="T33" fmla="*/ 2147483647 h 589"/>
              <a:gd name="T34" fmla="*/ 2147483647 w 409"/>
              <a:gd name="T35" fmla="*/ 2147483647 h 589"/>
              <a:gd name="T36" fmla="*/ 2147483647 w 409"/>
              <a:gd name="T37" fmla="*/ 2147483647 h 589"/>
              <a:gd name="T38" fmla="*/ 2147483647 w 409"/>
              <a:gd name="T39" fmla="*/ 2147483647 h 589"/>
              <a:gd name="T40" fmla="*/ 2147483647 w 409"/>
              <a:gd name="T41" fmla="*/ 2147483647 h 589"/>
              <a:gd name="T42" fmla="*/ 2147483647 w 409"/>
              <a:gd name="T43" fmla="*/ 2147483647 h 589"/>
              <a:gd name="T44" fmla="*/ 2147483647 w 409"/>
              <a:gd name="T45" fmla="*/ 2147483647 h 589"/>
              <a:gd name="T46" fmla="*/ 2147483647 w 409"/>
              <a:gd name="T47" fmla="*/ 2147483647 h 589"/>
              <a:gd name="T48" fmla="*/ 2147483647 w 409"/>
              <a:gd name="T49" fmla="*/ 2147483647 h 589"/>
              <a:gd name="T50" fmla="*/ 2147483647 w 409"/>
              <a:gd name="T51" fmla="*/ 2147483647 h 589"/>
              <a:gd name="T52" fmla="*/ 2147483647 w 409"/>
              <a:gd name="T53" fmla="*/ 2147483647 h 589"/>
              <a:gd name="T54" fmla="*/ 2147483647 w 409"/>
              <a:gd name="T55" fmla="*/ 2147483647 h 589"/>
              <a:gd name="T56" fmla="*/ 2147483647 w 409"/>
              <a:gd name="T57" fmla="*/ 2147483647 h 589"/>
              <a:gd name="T58" fmla="*/ 2147483647 w 409"/>
              <a:gd name="T59" fmla="*/ 2147483647 h 589"/>
              <a:gd name="T60" fmla="*/ 2147483647 w 409"/>
              <a:gd name="T61" fmla="*/ 2147483647 h 589"/>
              <a:gd name="T62" fmla="*/ 2147483647 w 409"/>
              <a:gd name="T63" fmla="*/ 2147483647 h 589"/>
              <a:gd name="T64" fmla="*/ 2147483647 w 409"/>
              <a:gd name="T65" fmla="*/ 2147483647 h 589"/>
              <a:gd name="T66" fmla="*/ 2147483647 w 409"/>
              <a:gd name="T67" fmla="*/ 2147483647 h 589"/>
              <a:gd name="T68" fmla="*/ 2147483647 w 409"/>
              <a:gd name="T69" fmla="*/ 2147483647 h 589"/>
              <a:gd name="T70" fmla="*/ 2147483647 w 409"/>
              <a:gd name="T71" fmla="*/ 2147483647 h 589"/>
              <a:gd name="T72" fmla="*/ 2147483647 w 409"/>
              <a:gd name="T73" fmla="*/ 2147483647 h 58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409" h="589">
                <a:moveTo>
                  <a:pt x="401" y="67"/>
                </a:moveTo>
                <a:cubicBezTo>
                  <a:pt x="405" y="67"/>
                  <a:pt x="409" y="64"/>
                  <a:pt x="409" y="59"/>
                </a:cubicBezTo>
                <a:cubicBezTo>
                  <a:pt x="409" y="40"/>
                  <a:pt x="409" y="40"/>
                  <a:pt x="409" y="40"/>
                </a:cubicBezTo>
                <a:cubicBezTo>
                  <a:pt x="409" y="18"/>
                  <a:pt x="391" y="0"/>
                  <a:pt x="369" y="0"/>
                </a:cubicBezTo>
                <a:cubicBezTo>
                  <a:pt x="40" y="0"/>
                  <a:pt x="40" y="0"/>
                  <a:pt x="40" y="0"/>
                </a:cubicBezTo>
                <a:cubicBezTo>
                  <a:pt x="18" y="0"/>
                  <a:pt x="0" y="18"/>
                  <a:pt x="0" y="40"/>
                </a:cubicBezTo>
                <a:cubicBezTo>
                  <a:pt x="0" y="549"/>
                  <a:pt x="0" y="549"/>
                  <a:pt x="0" y="549"/>
                </a:cubicBezTo>
                <a:cubicBezTo>
                  <a:pt x="0" y="571"/>
                  <a:pt x="18" y="589"/>
                  <a:pt x="40" y="589"/>
                </a:cubicBezTo>
                <a:cubicBezTo>
                  <a:pt x="369" y="589"/>
                  <a:pt x="369" y="589"/>
                  <a:pt x="369" y="589"/>
                </a:cubicBezTo>
                <a:cubicBezTo>
                  <a:pt x="391" y="589"/>
                  <a:pt x="409" y="571"/>
                  <a:pt x="409" y="549"/>
                </a:cubicBezTo>
                <a:cubicBezTo>
                  <a:pt x="409" y="91"/>
                  <a:pt x="409" y="91"/>
                  <a:pt x="409" y="91"/>
                </a:cubicBezTo>
                <a:cubicBezTo>
                  <a:pt x="409" y="87"/>
                  <a:pt x="405" y="83"/>
                  <a:pt x="401" y="83"/>
                </a:cubicBezTo>
                <a:cubicBezTo>
                  <a:pt x="397" y="83"/>
                  <a:pt x="393" y="87"/>
                  <a:pt x="393" y="91"/>
                </a:cubicBezTo>
                <a:cubicBezTo>
                  <a:pt x="393" y="549"/>
                  <a:pt x="393" y="549"/>
                  <a:pt x="393" y="549"/>
                </a:cubicBezTo>
                <a:cubicBezTo>
                  <a:pt x="393" y="562"/>
                  <a:pt x="382" y="573"/>
                  <a:pt x="369" y="573"/>
                </a:cubicBezTo>
                <a:cubicBezTo>
                  <a:pt x="40" y="573"/>
                  <a:pt x="40" y="573"/>
                  <a:pt x="40" y="573"/>
                </a:cubicBezTo>
                <a:cubicBezTo>
                  <a:pt x="26" y="573"/>
                  <a:pt x="16" y="562"/>
                  <a:pt x="16" y="549"/>
                </a:cubicBezTo>
                <a:cubicBezTo>
                  <a:pt x="16" y="40"/>
                  <a:pt x="16" y="40"/>
                  <a:pt x="16" y="40"/>
                </a:cubicBezTo>
                <a:cubicBezTo>
                  <a:pt x="16" y="27"/>
                  <a:pt x="26" y="16"/>
                  <a:pt x="40" y="16"/>
                </a:cubicBezTo>
                <a:cubicBezTo>
                  <a:pt x="369" y="16"/>
                  <a:pt x="369" y="16"/>
                  <a:pt x="369" y="16"/>
                </a:cubicBezTo>
                <a:cubicBezTo>
                  <a:pt x="382" y="16"/>
                  <a:pt x="393" y="27"/>
                  <a:pt x="393" y="40"/>
                </a:cubicBezTo>
                <a:cubicBezTo>
                  <a:pt x="393" y="59"/>
                  <a:pt x="393" y="59"/>
                  <a:pt x="393" y="59"/>
                </a:cubicBezTo>
                <a:cubicBezTo>
                  <a:pt x="393" y="64"/>
                  <a:pt x="397" y="67"/>
                  <a:pt x="401" y="67"/>
                </a:cubicBezTo>
                <a:close/>
                <a:moveTo>
                  <a:pt x="319" y="153"/>
                </a:moveTo>
                <a:cubicBezTo>
                  <a:pt x="323" y="153"/>
                  <a:pt x="327" y="149"/>
                  <a:pt x="327" y="145"/>
                </a:cubicBezTo>
                <a:cubicBezTo>
                  <a:pt x="327" y="145"/>
                  <a:pt x="327" y="145"/>
                  <a:pt x="327" y="145"/>
                </a:cubicBezTo>
                <a:cubicBezTo>
                  <a:pt x="327" y="86"/>
                  <a:pt x="327" y="86"/>
                  <a:pt x="327" y="86"/>
                </a:cubicBezTo>
                <a:cubicBezTo>
                  <a:pt x="327" y="84"/>
                  <a:pt x="326" y="82"/>
                  <a:pt x="324" y="80"/>
                </a:cubicBezTo>
                <a:cubicBezTo>
                  <a:pt x="323" y="79"/>
                  <a:pt x="321" y="78"/>
                  <a:pt x="319" y="78"/>
                </a:cubicBezTo>
                <a:cubicBezTo>
                  <a:pt x="260" y="78"/>
                  <a:pt x="260" y="78"/>
                  <a:pt x="260" y="78"/>
                </a:cubicBezTo>
                <a:cubicBezTo>
                  <a:pt x="255" y="78"/>
                  <a:pt x="252" y="82"/>
                  <a:pt x="252" y="86"/>
                </a:cubicBezTo>
                <a:cubicBezTo>
                  <a:pt x="252" y="91"/>
                  <a:pt x="255" y="94"/>
                  <a:pt x="260" y="94"/>
                </a:cubicBezTo>
                <a:cubicBezTo>
                  <a:pt x="299" y="94"/>
                  <a:pt x="299" y="94"/>
                  <a:pt x="299" y="94"/>
                </a:cubicBezTo>
                <a:cubicBezTo>
                  <a:pt x="198" y="195"/>
                  <a:pt x="198" y="195"/>
                  <a:pt x="198" y="195"/>
                </a:cubicBezTo>
                <a:cubicBezTo>
                  <a:pt x="97" y="94"/>
                  <a:pt x="97" y="94"/>
                  <a:pt x="97" y="94"/>
                </a:cubicBezTo>
                <a:cubicBezTo>
                  <a:pt x="137" y="94"/>
                  <a:pt x="137" y="94"/>
                  <a:pt x="137" y="94"/>
                </a:cubicBezTo>
                <a:cubicBezTo>
                  <a:pt x="141" y="94"/>
                  <a:pt x="145" y="91"/>
                  <a:pt x="145" y="86"/>
                </a:cubicBezTo>
                <a:cubicBezTo>
                  <a:pt x="145" y="82"/>
                  <a:pt x="141" y="78"/>
                  <a:pt x="137" y="78"/>
                </a:cubicBezTo>
                <a:cubicBezTo>
                  <a:pt x="78" y="78"/>
                  <a:pt x="78" y="78"/>
                  <a:pt x="78" y="78"/>
                </a:cubicBezTo>
                <a:cubicBezTo>
                  <a:pt x="76" y="78"/>
                  <a:pt x="74" y="79"/>
                  <a:pt x="73" y="80"/>
                </a:cubicBezTo>
                <a:cubicBezTo>
                  <a:pt x="71" y="82"/>
                  <a:pt x="70" y="84"/>
                  <a:pt x="70" y="86"/>
                </a:cubicBezTo>
                <a:cubicBezTo>
                  <a:pt x="70" y="145"/>
                  <a:pt x="70" y="145"/>
                  <a:pt x="70" y="145"/>
                </a:cubicBezTo>
                <a:cubicBezTo>
                  <a:pt x="70" y="149"/>
                  <a:pt x="74" y="153"/>
                  <a:pt x="78" y="153"/>
                </a:cubicBezTo>
                <a:cubicBezTo>
                  <a:pt x="83" y="153"/>
                  <a:pt x="86" y="149"/>
                  <a:pt x="86" y="145"/>
                </a:cubicBezTo>
                <a:cubicBezTo>
                  <a:pt x="86" y="105"/>
                  <a:pt x="86" y="105"/>
                  <a:pt x="86" y="105"/>
                </a:cubicBezTo>
                <a:cubicBezTo>
                  <a:pt x="187" y="206"/>
                  <a:pt x="187" y="206"/>
                  <a:pt x="187" y="206"/>
                </a:cubicBezTo>
                <a:cubicBezTo>
                  <a:pt x="86" y="307"/>
                  <a:pt x="86" y="307"/>
                  <a:pt x="86" y="307"/>
                </a:cubicBezTo>
                <a:cubicBezTo>
                  <a:pt x="86" y="268"/>
                  <a:pt x="86" y="268"/>
                  <a:pt x="86" y="268"/>
                </a:cubicBezTo>
                <a:cubicBezTo>
                  <a:pt x="86" y="263"/>
                  <a:pt x="83" y="260"/>
                  <a:pt x="78" y="260"/>
                </a:cubicBezTo>
                <a:cubicBezTo>
                  <a:pt x="74" y="260"/>
                  <a:pt x="70" y="263"/>
                  <a:pt x="70" y="268"/>
                </a:cubicBezTo>
                <a:cubicBezTo>
                  <a:pt x="70" y="268"/>
                  <a:pt x="70" y="268"/>
                  <a:pt x="70" y="268"/>
                </a:cubicBezTo>
                <a:cubicBezTo>
                  <a:pt x="70" y="327"/>
                  <a:pt x="70" y="327"/>
                  <a:pt x="70" y="327"/>
                </a:cubicBezTo>
                <a:cubicBezTo>
                  <a:pt x="70" y="329"/>
                  <a:pt x="71" y="331"/>
                  <a:pt x="73" y="332"/>
                </a:cubicBezTo>
                <a:cubicBezTo>
                  <a:pt x="74" y="334"/>
                  <a:pt x="76" y="335"/>
                  <a:pt x="78" y="335"/>
                </a:cubicBezTo>
                <a:cubicBezTo>
                  <a:pt x="137" y="335"/>
                  <a:pt x="137" y="335"/>
                  <a:pt x="137" y="335"/>
                </a:cubicBezTo>
                <a:cubicBezTo>
                  <a:pt x="141" y="335"/>
                  <a:pt x="145" y="331"/>
                  <a:pt x="145" y="327"/>
                </a:cubicBezTo>
                <a:cubicBezTo>
                  <a:pt x="145" y="322"/>
                  <a:pt x="141" y="319"/>
                  <a:pt x="137" y="319"/>
                </a:cubicBezTo>
                <a:cubicBezTo>
                  <a:pt x="97" y="319"/>
                  <a:pt x="97" y="319"/>
                  <a:pt x="97" y="319"/>
                </a:cubicBezTo>
                <a:cubicBezTo>
                  <a:pt x="198" y="218"/>
                  <a:pt x="198" y="218"/>
                  <a:pt x="198" y="218"/>
                </a:cubicBezTo>
                <a:cubicBezTo>
                  <a:pt x="299" y="319"/>
                  <a:pt x="299" y="319"/>
                  <a:pt x="299" y="319"/>
                </a:cubicBezTo>
                <a:cubicBezTo>
                  <a:pt x="260" y="319"/>
                  <a:pt x="260" y="319"/>
                  <a:pt x="260" y="319"/>
                </a:cubicBezTo>
                <a:cubicBezTo>
                  <a:pt x="255" y="319"/>
                  <a:pt x="252" y="322"/>
                  <a:pt x="252" y="327"/>
                </a:cubicBezTo>
                <a:cubicBezTo>
                  <a:pt x="252" y="331"/>
                  <a:pt x="255" y="335"/>
                  <a:pt x="260" y="335"/>
                </a:cubicBezTo>
                <a:cubicBezTo>
                  <a:pt x="260" y="335"/>
                  <a:pt x="260" y="335"/>
                  <a:pt x="260" y="335"/>
                </a:cubicBezTo>
                <a:cubicBezTo>
                  <a:pt x="319" y="335"/>
                  <a:pt x="319" y="335"/>
                  <a:pt x="319" y="335"/>
                </a:cubicBezTo>
                <a:cubicBezTo>
                  <a:pt x="321" y="335"/>
                  <a:pt x="323" y="334"/>
                  <a:pt x="324" y="332"/>
                </a:cubicBezTo>
                <a:cubicBezTo>
                  <a:pt x="326" y="331"/>
                  <a:pt x="327" y="329"/>
                  <a:pt x="327" y="327"/>
                </a:cubicBezTo>
                <a:cubicBezTo>
                  <a:pt x="327" y="268"/>
                  <a:pt x="327" y="268"/>
                  <a:pt x="327" y="268"/>
                </a:cubicBezTo>
                <a:cubicBezTo>
                  <a:pt x="327" y="263"/>
                  <a:pt x="323" y="260"/>
                  <a:pt x="319" y="260"/>
                </a:cubicBezTo>
                <a:cubicBezTo>
                  <a:pt x="314" y="260"/>
                  <a:pt x="311" y="263"/>
                  <a:pt x="311" y="268"/>
                </a:cubicBezTo>
                <a:cubicBezTo>
                  <a:pt x="311" y="307"/>
                  <a:pt x="311" y="307"/>
                  <a:pt x="311" y="307"/>
                </a:cubicBezTo>
                <a:cubicBezTo>
                  <a:pt x="210" y="206"/>
                  <a:pt x="210" y="206"/>
                  <a:pt x="210" y="206"/>
                </a:cubicBezTo>
                <a:cubicBezTo>
                  <a:pt x="311" y="105"/>
                  <a:pt x="311" y="105"/>
                  <a:pt x="311" y="105"/>
                </a:cubicBezTo>
                <a:cubicBezTo>
                  <a:pt x="311" y="145"/>
                  <a:pt x="311" y="145"/>
                  <a:pt x="311" y="145"/>
                </a:cubicBezTo>
                <a:cubicBezTo>
                  <a:pt x="311" y="149"/>
                  <a:pt x="314" y="153"/>
                  <a:pt x="319" y="153"/>
                </a:cubicBezTo>
                <a:close/>
              </a:path>
            </a:pathLst>
          </a:custGeom>
          <a:solidFill>
            <a:srgbClr val="00285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/>
          </a:p>
        </p:txBody>
      </p:sp>
      <p:sp>
        <p:nvSpPr>
          <p:cNvPr id="6167" name="Text Box 30"/>
          <p:cNvSpPr txBox="1">
            <a:spLocks noChangeAspect="1" noChangeArrowheads="1"/>
          </p:cNvSpPr>
          <p:nvPr/>
        </p:nvSpPr>
        <p:spPr bwMode="auto">
          <a:xfrm>
            <a:off x="1565275" y="5528439"/>
            <a:ext cx="457200" cy="147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01688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801688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801688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801688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801688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sv-SE" sz="1200">
                <a:solidFill>
                  <a:srgbClr val="00285F"/>
                </a:solidFill>
              </a:rPr>
              <a:t>GGSN</a:t>
            </a:r>
          </a:p>
        </p:txBody>
      </p:sp>
      <p:sp>
        <p:nvSpPr>
          <p:cNvPr id="225304" name="Text Box 24"/>
          <p:cNvSpPr txBox="1">
            <a:spLocks noChangeArrowheads="1"/>
          </p:cNvSpPr>
          <p:nvPr/>
        </p:nvSpPr>
        <p:spPr bwMode="auto">
          <a:xfrm>
            <a:off x="509588" y="2636838"/>
            <a:ext cx="3092000" cy="338554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tx2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600">
                <a:ea typeface="ＭＳ Ｐゴシック" pitchFamily="34" charset="-128"/>
              </a:rPr>
              <a:t>Support Systems, IT Systems…</a:t>
            </a:r>
          </a:p>
        </p:txBody>
      </p:sp>
      <p:sp>
        <p:nvSpPr>
          <p:cNvPr id="6169" name="AutoShape 25"/>
          <p:cNvSpPr>
            <a:spLocks noChangeArrowheads="1"/>
          </p:cNvSpPr>
          <p:nvPr/>
        </p:nvSpPr>
        <p:spPr bwMode="auto">
          <a:xfrm>
            <a:off x="9698039" y="5445125"/>
            <a:ext cx="1992312" cy="4318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 algn="ctr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r"/>
            <a:r>
              <a:rPr lang="en-US" sz="1200">
                <a:solidFill>
                  <a:schemeClr val="tx2"/>
                </a:solidFill>
              </a:rPr>
              <a:t>High efficiency</a:t>
            </a:r>
            <a:br>
              <a:rPr lang="en-US" sz="1200">
                <a:solidFill>
                  <a:schemeClr val="tx2"/>
                </a:solidFill>
              </a:rPr>
            </a:br>
            <a:r>
              <a:rPr lang="en-US" sz="1200">
                <a:solidFill>
                  <a:schemeClr val="tx2"/>
                </a:solidFill>
              </a:rPr>
              <a:t>rule-based forwarding</a:t>
            </a:r>
          </a:p>
        </p:txBody>
      </p:sp>
      <p:sp>
        <p:nvSpPr>
          <p:cNvPr id="6170" name="Freeform 9"/>
          <p:cNvSpPr>
            <a:spLocks noChangeAspect="1"/>
          </p:cNvSpPr>
          <p:nvPr/>
        </p:nvSpPr>
        <p:spPr bwMode="auto">
          <a:xfrm>
            <a:off x="4513287" y="1700220"/>
            <a:ext cx="2579687" cy="1603375"/>
          </a:xfrm>
          <a:custGeom>
            <a:avLst/>
            <a:gdLst>
              <a:gd name="T0" fmla="*/ 2147483647 w 474"/>
              <a:gd name="T1" fmla="*/ 2147483647 h 295"/>
              <a:gd name="T2" fmla="*/ 2147483647 w 474"/>
              <a:gd name="T3" fmla="*/ 2147483647 h 295"/>
              <a:gd name="T4" fmla="*/ 2147483647 w 474"/>
              <a:gd name="T5" fmla="*/ 2147483647 h 295"/>
              <a:gd name="T6" fmla="*/ 2147483647 w 474"/>
              <a:gd name="T7" fmla="*/ 2147483647 h 295"/>
              <a:gd name="T8" fmla="*/ 2147483647 w 474"/>
              <a:gd name="T9" fmla="*/ 2147483647 h 295"/>
              <a:gd name="T10" fmla="*/ 2147483647 w 474"/>
              <a:gd name="T11" fmla="*/ 2147483647 h 295"/>
              <a:gd name="T12" fmla="*/ 2147483647 w 474"/>
              <a:gd name="T13" fmla="*/ 2147483647 h 295"/>
              <a:gd name="T14" fmla="*/ 2147483647 w 474"/>
              <a:gd name="T15" fmla="*/ 2147483647 h 295"/>
              <a:gd name="T16" fmla="*/ 2147483647 w 474"/>
              <a:gd name="T17" fmla="*/ 2147483647 h 295"/>
              <a:gd name="T18" fmla="*/ 2147483647 w 474"/>
              <a:gd name="T19" fmla="*/ 2147483647 h 295"/>
              <a:gd name="T20" fmla="*/ 2147483647 w 474"/>
              <a:gd name="T21" fmla="*/ 2147483647 h 295"/>
              <a:gd name="T22" fmla="*/ 2147483647 w 474"/>
              <a:gd name="T23" fmla="*/ 2147483647 h 295"/>
              <a:gd name="T24" fmla="*/ 2147483647 w 474"/>
              <a:gd name="T25" fmla="*/ 2147483647 h 295"/>
              <a:gd name="T26" fmla="*/ 2147483647 w 474"/>
              <a:gd name="T27" fmla="*/ 2147483647 h 295"/>
              <a:gd name="T28" fmla="*/ 2147483647 w 474"/>
              <a:gd name="T29" fmla="*/ 2147483647 h 295"/>
              <a:gd name="T30" fmla="*/ 2147483647 w 474"/>
              <a:gd name="T31" fmla="*/ 2147483647 h 295"/>
              <a:gd name="T32" fmla="*/ 2147483647 w 474"/>
              <a:gd name="T33" fmla="*/ 2147483647 h 295"/>
              <a:gd name="T34" fmla="*/ 2147483647 w 474"/>
              <a:gd name="T35" fmla="*/ 2147483647 h 295"/>
              <a:gd name="T36" fmla="*/ 2147483647 w 474"/>
              <a:gd name="T37" fmla="*/ 2147483647 h 295"/>
              <a:gd name="T38" fmla="*/ 2147483647 w 474"/>
              <a:gd name="T39" fmla="*/ 2147483647 h 295"/>
              <a:gd name="T40" fmla="*/ 2147483647 w 474"/>
              <a:gd name="T41" fmla="*/ 2147483647 h 295"/>
              <a:gd name="T42" fmla="*/ 0 w 474"/>
              <a:gd name="T43" fmla="*/ 2147483647 h 295"/>
              <a:gd name="T44" fmla="*/ 2147483647 w 474"/>
              <a:gd name="T45" fmla="*/ 2147483647 h 295"/>
              <a:gd name="T46" fmla="*/ 2147483647 w 474"/>
              <a:gd name="T47" fmla="*/ 0 h 295"/>
              <a:gd name="T48" fmla="*/ 2147483647 w 474"/>
              <a:gd name="T49" fmla="*/ 2147483647 h 295"/>
              <a:gd name="T50" fmla="*/ 2147483647 w 474"/>
              <a:gd name="T51" fmla="*/ 2147483647 h 295"/>
              <a:gd name="T52" fmla="*/ 2147483647 w 474"/>
              <a:gd name="T53" fmla="*/ 2147483647 h 295"/>
              <a:gd name="T54" fmla="*/ 2147483647 w 474"/>
              <a:gd name="T55" fmla="*/ 2147483647 h 295"/>
              <a:gd name="T56" fmla="*/ 2147483647 w 474"/>
              <a:gd name="T57" fmla="*/ 2147483647 h 295"/>
              <a:gd name="T58" fmla="*/ 2147483647 w 474"/>
              <a:gd name="T59" fmla="*/ 2147483647 h 295"/>
              <a:gd name="T60" fmla="*/ 2147483647 w 474"/>
              <a:gd name="T61" fmla="*/ 2147483647 h 295"/>
              <a:gd name="T62" fmla="*/ 2147483647 w 474"/>
              <a:gd name="T63" fmla="*/ 2147483647 h 295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474"/>
              <a:gd name="T97" fmla="*/ 0 h 295"/>
              <a:gd name="T98" fmla="*/ 474 w 474"/>
              <a:gd name="T99" fmla="*/ 295 h 295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474" h="295">
                <a:moveTo>
                  <a:pt x="410" y="295"/>
                </a:moveTo>
                <a:cubicBezTo>
                  <a:pt x="382" y="295"/>
                  <a:pt x="382" y="295"/>
                  <a:pt x="382" y="295"/>
                </a:cubicBezTo>
                <a:cubicBezTo>
                  <a:pt x="378" y="295"/>
                  <a:pt x="374" y="291"/>
                  <a:pt x="374" y="287"/>
                </a:cubicBezTo>
                <a:cubicBezTo>
                  <a:pt x="374" y="287"/>
                  <a:pt x="374" y="287"/>
                  <a:pt x="374" y="287"/>
                </a:cubicBezTo>
                <a:cubicBezTo>
                  <a:pt x="374" y="283"/>
                  <a:pt x="378" y="279"/>
                  <a:pt x="382" y="279"/>
                </a:cubicBezTo>
                <a:cubicBezTo>
                  <a:pt x="382" y="279"/>
                  <a:pt x="382" y="279"/>
                  <a:pt x="382" y="279"/>
                </a:cubicBezTo>
                <a:cubicBezTo>
                  <a:pt x="410" y="279"/>
                  <a:pt x="410" y="279"/>
                  <a:pt x="410" y="279"/>
                </a:cubicBezTo>
                <a:cubicBezTo>
                  <a:pt x="425" y="279"/>
                  <a:pt x="436" y="272"/>
                  <a:pt x="445" y="262"/>
                </a:cubicBezTo>
                <a:cubicBezTo>
                  <a:pt x="445" y="262"/>
                  <a:pt x="445" y="262"/>
                  <a:pt x="445" y="262"/>
                </a:cubicBezTo>
                <a:cubicBezTo>
                  <a:pt x="453" y="253"/>
                  <a:pt x="458" y="240"/>
                  <a:pt x="458" y="230"/>
                </a:cubicBezTo>
                <a:cubicBezTo>
                  <a:pt x="458" y="230"/>
                  <a:pt x="458" y="230"/>
                  <a:pt x="458" y="230"/>
                </a:cubicBezTo>
                <a:cubicBezTo>
                  <a:pt x="458" y="214"/>
                  <a:pt x="451" y="200"/>
                  <a:pt x="439" y="189"/>
                </a:cubicBezTo>
                <a:cubicBezTo>
                  <a:pt x="439" y="189"/>
                  <a:pt x="439" y="189"/>
                  <a:pt x="439" y="189"/>
                </a:cubicBezTo>
                <a:cubicBezTo>
                  <a:pt x="436" y="187"/>
                  <a:pt x="436" y="182"/>
                  <a:pt x="438" y="179"/>
                </a:cubicBezTo>
                <a:cubicBezTo>
                  <a:pt x="438" y="179"/>
                  <a:pt x="438" y="179"/>
                  <a:pt x="438" y="179"/>
                </a:cubicBezTo>
                <a:cubicBezTo>
                  <a:pt x="445" y="166"/>
                  <a:pt x="450" y="152"/>
                  <a:pt x="450" y="136"/>
                </a:cubicBezTo>
                <a:cubicBezTo>
                  <a:pt x="450" y="136"/>
                  <a:pt x="450" y="136"/>
                  <a:pt x="450" y="136"/>
                </a:cubicBezTo>
                <a:cubicBezTo>
                  <a:pt x="450" y="90"/>
                  <a:pt x="412" y="52"/>
                  <a:pt x="365" y="52"/>
                </a:cubicBezTo>
                <a:cubicBezTo>
                  <a:pt x="365" y="52"/>
                  <a:pt x="365" y="52"/>
                  <a:pt x="365" y="52"/>
                </a:cubicBezTo>
                <a:cubicBezTo>
                  <a:pt x="347" y="52"/>
                  <a:pt x="330" y="58"/>
                  <a:pt x="316" y="68"/>
                </a:cubicBezTo>
                <a:cubicBezTo>
                  <a:pt x="316" y="68"/>
                  <a:pt x="316" y="68"/>
                  <a:pt x="316" y="68"/>
                </a:cubicBezTo>
                <a:cubicBezTo>
                  <a:pt x="313" y="70"/>
                  <a:pt x="308" y="69"/>
                  <a:pt x="305" y="66"/>
                </a:cubicBezTo>
                <a:cubicBezTo>
                  <a:pt x="305" y="66"/>
                  <a:pt x="305" y="66"/>
                  <a:pt x="305" y="66"/>
                </a:cubicBezTo>
                <a:cubicBezTo>
                  <a:pt x="283" y="36"/>
                  <a:pt x="247" y="16"/>
                  <a:pt x="206" y="16"/>
                </a:cubicBezTo>
                <a:cubicBezTo>
                  <a:pt x="206" y="16"/>
                  <a:pt x="206" y="16"/>
                  <a:pt x="206" y="16"/>
                </a:cubicBezTo>
                <a:cubicBezTo>
                  <a:pt x="143" y="16"/>
                  <a:pt x="90" y="65"/>
                  <a:pt x="84" y="127"/>
                </a:cubicBezTo>
                <a:cubicBezTo>
                  <a:pt x="84" y="127"/>
                  <a:pt x="84" y="127"/>
                  <a:pt x="84" y="127"/>
                </a:cubicBezTo>
                <a:cubicBezTo>
                  <a:pt x="84" y="130"/>
                  <a:pt x="81" y="133"/>
                  <a:pt x="77" y="134"/>
                </a:cubicBezTo>
                <a:cubicBezTo>
                  <a:pt x="77" y="134"/>
                  <a:pt x="77" y="134"/>
                  <a:pt x="77" y="134"/>
                </a:cubicBezTo>
                <a:cubicBezTo>
                  <a:pt x="42" y="141"/>
                  <a:pt x="16" y="172"/>
                  <a:pt x="16" y="209"/>
                </a:cubicBezTo>
                <a:cubicBezTo>
                  <a:pt x="16" y="209"/>
                  <a:pt x="16" y="209"/>
                  <a:pt x="16" y="209"/>
                </a:cubicBezTo>
                <a:cubicBezTo>
                  <a:pt x="16" y="224"/>
                  <a:pt x="22" y="243"/>
                  <a:pt x="33" y="256"/>
                </a:cubicBezTo>
                <a:cubicBezTo>
                  <a:pt x="33" y="256"/>
                  <a:pt x="33" y="256"/>
                  <a:pt x="33" y="256"/>
                </a:cubicBezTo>
                <a:cubicBezTo>
                  <a:pt x="44" y="270"/>
                  <a:pt x="58" y="279"/>
                  <a:pt x="75" y="279"/>
                </a:cubicBezTo>
                <a:cubicBezTo>
                  <a:pt x="75" y="279"/>
                  <a:pt x="75" y="279"/>
                  <a:pt x="75" y="279"/>
                </a:cubicBezTo>
                <a:cubicBezTo>
                  <a:pt x="351" y="279"/>
                  <a:pt x="351" y="279"/>
                  <a:pt x="351" y="279"/>
                </a:cubicBezTo>
                <a:cubicBezTo>
                  <a:pt x="355" y="279"/>
                  <a:pt x="359" y="283"/>
                  <a:pt x="359" y="287"/>
                </a:cubicBezTo>
                <a:cubicBezTo>
                  <a:pt x="359" y="287"/>
                  <a:pt x="359" y="287"/>
                  <a:pt x="359" y="287"/>
                </a:cubicBezTo>
                <a:cubicBezTo>
                  <a:pt x="359" y="291"/>
                  <a:pt x="355" y="295"/>
                  <a:pt x="351" y="295"/>
                </a:cubicBezTo>
                <a:cubicBezTo>
                  <a:pt x="351" y="295"/>
                  <a:pt x="351" y="295"/>
                  <a:pt x="351" y="295"/>
                </a:cubicBezTo>
                <a:cubicBezTo>
                  <a:pt x="75" y="295"/>
                  <a:pt x="75" y="295"/>
                  <a:pt x="75" y="295"/>
                </a:cubicBezTo>
                <a:cubicBezTo>
                  <a:pt x="52" y="295"/>
                  <a:pt x="33" y="283"/>
                  <a:pt x="21" y="266"/>
                </a:cubicBezTo>
                <a:cubicBezTo>
                  <a:pt x="21" y="266"/>
                  <a:pt x="21" y="266"/>
                  <a:pt x="21" y="266"/>
                </a:cubicBezTo>
                <a:cubicBezTo>
                  <a:pt x="8" y="250"/>
                  <a:pt x="0" y="229"/>
                  <a:pt x="0" y="209"/>
                </a:cubicBezTo>
                <a:cubicBezTo>
                  <a:pt x="0" y="209"/>
                  <a:pt x="0" y="209"/>
                  <a:pt x="0" y="209"/>
                </a:cubicBezTo>
                <a:cubicBezTo>
                  <a:pt x="0" y="166"/>
                  <a:pt x="29" y="130"/>
                  <a:pt x="69" y="120"/>
                </a:cubicBezTo>
                <a:cubicBezTo>
                  <a:pt x="69" y="120"/>
                  <a:pt x="69" y="120"/>
                  <a:pt x="69" y="120"/>
                </a:cubicBezTo>
                <a:cubicBezTo>
                  <a:pt x="78" y="52"/>
                  <a:pt x="136" y="0"/>
                  <a:pt x="206" y="0"/>
                </a:cubicBezTo>
                <a:cubicBezTo>
                  <a:pt x="206" y="0"/>
                  <a:pt x="206" y="0"/>
                  <a:pt x="206" y="0"/>
                </a:cubicBezTo>
                <a:cubicBezTo>
                  <a:pt x="250" y="0"/>
                  <a:pt x="288" y="20"/>
                  <a:pt x="313" y="50"/>
                </a:cubicBezTo>
                <a:cubicBezTo>
                  <a:pt x="313" y="50"/>
                  <a:pt x="313" y="50"/>
                  <a:pt x="313" y="50"/>
                </a:cubicBezTo>
                <a:cubicBezTo>
                  <a:pt x="328" y="41"/>
                  <a:pt x="346" y="36"/>
                  <a:pt x="365" y="36"/>
                </a:cubicBezTo>
                <a:cubicBezTo>
                  <a:pt x="365" y="36"/>
                  <a:pt x="365" y="36"/>
                  <a:pt x="365" y="36"/>
                </a:cubicBezTo>
                <a:cubicBezTo>
                  <a:pt x="421" y="36"/>
                  <a:pt x="466" y="81"/>
                  <a:pt x="466" y="136"/>
                </a:cubicBezTo>
                <a:cubicBezTo>
                  <a:pt x="466" y="136"/>
                  <a:pt x="466" y="136"/>
                  <a:pt x="466" y="136"/>
                </a:cubicBezTo>
                <a:cubicBezTo>
                  <a:pt x="466" y="153"/>
                  <a:pt x="462" y="168"/>
                  <a:pt x="454" y="182"/>
                </a:cubicBezTo>
                <a:cubicBezTo>
                  <a:pt x="454" y="182"/>
                  <a:pt x="454" y="182"/>
                  <a:pt x="454" y="182"/>
                </a:cubicBezTo>
                <a:cubicBezTo>
                  <a:pt x="466" y="194"/>
                  <a:pt x="474" y="211"/>
                  <a:pt x="474" y="230"/>
                </a:cubicBezTo>
                <a:cubicBezTo>
                  <a:pt x="474" y="230"/>
                  <a:pt x="474" y="230"/>
                  <a:pt x="474" y="230"/>
                </a:cubicBezTo>
                <a:cubicBezTo>
                  <a:pt x="474" y="244"/>
                  <a:pt x="468" y="260"/>
                  <a:pt x="457" y="273"/>
                </a:cubicBezTo>
                <a:cubicBezTo>
                  <a:pt x="457" y="273"/>
                  <a:pt x="457" y="273"/>
                  <a:pt x="457" y="273"/>
                </a:cubicBezTo>
                <a:cubicBezTo>
                  <a:pt x="446" y="285"/>
                  <a:pt x="430" y="295"/>
                  <a:pt x="410" y="295"/>
                </a:cubicBezTo>
                <a:cubicBezTo>
                  <a:pt x="410" y="295"/>
                  <a:pt x="410" y="295"/>
                  <a:pt x="410" y="295"/>
                </a:cubicBezTo>
                <a:cubicBezTo>
                  <a:pt x="410" y="295"/>
                  <a:pt x="410" y="295"/>
                  <a:pt x="410" y="295"/>
                </a:cubicBezTo>
                <a:close/>
              </a:path>
            </a:pathLst>
          </a:custGeom>
          <a:solidFill>
            <a:srgbClr val="DB004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en-US"/>
          </a:p>
        </p:txBody>
      </p:sp>
      <p:sp>
        <p:nvSpPr>
          <p:cNvPr id="6171" name="Freeform 8"/>
          <p:cNvSpPr>
            <a:spLocks/>
          </p:cNvSpPr>
          <p:nvPr/>
        </p:nvSpPr>
        <p:spPr bwMode="auto">
          <a:xfrm rot="-685884">
            <a:off x="3000399" y="2852774"/>
            <a:ext cx="1439863" cy="714375"/>
          </a:xfrm>
          <a:custGeom>
            <a:avLst/>
            <a:gdLst>
              <a:gd name="T0" fmla="*/ 2147483647 w 545"/>
              <a:gd name="T1" fmla="*/ 2147483647 h 226"/>
              <a:gd name="T2" fmla="*/ 2147483647 w 545"/>
              <a:gd name="T3" fmla="*/ 2147483647 h 226"/>
              <a:gd name="T4" fmla="*/ 2147483647 w 545"/>
              <a:gd name="T5" fmla="*/ 2147483647 h 226"/>
              <a:gd name="T6" fmla="*/ 0 w 545"/>
              <a:gd name="T7" fmla="*/ 2147483647 h 226"/>
              <a:gd name="T8" fmla="*/ 2147483647 w 545"/>
              <a:gd name="T9" fmla="*/ 2147483647 h 226"/>
              <a:gd name="T10" fmla="*/ 2147483647 w 545"/>
              <a:gd name="T11" fmla="*/ 2147483647 h 226"/>
              <a:gd name="T12" fmla="*/ 2147483647 w 545"/>
              <a:gd name="T13" fmla="*/ 2147483647 h 226"/>
              <a:gd name="T14" fmla="*/ 2147483647 w 545"/>
              <a:gd name="T15" fmla="*/ 2147483647 h 226"/>
              <a:gd name="T16" fmla="*/ 2147483647 w 545"/>
              <a:gd name="T17" fmla="*/ 0 h 226"/>
              <a:gd name="T18" fmla="*/ 2147483647 w 545"/>
              <a:gd name="T19" fmla="*/ 2147483647 h 226"/>
              <a:gd name="T20" fmla="*/ 2147483647 w 545"/>
              <a:gd name="T21" fmla="*/ 2147483647 h 226"/>
              <a:gd name="T22" fmla="*/ 2147483647 w 545"/>
              <a:gd name="T23" fmla="*/ 2147483647 h 226"/>
              <a:gd name="T24" fmla="*/ 2147483647 w 545"/>
              <a:gd name="T25" fmla="*/ 2147483647 h 226"/>
              <a:gd name="T26" fmla="*/ 2147483647 w 545"/>
              <a:gd name="T27" fmla="*/ 2147483647 h 226"/>
              <a:gd name="T28" fmla="*/ 2147483647 w 545"/>
              <a:gd name="T29" fmla="*/ 2147483647 h 226"/>
              <a:gd name="T30" fmla="*/ 2147483647 w 545"/>
              <a:gd name="T31" fmla="*/ 2147483647 h 226"/>
              <a:gd name="T32" fmla="*/ 2147483647 w 545"/>
              <a:gd name="T33" fmla="*/ 2147483647 h 226"/>
              <a:gd name="T34" fmla="*/ 2147483647 w 545"/>
              <a:gd name="T35" fmla="*/ 2147483647 h 226"/>
              <a:gd name="T36" fmla="*/ 2147483647 w 545"/>
              <a:gd name="T37" fmla="*/ 2147483647 h 226"/>
              <a:gd name="T38" fmla="*/ 2147483647 w 545"/>
              <a:gd name="T39" fmla="*/ 2147483647 h 226"/>
              <a:gd name="T40" fmla="*/ 2147483647 w 545"/>
              <a:gd name="T41" fmla="*/ 2147483647 h 226"/>
              <a:gd name="T42" fmla="*/ 2147483647 w 545"/>
              <a:gd name="T43" fmla="*/ 2147483647 h 226"/>
              <a:gd name="T44" fmla="*/ 2147483647 w 545"/>
              <a:gd name="T45" fmla="*/ 2147483647 h 226"/>
              <a:gd name="T46" fmla="*/ 2147483647 w 545"/>
              <a:gd name="T47" fmla="*/ 2147483647 h 226"/>
              <a:gd name="T48" fmla="*/ 2147483647 w 545"/>
              <a:gd name="T49" fmla="*/ 2147483647 h 226"/>
              <a:gd name="T50" fmla="*/ 2147483647 w 545"/>
              <a:gd name="T51" fmla="*/ 2147483647 h 226"/>
              <a:gd name="T52" fmla="*/ 2147483647 w 545"/>
              <a:gd name="T53" fmla="*/ 2147483647 h 226"/>
              <a:gd name="T54" fmla="*/ 2147483647 w 545"/>
              <a:gd name="T55" fmla="*/ 2147483647 h 226"/>
              <a:gd name="T56" fmla="*/ 2147483647 w 545"/>
              <a:gd name="T57" fmla="*/ 2147483647 h 226"/>
              <a:gd name="T58" fmla="*/ 2147483647 w 545"/>
              <a:gd name="T59" fmla="*/ 2147483647 h 226"/>
              <a:gd name="T60" fmla="*/ 2147483647 w 545"/>
              <a:gd name="T61" fmla="*/ 2147483647 h 226"/>
              <a:gd name="T62" fmla="*/ 2147483647 w 545"/>
              <a:gd name="T63" fmla="*/ 2147483647 h 226"/>
              <a:gd name="T64" fmla="*/ 2147483647 w 545"/>
              <a:gd name="T65" fmla="*/ 2147483647 h 226"/>
              <a:gd name="T66" fmla="*/ 2147483647 w 545"/>
              <a:gd name="T67" fmla="*/ 2147483647 h 226"/>
              <a:gd name="T68" fmla="*/ 2147483647 w 545"/>
              <a:gd name="T69" fmla="*/ 2147483647 h 226"/>
              <a:gd name="T70" fmla="*/ 2147483647 w 545"/>
              <a:gd name="T71" fmla="*/ 2147483647 h 226"/>
              <a:gd name="T72" fmla="*/ 2147483647 w 545"/>
              <a:gd name="T73" fmla="*/ 2147483647 h 226"/>
              <a:gd name="T74" fmla="*/ 2147483647 w 545"/>
              <a:gd name="T75" fmla="*/ 2147483647 h 226"/>
              <a:gd name="T76" fmla="*/ 2147483647 w 545"/>
              <a:gd name="T77" fmla="*/ 2147483647 h 226"/>
              <a:gd name="T78" fmla="*/ 2147483647 w 545"/>
              <a:gd name="T79" fmla="*/ 2147483647 h 226"/>
              <a:gd name="T80" fmla="*/ 2147483647 w 545"/>
              <a:gd name="T81" fmla="*/ 2147483647 h 226"/>
              <a:gd name="T82" fmla="*/ 2147483647 w 545"/>
              <a:gd name="T83" fmla="*/ 2147483647 h 226"/>
              <a:gd name="T84" fmla="*/ 2147483647 w 545"/>
              <a:gd name="T85" fmla="*/ 2147483647 h 22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545"/>
              <a:gd name="T130" fmla="*/ 0 h 226"/>
              <a:gd name="T131" fmla="*/ 545 w 545"/>
              <a:gd name="T132" fmla="*/ 226 h 22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545" h="226">
                <a:moveTo>
                  <a:pt x="396" y="218"/>
                </a:moveTo>
                <a:cubicBezTo>
                  <a:pt x="392" y="213"/>
                  <a:pt x="391" y="207"/>
                  <a:pt x="390" y="200"/>
                </a:cubicBezTo>
                <a:cubicBezTo>
                  <a:pt x="390" y="200"/>
                  <a:pt x="390" y="200"/>
                  <a:pt x="390" y="200"/>
                </a:cubicBezTo>
                <a:cubicBezTo>
                  <a:pt x="390" y="197"/>
                  <a:pt x="390" y="194"/>
                  <a:pt x="390" y="191"/>
                </a:cubicBezTo>
                <a:cubicBezTo>
                  <a:pt x="390" y="191"/>
                  <a:pt x="390" y="191"/>
                  <a:pt x="390" y="191"/>
                </a:cubicBezTo>
                <a:cubicBezTo>
                  <a:pt x="22" y="191"/>
                  <a:pt x="22" y="191"/>
                  <a:pt x="22" y="191"/>
                </a:cubicBezTo>
                <a:cubicBezTo>
                  <a:pt x="10" y="191"/>
                  <a:pt x="0" y="181"/>
                  <a:pt x="0" y="169"/>
                </a:cubicBezTo>
                <a:cubicBezTo>
                  <a:pt x="0" y="169"/>
                  <a:pt x="0" y="169"/>
                  <a:pt x="0" y="169"/>
                </a:cubicBezTo>
                <a:cubicBezTo>
                  <a:pt x="0" y="57"/>
                  <a:pt x="0" y="57"/>
                  <a:pt x="0" y="57"/>
                </a:cubicBezTo>
                <a:cubicBezTo>
                  <a:pt x="0" y="45"/>
                  <a:pt x="10" y="35"/>
                  <a:pt x="22" y="35"/>
                </a:cubicBezTo>
                <a:cubicBezTo>
                  <a:pt x="22" y="35"/>
                  <a:pt x="22" y="35"/>
                  <a:pt x="22" y="35"/>
                </a:cubicBezTo>
                <a:cubicBezTo>
                  <a:pt x="390" y="35"/>
                  <a:pt x="390" y="35"/>
                  <a:pt x="390" y="35"/>
                </a:cubicBezTo>
                <a:cubicBezTo>
                  <a:pt x="390" y="32"/>
                  <a:pt x="390" y="29"/>
                  <a:pt x="390" y="26"/>
                </a:cubicBezTo>
                <a:cubicBezTo>
                  <a:pt x="390" y="26"/>
                  <a:pt x="390" y="26"/>
                  <a:pt x="390" y="26"/>
                </a:cubicBezTo>
                <a:cubicBezTo>
                  <a:pt x="391" y="19"/>
                  <a:pt x="392" y="13"/>
                  <a:pt x="395" y="8"/>
                </a:cubicBezTo>
                <a:cubicBezTo>
                  <a:pt x="395" y="8"/>
                  <a:pt x="395" y="8"/>
                  <a:pt x="395" y="8"/>
                </a:cubicBezTo>
                <a:cubicBezTo>
                  <a:pt x="398" y="3"/>
                  <a:pt x="404" y="0"/>
                  <a:pt x="410" y="0"/>
                </a:cubicBezTo>
                <a:cubicBezTo>
                  <a:pt x="410" y="0"/>
                  <a:pt x="410" y="0"/>
                  <a:pt x="410" y="0"/>
                </a:cubicBezTo>
                <a:cubicBezTo>
                  <a:pt x="417" y="0"/>
                  <a:pt x="422" y="3"/>
                  <a:pt x="428" y="7"/>
                </a:cubicBezTo>
                <a:cubicBezTo>
                  <a:pt x="428" y="7"/>
                  <a:pt x="428" y="7"/>
                  <a:pt x="428" y="7"/>
                </a:cubicBezTo>
                <a:cubicBezTo>
                  <a:pt x="429" y="7"/>
                  <a:pt x="429" y="7"/>
                  <a:pt x="429" y="8"/>
                </a:cubicBezTo>
                <a:cubicBezTo>
                  <a:pt x="429" y="8"/>
                  <a:pt x="429" y="8"/>
                  <a:pt x="429" y="8"/>
                </a:cubicBezTo>
                <a:cubicBezTo>
                  <a:pt x="430" y="8"/>
                  <a:pt x="430" y="8"/>
                  <a:pt x="431" y="9"/>
                </a:cubicBezTo>
                <a:cubicBezTo>
                  <a:pt x="431" y="9"/>
                  <a:pt x="431" y="9"/>
                  <a:pt x="431" y="9"/>
                </a:cubicBezTo>
                <a:cubicBezTo>
                  <a:pt x="432" y="10"/>
                  <a:pt x="434" y="11"/>
                  <a:pt x="436" y="13"/>
                </a:cubicBezTo>
                <a:cubicBezTo>
                  <a:pt x="436" y="13"/>
                  <a:pt x="436" y="13"/>
                  <a:pt x="436" y="13"/>
                </a:cubicBezTo>
                <a:cubicBezTo>
                  <a:pt x="441" y="17"/>
                  <a:pt x="447" y="22"/>
                  <a:pt x="455" y="28"/>
                </a:cubicBezTo>
                <a:cubicBezTo>
                  <a:pt x="455" y="28"/>
                  <a:pt x="455" y="28"/>
                  <a:pt x="455" y="28"/>
                </a:cubicBezTo>
                <a:cubicBezTo>
                  <a:pt x="455" y="28"/>
                  <a:pt x="455" y="28"/>
                  <a:pt x="455" y="28"/>
                </a:cubicBezTo>
                <a:cubicBezTo>
                  <a:pt x="458" y="31"/>
                  <a:pt x="459" y="36"/>
                  <a:pt x="456" y="39"/>
                </a:cubicBezTo>
                <a:cubicBezTo>
                  <a:pt x="456" y="39"/>
                  <a:pt x="456" y="39"/>
                  <a:pt x="456" y="39"/>
                </a:cubicBezTo>
                <a:cubicBezTo>
                  <a:pt x="453" y="43"/>
                  <a:pt x="448" y="43"/>
                  <a:pt x="445" y="40"/>
                </a:cubicBezTo>
                <a:cubicBezTo>
                  <a:pt x="445" y="40"/>
                  <a:pt x="445" y="40"/>
                  <a:pt x="445" y="40"/>
                </a:cubicBezTo>
                <a:cubicBezTo>
                  <a:pt x="431" y="29"/>
                  <a:pt x="420" y="21"/>
                  <a:pt x="419" y="20"/>
                </a:cubicBezTo>
                <a:cubicBezTo>
                  <a:pt x="419" y="20"/>
                  <a:pt x="419" y="20"/>
                  <a:pt x="419" y="20"/>
                </a:cubicBezTo>
                <a:cubicBezTo>
                  <a:pt x="415" y="17"/>
                  <a:pt x="411" y="16"/>
                  <a:pt x="410" y="16"/>
                </a:cubicBezTo>
                <a:cubicBezTo>
                  <a:pt x="410" y="16"/>
                  <a:pt x="410" y="16"/>
                  <a:pt x="410" y="16"/>
                </a:cubicBezTo>
                <a:cubicBezTo>
                  <a:pt x="409" y="16"/>
                  <a:pt x="409" y="16"/>
                  <a:pt x="408" y="17"/>
                </a:cubicBezTo>
                <a:cubicBezTo>
                  <a:pt x="408" y="17"/>
                  <a:pt x="408" y="17"/>
                  <a:pt x="408" y="17"/>
                </a:cubicBezTo>
                <a:cubicBezTo>
                  <a:pt x="408" y="18"/>
                  <a:pt x="407" y="21"/>
                  <a:pt x="406" y="27"/>
                </a:cubicBezTo>
                <a:cubicBezTo>
                  <a:pt x="406" y="27"/>
                  <a:pt x="406" y="27"/>
                  <a:pt x="406" y="27"/>
                </a:cubicBezTo>
                <a:cubicBezTo>
                  <a:pt x="406" y="31"/>
                  <a:pt x="406" y="36"/>
                  <a:pt x="406" y="43"/>
                </a:cubicBezTo>
                <a:cubicBezTo>
                  <a:pt x="406" y="43"/>
                  <a:pt x="406" y="43"/>
                  <a:pt x="406" y="43"/>
                </a:cubicBezTo>
                <a:cubicBezTo>
                  <a:pt x="406" y="47"/>
                  <a:pt x="403" y="51"/>
                  <a:pt x="398" y="51"/>
                </a:cubicBezTo>
                <a:cubicBezTo>
                  <a:pt x="398" y="51"/>
                  <a:pt x="398" y="51"/>
                  <a:pt x="398" y="51"/>
                </a:cubicBezTo>
                <a:cubicBezTo>
                  <a:pt x="22" y="51"/>
                  <a:pt x="22" y="51"/>
                  <a:pt x="22" y="51"/>
                </a:cubicBezTo>
                <a:cubicBezTo>
                  <a:pt x="19" y="51"/>
                  <a:pt x="16" y="54"/>
                  <a:pt x="16" y="57"/>
                </a:cubicBezTo>
                <a:cubicBezTo>
                  <a:pt x="16" y="57"/>
                  <a:pt x="16" y="57"/>
                  <a:pt x="16" y="57"/>
                </a:cubicBezTo>
                <a:cubicBezTo>
                  <a:pt x="16" y="169"/>
                  <a:pt x="16" y="169"/>
                  <a:pt x="16" y="169"/>
                </a:cubicBezTo>
                <a:cubicBezTo>
                  <a:pt x="16" y="172"/>
                  <a:pt x="19" y="175"/>
                  <a:pt x="22" y="175"/>
                </a:cubicBezTo>
                <a:cubicBezTo>
                  <a:pt x="22" y="175"/>
                  <a:pt x="22" y="175"/>
                  <a:pt x="22" y="175"/>
                </a:cubicBezTo>
                <a:cubicBezTo>
                  <a:pt x="398" y="175"/>
                  <a:pt x="398" y="175"/>
                  <a:pt x="398" y="175"/>
                </a:cubicBezTo>
                <a:cubicBezTo>
                  <a:pt x="403" y="175"/>
                  <a:pt x="406" y="179"/>
                  <a:pt x="406" y="183"/>
                </a:cubicBezTo>
                <a:cubicBezTo>
                  <a:pt x="406" y="183"/>
                  <a:pt x="406" y="183"/>
                  <a:pt x="406" y="183"/>
                </a:cubicBezTo>
                <a:cubicBezTo>
                  <a:pt x="406" y="190"/>
                  <a:pt x="406" y="196"/>
                  <a:pt x="406" y="200"/>
                </a:cubicBezTo>
                <a:cubicBezTo>
                  <a:pt x="406" y="200"/>
                  <a:pt x="406" y="200"/>
                  <a:pt x="406" y="200"/>
                </a:cubicBezTo>
                <a:cubicBezTo>
                  <a:pt x="407" y="205"/>
                  <a:pt x="408" y="208"/>
                  <a:pt x="409" y="209"/>
                </a:cubicBezTo>
                <a:cubicBezTo>
                  <a:pt x="409" y="209"/>
                  <a:pt x="409" y="209"/>
                  <a:pt x="409" y="209"/>
                </a:cubicBezTo>
                <a:cubicBezTo>
                  <a:pt x="409" y="210"/>
                  <a:pt x="410" y="210"/>
                  <a:pt x="411" y="210"/>
                </a:cubicBezTo>
                <a:cubicBezTo>
                  <a:pt x="411" y="210"/>
                  <a:pt x="411" y="210"/>
                  <a:pt x="411" y="210"/>
                </a:cubicBezTo>
                <a:cubicBezTo>
                  <a:pt x="412" y="210"/>
                  <a:pt x="415" y="209"/>
                  <a:pt x="419" y="207"/>
                </a:cubicBezTo>
                <a:cubicBezTo>
                  <a:pt x="419" y="207"/>
                  <a:pt x="419" y="207"/>
                  <a:pt x="419" y="207"/>
                </a:cubicBezTo>
                <a:cubicBezTo>
                  <a:pt x="431" y="196"/>
                  <a:pt x="512" y="133"/>
                  <a:pt x="523" y="124"/>
                </a:cubicBezTo>
                <a:cubicBezTo>
                  <a:pt x="523" y="124"/>
                  <a:pt x="523" y="124"/>
                  <a:pt x="523" y="124"/>
                </a:cubicBezTo>
                <a:cubicBezTo>
                  <a:pt x="528" y="120"/>
                  <a:pt x="529" y="117"/>
                  <a:pt x="529" y="113"/>
                </a:cubicBezTo>
                <a:cubicBezTo>
                  <a:pt x="529" y="113"/>
                  <a:pt x="529" y="113"/>
                  <a:pt x="529" y="113"/>
                </a:cubicBezTo>
                <a:cubicBezTo>
                  <a:pt x="529" y="109"/>
                  <a:pt x="528" y="107"/>
                  <a:pt x="523" y="103"/>
                </a:cubicBezTo>
                <a:cubicBezTo>
                  <a:pt x="523" y="103"/>
                  <a:pt x="523" y="103"/>
                  <a:pt x="523" y="103"/>
                </a:cubicBezTo>
                <a:cubicBezTo>
                  <a:pt x="522" y="102"/>
                  <a:pt x="494" y="79"/>
                  <a:pt x="467" y="58"/>
                </a:cubicBezTo>
                <a:cubicBezTo>
                  <a:pt x="467" y="58"/>
                  <a:pt x="467" y="58"/>
                  <a:pt x="467" y="58"/>
                </a:cubicBezTo>
                <a:cubicBezTo>
                  <a:pt x="463" y="55"/>
                  <a:pt x="463" y="50"/>
                  <a:pt x="466" y="47"/>
                </a:cubicBezTo>
                <a:cubicBezTo>
                  <a:pt x="466" y="47"/>
                  <a:pt x="466" y="47"/>
                  <a:pt x="466" y="47"/>
                </a:cubicBezTo>
                <a:cubicBezTo>
                  <a:pt x="468" y="43"/>
                  <a:pt x="473" y="43"/>
                  <a:pt x="477" y="45"/>
                </a:cubicBezTo>
                <a:cubicBezTo>
                  <a:pt x="477" y="45"/>
                  <a:pt x="477" y="45"/>
                  <a:pt x="477" y="45"/>
                </a:cubicBezTo>
                <a:cubicBezTo>
                  <a:pt x="504" y="67"/>
                  <a:pt x="532" y="89"/>
                  <a:pt x="533" y="90"/>
                </a:cubicBezTo>
                <a:cubicBezTo>
                  <a:pt x="533" y="90"/>
                  <a:pt x="533" y="90"/>
                  <a:pt x="533" y="90"/>
                </a:cubicBezTo>
                <a:cubicBezTo>
                  <a:pt x="540" y="96"/>
                  <a:pt x="545" y="104"/>
                  <a:pt x="545" y="113"/>
                </a:cubicBezTo>
                <a:cubicBezTo>
                  <a:pt x="545" y="113"/>
                  <a:pt x="545" y="113"/>
                  <a:pt x="545" y="113"/>
                </a:cubicBezTo>
                <a:cubicBezTo>
                  <a:pt x="545" y="122"/>
                  <a:pt x="540" y="131"/>
                  <a:pt x="533" y="136"/>
                </a:cubicBezTo>
                <a:cubicBezTo>
                  <a:pt x="533" y="136"/>
                  <a:pt x="533" y="136"/>
                  <a:pt x="533" y="136"/>
                </a:cubicBezTo>
                <a:cubicBezTo>
                  <a:pt x="522" y="145"/>
                  <a:pt x="441" y="209"/>
                  <a:pt x="429" y="219"/>
                </a:cubicBezTo>
                <a:cubicBezTo>
                  <a:pt x="429" y="219"/>
                  <a:pt x="429" y="219"/>
                  <a:pt x="429" y="219"/>
                </a:cubicBezTo>
                <a:cubicBezTo>
                  <a:pt x="423" y="223"/>
                  <a:pt x="417" y="226"/>
                  <a:pt x="411" y="226"/>
                </a:cubicBezTo>
                <a:cubicBezTo>
                  <a:pt x="411" y="226"/>
                  <a:pt x="411" y="226"/>
                  <a:pt x="411" y="226"/>
                </a:cubicBezTo>
                <a:cubicBezTo>
                  <a:pt x="411" y="226"/>
                  <a:pt x="411" y="226"/>
                  <a:pt x="410" y="226"/>
                </a:cubicBezTo>
                <a:cubicBezTo>
                  <a:pt x="410" y="226"/>
                  <a:pt x="410" y="226"/>
                  <a:pt x="410" y="226"/>
                </a:cubicBezTo>
                <a:cubicBezTo>
                  <a:pt x="405" y="226"/>
                  <a:pt x="399" y="223"/>
                  <a:pt x="396" y="218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6000" anchor="ctr"/>
          <a:lstStyle/>
          <a:p>
            <a:pPr>
              <a:lnSpc>
                <a:spcPct val="75000"/>
              </a:lnSpc>
            </a:pPr>
            <a:r>
              <a:rPr lang="sv-SE" sz="1400" dirty="0">
                <a:solidFill>
                  <a:schemeClr val="tx2"/>
                </a:solidFill>
              </a:rPr>
              <a:t>Virtualization</a:t>
            </a:r>
          </a:p>
        </p:txBody>
      </p:sp>
      <p:sp>
        <p:nvSpPr>
          <p:cNvPr id="6172" name="Freeform 9"/>
          <p:cNvSpPr>
            <a:spLocks noChangeAspect="1"/>
          </p:cNvSpPr>
          <p:nvPr/>
        </p:nvSpPr>
        <p:spPr bwMode="auto">
          <a:xfrm>
            <a:off x="8832851" y="3860813"/>
            <a:ext cx="1081088" cy="771525"/>
          </a:xfrm>
          <a:custGeom>
            <a:avLst/>
            <a:gdLst>
              <a:gd name="T0" fmla="*/ 2147483647 w 474"/>
              <a:gd name="T1" fmla="*/ 2147483647 h 295"/>
              <a:gd name="T2" fmla="*/ 2147483647 w 474"/>
              <a:gd name="T3" fmla="*/ 2147483647 h 295"/>
              <a:gd name="T4" fmla="*/ 2147483647 w 474"/>
              <a:gd name="T5" fmla="*/ 2147483647 h 295"/>
              <a:gd name="T6" fmla="*/ 2147483647 w 474"/>
              <a:gd name="T7" fmla="*/ 2147483647 h 295"/>
              <a:gd name="T8" fmla="*/ 2147483647 w 474"/>
              <a:gd name="T9" fmla="*/ 2147483647 h 295"/>
              <a:gd name="T10" fmla="*/ 2147483647 w 474"/>
              <a:gd name="T11" fmla="*/ 2147483647 h 295"/>
              <a:gd name="T12" fmla="*/ 2147483647 w 474"/>
              <a:gd name="T13" fmla="*/ 2147483647 h 295"/>
              <a:gd name="T14" fmla="*/ 2147483647 w 474"/>
              <a:gd name="T15" fmla="*/ 2147483647 h 295"/>
              <a:gd name="T16" fmla="*/ 2147483647 w 474"/>
              <a:gd name="T17" fmla="*/ 2147483647 h 295"/>
              <a:gd name="T18" fmla="*/ 2147483647 w 474"/>
              <a:gd name="T19" fmla="*/ 2147483647 h 295"/>
              <a:gd name="T20" fmla="*/ 2147483647 w 474"/>
              <a:gd name="T21" fmla="*/ 2147483647 h 295"/>
              <a:gd name="T22" fmla="*/ 2147483647 w 474"/>
              <a:gd name="T23" fmla="*/ 2147483647 h 295"/>
              <a:gd name="T24" fmla="*/ 2147483647 w 474"/>
              <a:gd name="T25" fmla="*/ 2147483647 h 295"/>
              <a:gd name="T26" fmla="*/ 2147483647 w 474"/>
              <a:gd name="T27" fmla="*/ 2147483647 h 295"/>
              <a:gd name="T28" fmla="*/ 2147483647 w 474"/>
              <a:gd name="T29" fmla="*/ 2147483647 h 295"/>
              <a:gd name="T30" fmla="*/ 2147483647 w 474"/>
              <a:gd name="T31" fmla="*/ 2147483647 h 295"/>
              <a:gd name="T32" fmla="*/ 2147483647 w 474"/>
              <a:gd name="T33" fmla="*/ 2147483647 h 295"/>
              <a:gd name="T34" fmla="*/ 2147483647 w 474"/>
              <a:gd name="T35" fmla="*/ 2147483647 h 295"/>
              <a:gd name="T36" fmla="*/ 2147483647 w 474"/>
              <a:gd name="T37" fmla="*/ 2147483647 h 295"/>
              <a:gd name="T38" fmla="*/ 2147483647 w 474"/>
              <a:gd name="T39" fmla="*/ 2147483647 h 295"/>
              <a:gd name="T40" fmla="*/ 2147483647 w 474"/>
              <a:gd name="T41" fmla="*/ 2147483647 h 295"/>
              <a:gd name="T42" fmla="*/ 0 w 474"/>
              <a:gd name="T43" fmla="*/ 2147483647 h 295"/>
              <a:gd name="T44" fmla="*/ 2147483647 w 474"/>
              <a:gd name="T45" fmla="*/ 2147483647 h 295"/>
              <a:gd name="T46" fmla="*/ 2147483647 w 474"/>
              <a:gd name="T47" fmla="*/ 0 h 295"/>
              <a:gd name="T48" fmla="*/ 2147483647 w 474"/>
              <a:gd name="T49" fmla="*/ 2147483647 h 295"/>
              <a:gd name="T50" fmla="*/ 2147483647 w 474"/>
              <a:gd name="T51" fmla="*/ 2147483647 h 295"/>
              <a:gd name="T52" fmla="*/ 2147483647 w 474"/>
              <a:gd name="T53" fmla="*/ 2147483647 h 295"/>
              <a:gd name="T54" fmla="*/ 2147483647 w 474"/>
              <a:gd name="T55" fmla="*/ 2147483647 h 295"/>
              <a:gd name="T56" fmla="*/ 2147483647 w 474"/>
              <a:gd name="T57" fmla="*/ 2147483647 h 295"/>
              <a:gd name="T58" fmla="*/ 2147483647 w 474"/>
              <a:gd name="T59" fmla="*/ 2147483647 h 295"/>
              <a:gd name="T60" fmla="*/ 2147483647 w 474"/>
              <a:gd name="T61" fmla="*/ 2147483647 h 295"/>
              <a:gd name="T62" fmla="*/ 2147483647 w 474"/>
              <a:gd name="T63" fmla="*/ 2147483647 h 295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474"/>
              <a:gd name="T97" fmla="*/ 0 h 295"/>
              <a:gd name="T98" fmla="*/ 474 w 474"/>
              <a:gd name="T99" fmla="*/ 295 h 295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474" h="295">
                <a:moveTo>
                  <a:pt x="410" y="295"/>
                </a:moveTo>
                <a:cubicBezTo>
                  <a:pt x="382" y="295"/>
                  <a:pt x="382" y="295"/>
                  <a:pt x="382" y="295"/>
                </a:cubicBezTo>
                <a:cubicBezTo>
                  <a:pt x="378" y="295"/>
                  <a:pt x="374" y="291"/>
                  <a:pt x="374" y="287"/>
                </a:cubicBezTo>
                <a:cubicBezTo>
                  <a:pt x="374" y="287"/>
                  <a:pt x="374" y="287"/>
                  <a:pt x="374" y="287"/>
                </a:cubicBezTo>
                <a:cubicBezTo>
                  <a:pt x="374" y="283"/>
                  <a:pt x="378" y="279"/>
                  <a:pt x="382" y="279"/>
                </a:cubicBezTo>
                <a:cubicBezTo>
                  <a:pt x="382" y="279"/>
                  <a:pt x="382" y="279"/>
                  <a:pt x="382" y="279"/>
                </a:cubicBezTo>
                <a:cubicBezTo>
                  <a:pt x="410" y="279"/>
                  <a:pt x="410" y="279"/>
                  <a:pt x="410" y="279"/>
                </a:cubicBezTo>
                <a:cubicBezTo>
                  <a:pt x="425" y="279"/>
                  <a:pt x="436" y="272"/>
                  <a:pt x="445" y="262"/>
                </a:cubicBezTo>
                <a:cubicBezTo>
                  <a:pt x="445" y="262"/>
                  <a:pt x="445" y="262"/>
                  <a:pt x="445" y="262"/>
                </a:cubicBezTo>
                <a:cubicBezTo>
                  <a:pt x="453" y="253"/>
                  <a:pt x="458" y="240"/>
                  <a:pt x="458" y="230"/>
                </a:cubicBezTo>
                <a:cubicBezTo>
                  <a:pt x="458" y="230"/>
                  <a:pt x="458" y="230"/>
                  <a:pt x="458" y="230"/>
                </a:cubicBezTo>
                <a:cubicBezTo>
                  <a:pt x="458" y="214"/>
                  <a:pt x="451" y="200"/>
                  <a:pt x="439" y="189"/>
                </a:cubicBezTo>
                <a:cubicBezTo>
                  <a:pt x="439" y="189"/>
                  <a:pt x="439" y="189"/>
                  <a:pt x="439" y="189"/>
                </a:cubicBezTo>
                <a:cubicBezTo>
                  <a:pt x="436" y="187"/>
                  <a:pt x="436" y="182"/>
                  <a:pt x="438" y="179"/>
                </a:cubicBezTo>
                <a:cubicBezTo>
                  <a:pt x="438" y="179"/>
                  <a:pt x="438" y="179"/>
                  <a:pt x="438" y="179"/>
                </a:cubicBezTo>
                <a:cubicBezTo>
                  <a:pt x="445" y="166"/>
                  <a:pt x="450" y="152"/>
                  <a:pt x="450" y="136"/>
                </a:cubicBezTo>
                <a:cubicBezTo>
                  <a:pt x="450" y="136"/>
                  <a:pt x="450" y="136"/>
                  <a:pt x="450" y="136"/>
                </a:cubicBezTo>
                <a:cubicBezTo>
                  <a:pt x="450" y="90"/>
                  <a:pt x="412" y="52"/>
                  <a:pt x="365" y="52"/>
                </a:cubicBezTo>
                <a:cubicBezTo>
                  <a:pt x="365" y="52"/>
                  <a:pt x="365" y="52"/>
                  <a:pt x="365" y="52"/>
                </a:cubicBezTo>
                <a:cubicBezTo>
                  <a:pt x="347" y="52"/>
                  <a:pt x="330" y="58"/>
                  <a:pt x="316" y="68"/>
                </a:cubicBezTo>
                <a:cubicBezTo>
                  <a:pt x="316" y="68"/>
                  <a:pt x="316" y="68"/>
                  <a:pt x="316" y="68"/>
                </a:cubicBezTo>
                <a:cubicBezTo>
                  <a:pt x="313" y="70"/>
                  <a:pt x="308" y="69"/>
                  <a:pt x="305" y="66"/>
                </a:cubicBezTo>
                <a:cubicBezTo>
                  <a:pt x="305" y="66"/>
                  <a:pt x="305" y="66"/>
                  <a:pt x="305" y="66"/>
                </a:cubicBezTo>
                <a:cubicBezTo>
                  <a:pt x="283" y="36"/>
                  <a:pt x="247" y="16"/>
                  <a:pt x="206" y="16"/>
                </a:cubicBezTo>
                <a:cubicBezTo>
                  <a:pt x="206" y="16"/>
                  <a:pt x="206" y="16"/>
                  <a:pt x="206" y="16"/>
                </a:cubicBezTo>
                <a:cubicBezTo>
                  <a:pt x="143" y="16"/>
                  <a:pt x="90" y="65"/>
                  <a:pt x="84" y="127"/>
                </a:cubicBezTo>
                <a:cubicBezTo>
                  <a:pt x="84" y="127"/>
                  <a:pt x="84" y="127"/>
                  <a:pt x="84" y="127"/>
                </a:cubicBezTo>
                <a:cubicBezTo>
                  <a:pt x="84" y="130"/>
                  <a:pt x="81" y="133"/>
                  <a:pt x="77" y="134"/>
                </a:cubicBezTo>
                <a:cubicBezTo>
                  <a:pt x="77" y="134"/>
                  <a:pt x="77" y="134"/>
                  <a:pt x="77" y="134"/>
                </a:cubicBezTo>
                <a:cubicBezTo>
                  <a:pt x="42" y="141"/>
                  <a:pt x="16" y="172"/>
                  <a:pt x="16" y="209"/>
                </a:cubicBezTo>
                <a:cubicBezTo>
                  <a:pt x="16" y="209"/>
                  <a:pt x="16" y="209"/>
                  <a:pt x="16" y="209"/>
                </a:cubicBezTo>
                <a:cubicBezTo>
                  <a:pt x="16" y="224"/>
                  <a:pt x="22" y="243"/>
                  <a:pt x="33" y="256"/>
                </a:cubicBezTo>
                <a:cubicBezTo>
                  <a:pt x="33" y="256"/>
                  <a:pt x="33" y="256"/>
                  <a:pt x="33" y="256"/>
                </a:cubicBezTo>
                <a:cubicBezTo>
                  <a:pt x="44" y="270"/>
                  <a:pt x="58" y="279"/>
                  <a:pt x="75" y="279"/>
                </a:cubicBezTo>
                <a:cubicBezTo>
                  <a:pt x="75" y="279"/>
                  <a:pt x="75" y="279"/>
                  <a:pt x="75" y="279"/>
                </a:cubicBezTo>
                <a:cubicBezTo>
                  <a:pt x="351" y="279"/>
                  <a:pt x="351" y="279"/>
                  <a:pt x="351" y="279"/>
                </a:cubicBezTo>
                <a:cubicBezTo>
                  <a:pt x="355" y="279"/>
                  <a:pt x="359" y="283"/>
                  <a:pt x="359" y="287"/>
                </a:cubicBezTo>
                <a:cubicBezTo>
                  <a:pt x="359" y="287"/>
                  <a:pt x="359" y="287"/>
                  <a:pt x="359" y="287"/>
                </a:cubicBezTo>
                <a:cubicBezTo>
                  <a:pt x="359" y="291"/>
                  <a:pt x="355" y="295"/>
                  <a:pt x="351" y="295"/>
                </a:cubicBezTo>
                <a:cubicBezTo>
                  <a:pt x="351" y="295"/>
                  <a:pt x="351" y="295"/>
                  <a:pt x="351" y="295"/>
                </a:cubicBezTo>
                <a:cubicBezTo>
                  <a:pt x="75" y="295"/>
                  <a:pt x="75" y="295"/>
                  <a:pt x="75" y="295"/>
                </a:cubicBezTo>
                <a:cubicBezTo>
                  <a:pt x="52" y="295"/>
                  <a:pt x="33" y="283"/>
                  <a:pt x="21" y="266"/>
                </a:cubicBezTo>
                <a:cubicBezTo>
                  <a:pt x="21" y="266"/>
                  <a:pt x="21" y="266"/>
                  <a:pt x="21" y="266"/>
                </a:cubicBezTo>
                <a:cubicBezTo>
                  <a:pt x="8" y="250"/>
                  <a:pt x="0" y="229"/>
                  <a:pt x="0" y="209"/>
                </a:cubicBezTo>
                <a:cubicBezTo>
                  <a:pt x="0" y="209"/>
                  <a:pt x="0" y="209"/>
                  <a:pt x="0" y="209"/>
                </a:cubicBezTo>
                <a:cubicBezTo>
                  <a:pt x="0" y="166"/>
                  <a:pt x="29" y="130"/>
                  <a:pt x="69" y="120"/>
                </a:cubicBezTo>
                <a:cubicBezTo>
                  <a:pt x="69" y="120"/>
                  <a:pt x="69" y="120"/>
                  <a:pt x="69" y="120"/>
                </a:cubicBezTo>
                <a:cubicBezTo>
                  <a:pt x="78" y="52"/>
                  <a:pt x="136" y="0"/>
                  <a:pt x="206" y="0"/>
                </a:cubicBezTo>
                <a:cubicBezTo>
                  <a:pt x="206" y="0"/>
                  <a:pt x="206" y="0"/>
                  <a:pt x="206" y="0"/>
                </a:cubicBezTo>
                <a:cubicBezTo>
                  <a:pt x="250" y="0"/>
                  <a:pt x="288" y="20"/>
                  <a:pt x="313" y="50"/>
                </a:cubicBezTo>
                <a:cubicBezTo>
                  <a:pt x="313" y="50"/>
                  <a:pt x="313" y="50"/>
                  <a:pt x="313" y="50"/>
                </a:cubicBezTo>
                <a:cubicBezTo>
                  <a:pt x="328" y="41"/>
                  <a:pt x="346" y="36"/>
                  <a:pt x="365" y="36"/>
                </a:cubicBezTo>
                <a:cubicBezTo>
                  <a:pt x="365" y="36"/>
                  <a:pt x="365" y="36"/>
                  <a:pt x="365" y="36"/>
                </a:cubicBezTo>
                <a:cubicBezTo>
                  <a:pt x="421" y="36"/>
                  <a:pt x="466" y="81"/>
                  <a:pt x="466" y="136"/>
                </a:cubicBezTo>
                <a:cubicBezTo>
                  <a:pt x="466" y="136"/>
                  <a:pt x="466" y="136"/>
                  <a:pt x="466" y="136"/>
                </a:cubicBezTo>
                <a:cubicBezTo>
                  <a:pt x="466" y="153"/>
                  <a:pt x="462" y="168"/>
                  <a:pt x="454" y="182"/>
                </a:cubicBezTo>
                <a:cubicBezTo>
                  <a:pt x="454" y="182"/>
                  <a:pt x="454" y="182"/>
                  <a:pt x="454" y="182"/>
                </a:cubicBezTo>
                <a:cubicBezTo>
                  <a:pt x="466" y="194"/>
                  <a:pt x="474" y="211"/>
                  <a:pt x="474" y="230"/>
                </a:cubicBezTo>
                <a:cubicBezTo>
                  <a:pt x="474" y="230"/>
                  <a:pt x="474" y="230"/>
                  <a:pt x="474" y="230"/>
                </a:cubicBezTo>
                <a:cubicBezTo>
                  <a:pt x="474" y="244"/>
                  <a:pt x="468" y="260"/>
                  <a:pt x="457" y="273"/>
                </a:cubicBezTo>
                <a:cubicBezTo>
                  <a:pt x="457" y="273"/>
                  <a:pt x="457" y="273"/>
                  <a:pt x="457" y="273"/>
                </a:cubicBezTo>
                <a:cubicBezTo>
                  <a:pt x="446" y="285"/>
                  <a:pt x="430" y="295"/>
                  <a:pt x="410" y="295"/>
                </a:cubicBezTo>
                <a:cubicBezTo>
                  <a:pt x="410" y="295"/>
                  <a:pt x="410" y="295"/>
                  <a:pt x="410" y="295"/>
                </a:cubicBezTo>
                <a:cubicBezTo>
                  <a:pt x="410" y="295"/>
                  <a:pt x="410" y="295"/>
                  <a:pt x="410" y="295"/>
                </a:cubicBezTo>
                <a:close/>
              </a:path>
            </a:pathLst>
          </a:custGeom>
          <a:solidFill>
            <a:srgbClr val="DB004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en-US"/>
          </a:p>
        </p:txBody>
      </p:sp>
      <p:grpSp>
        <p:nvGrpSpPr>
          <p:cNvPr id="6173" name="Group 64"/>
          <p:cNvGrpSpPr>
            <a:grpSpLocks noChangeAspect="1"/>
          </p:cNvGrpSpPr>
          <p:nvPr/>
        </p:nvGrpSpPr>
        <p:grpSpPr bwMode="auto">
          <a:xfrm>
            <a:off x="984273" y="2997200"/>
            <a:ext cx="503239" cy="719138"/>
            <a:chOff x="183" y="860"/>
            <a:chExt cx="969" cy="1392"/>
          </a:xfrm>
        </p:grpSpPr>
        <p:grpSp>
          <p:nvGrpSpPr>
            <p:cNvPr id="6319" name="Group 53"/>
            <p:cNvGrpSpPr>
              <a:grpSpLocks noChangeAspect="1"/>
            </p:cNvGrpSpPr>
            <p:nvPr/>
          </p:nvGrpSpPr>
          <p:grpSpPr bwMode="auto">
            <a:xfrm>
              <a:off x="186" y="860"/>
              <a:ext cx="966" cy="1391"/>
              <a:chOff x="186" y="860"/>
              <a:chExt cx="966" cy="1391"/>
            </a:xfrm>
          </p:grpSpPr>
          <p:sp>
            <p:nvSpPr>
              <p:cNvPr id="6321" name="Freeform 4"/>
              <p:cNvSpPr>
                <a:spLocks noChangeAspect="1"/>
              </p:cNvSpPr>
              <p:nvPr/>
            </p:nvSpPr>
            <p:spPr bwMode="auto">
              <a:xfrm>
                <a:off x="205" y="879"/>
                <a:ext cx="928" cy="1353"/>
              </a:xfrm>
              <a:custGeom>
                <a:avLst/>
                <a:gdLst>
                  <a:gd name="T0" fmla="*/ 2117824 w 393"/>
                  <a:gd name="T1" fmla="*/ 447302 h 573"/>
                  <a:gd name="T2" fmla="*/ 2117824 w 393"/>
                  <a:gd name="T3" fmla="*/ 2913590 h 573"/>
                  <a:gd name="T4" fmla="*/ 1944873 w 393"/>
                  <a:gd name="T5" fmla="*/ 3087423 h 573"/>
                  <a:gd name="T6" fmla="*/ 173175 w 393"/>
                  <a:gd name="T7" fmla="*/ 3087423 h 573"/>
                  <a:gd name="T8" fmla="*/ 0 w 393"/>
                  <a:gd name="T9" fmla="*/ 2913590 h 573"/>
                  <a:gd name="T10" fmla="*/ 0 w 393"/>
                  <a:gd name="T11" fmla="*/ 173149 h 573"/>
                  <a:gd name="T12" fmla="*/ 173175 w 393"/>
                  <a:gd name="T13" fmla="*/ 0 h 573"/>
                  <a:gd name="T14" fmla="*/ 1944873 w 393"/>
                  <a:gd name="T15" fmla="*/ 0 h 573"/>
                  <a:gd name="T16" fmla="*/ 2117824 w 393"/>
                  <a:gd name="T17" fmla="*/ 173149 h 573"/>
                  <a:gd name="T18" fmla="*/ 2117824 w 393"/>
                  <a:gd name="T19" fmla="*/ 273351 h 57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93"/>
                  <a:gd name="T31" fmla="*/ 0 h 573"/>
                  <a:gd name="T32" fmla="*/ 393 w 393"/>
                  <a:gd name="T33" fmla="*/ 573 h 57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93" h="573">
                    <a:moveTo>
                      <a:pt x="393" y="83"/>
                    </a:moveTo>
                    <a:cubicBezTo>
                      <a:pt x="393" y="541"/>
                      <a:pt x="393" y="541"/>
                      <a:pt x="393" y="541"/>
                    </a:cubicBezTo>
                    <a:cubicBezTo>
                      <a:pt x="393" y="559"/>
                      <a:pt x="379" y="573"/>
                      <a:pt x="361" y="573"/>
                    </a:cubicBezTo>
                    <a:cubicBezTo>
                      <a:pt x="32" y="573"/>
                      <a:pt x="32" y="573"/>
                      <a:pt x="32" y="573"/>
                    </a:cubicBezTo>
                    <a:cubicBezTo>
                      <a:pt x="14" y="573"/>
                      <a:pt x="0" y="559"/>
                      <a:pt x="0" y="541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361" y="0"/>
                      <a:pt x="361" y="0"/>
                      <a:pt x="361" y="0"/>
                    </a:cubicBezTo>
                    <a:cubicBezTo>
                      <a:pt x="379" y="0"/>
                      <a:pt x="393" y="14"/>
                      <a:pt x="393" y="32"/>
                    </a:cubicBezTo>
                    <a:cubicBezTo>
                      <a:pt x="393" y="51"/>
                      <a:pt x="393" y="51"/>
                      <a:pt x="393" y="5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lang="en-US"/>
              </a:p>
            </p:txBody>
          </p:sp>
          <p:sp>
            <p:nvSpPr>
              <p:cNvPr id="6322" name="Freeform 5"/>
              <p:cNvSpPr>
                <a:spLocks noChangeAspect="1" noEditPoints="1"/>
              </p:cNvSpPr>
              <p:nvPr/>
            </p:nvSpPr>
            <p:spPr bwMode="auto">
              <a:xfrm>
                <a:off x="186" y="860"/>
                <a:ext cx="966" cy="1391"/>
              </a:xfrm>
              <a:custGeom>
                <a:avLst/>
                <a:gdLst>
                  <a:gd name="T0" fmla="*/ 2209766 w 409"/>
                  <a:gd name="T1" fmla="*/ 317500 h 589"/>
                  <a:gd name="T2" fmla="*/ 1994559 w 409"/>
                  <a:gd name="T3" fmla="*/ 0 h 589"/>
                  <a:gd name="T4" fmla="*/ 0 w 409"/>
                  <a:gd name="T5" fmla="*/ 214575 h 589"/>
                  <a:gd name="T6" fmla="*/ 214901 w 409"/>
                  <a:gd name="T7" fmla="*/ 3178678 h 589"/>
                  <a:gd name="T8" fmla="*/ 2209766 w 409"/>
                  <a:gd name="T9" fmla="*/ 2963864 h 589"/>
                  <a:gd name="T10" fmla="*/ 2166022 w 409"/>
                  <a:gd name="T11" fmla="*/ 447739 h 589"/>
                  <a:gd name="T12" fmla="*/ 2122453 w 409"/>
                  <a:gd name="T13" fmla="*/ 2963864 h 589"/>
                  <a:gd name="T14" fmla="*/ 214901 w 409"/>
                  <a:gd name="T15" fmla="*/ 3091251 h 589"/>
                  <a:gd name="T16" fmla="*/ 87313 w 409"/>
                  <a:gd name="T17" fmla="*/ 214575 h 589"/>
                  <a:gd name="T18" fmla="*/ 1994559 w 409"/>
                  <a:gd name="T19" fmla="*/ 87291 h 589"/>
                  <a:gd name="T20" fmla="*/ 2122453 w 409"/>
                  <a:gd name="T21" fmla="*/ 317500 h 589"/>
                  <a:gd name="T22" fmla="*/ 794194 w 409"/>
                  <a:gd name="T23" fmla="*/ 1110646 h 589"/>
                  <a:gd name="T24" fmla="*/ 1447743 w 409"/>
                  <a:gd name="T25" fmla="*/ 1089498 h 589"/>
                  <a:gd name="T26" fmla="*/ 1138902 w 409"/>
                  <a:gd name="T27" fmla="*/ 431449 h 589"/>
                  <a:gd name="T28" fmla="*/ 1063065 w 409"/>
                  <a:gd name="T29" fmla="*/ 431449 h 589"/>
                  <a:gd name="T30" fmla="*/ 757174 w 409"/>
                  <a:gd name="T31" fmla="*/ 1089498 h 589"/>
                  <a:gd name="T32" fmla="*/ 1102093 w 409"/>
                  <a:gd name="T33" fmla="*/ 550675 h 589"/>
                  <a:gd name="T34" fmla="*/ 864620 w 409"/>
                  <a:gd name="T35" fmla="*/ 1025509 h 589"/>
                  <a:gd name="T36" fmla="*/ 487065 w 409"/>
                  <a:gd name="T37" fmla="*/ 1311935 h 589"/>
                  <a:gd name="T38" fmla="*/ 404600 w 409"/>
                  <a:gd name="T39" fmla="*/ 1391345 h 589"/>
                  <a:gd name="T40" fmla="*/ 431726 w 409"/>
                  <a:gd name="T41" fmla="*/ 1711811 h 589"/>
                  <a:gd name="T42" fmla="*/ 1102093 w 409"/>
                  <a:gd name="T43" fmla="*/ 1807736 h 589"/>
                  <a:gd name="T44" fmla="*/ 1721525 w 409"/>
                  <a:gd name="T45" fmla="*/ 1736780 h 589"/>
                  <a:gd name="T46" fmla="*/ 1805168 w 409"/>
                  <a:gd name="T47" fmla="*/ 1656473 h 589"/>
                  <a:gd name="T48" fmla="*/ 1772003 w 409"/>
                  <a:gd name="T49" fmla="*/ 1338964 h 589"/>
                  <a:gd name="T50" fmla="*/ 1102093 w 409"/>
                  <a:gd name="T51" fmla="*/ 1240614 h 589"/>
                  <a:gd name="T52" fmla="*/ 487065 w 409"/>
                  <a:gd name="T53" fmla="*/ 1311935 h 589"/>
                  <a:gd name="T54" fmla="*/ 1653967 w 409"/>
                  <a:gd name="T55" fmla="*/ 1672927 h 589"/>
                  <a:gd name="T56" fmla="*/ 646974 w 409"/>
                  <a:gd name="T57" fmla="*/ 1688348 h 589"/>
                  <a:gd name="T58" fmla="*/ 491980 w 409"/>
                  <a:gd name="T59" fmla="*/ 1645017 h 589"/>
                  <a:gd name="T60" fmla="*/ 528952 w 409"/>
                  <a:gd name="T61" fmla="*/ 1495150 h 589"/>
                  <a:gd name="T62" fmla="*/ 1578418 w 409"/>
                  <a:gd name="T63" fmla="*/ 1517109 h 589"/>
                  <a:gd name="T64" fmla="*/ 1717855 w 409"/>
                  <a:gd name="T65" fmla="*/ 1645017 h 589"/>
                  <a:gd name="T66" fmla="*/ 1689539 w 409"/>
                  <a:gd name="T67" fmla="*/ 1391345 h 589"/>
                  <a:gd name="T68" fmla="*/ 1653967 w 409"/>
                  <a:gd name="T69" fmla="*/ 1407905 h 589"/>
                  <a:gd name="T70" fmla="*/ 646974 w 409"/>
                  <a:gd name="T71" fmla="*/ 1429924 h 589"/>
                  <a:gd name="T72" fmla="*/ 507566 w 409"/>
                  <a:gd name="T73" fmla="*/ 1391345 h 589"/>
                  <a:gd name="T74" fmla="*/ 1102093 w 409"/>
                  <a:gd name="T75" fmla="*/ 1327519 h 589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409"/>
                  <a:gd name="T115" fmla="*/ 0 h 589"/>
                  <a:gd name="T116" fmla="*/ 409 w 409"/>
                  <a:gd name="T117" fmla="*/ 589 h 589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409" h="589">
                    <a:moveTo>
                      <a:pt x="401" y="67"/>
                    </a:moveTo>
                    <a:cubicBezTo>
                      <a:pt x="405" y="67"/>
                      <a:pt x="409" y="64"/>
                      <a:pt x="409" y="59"/>
                    </a:cubicBezTo>
                    <a:cubicBezTo>
                      <a:pt x="409" y="40"/>
                      <a:pt x="409" y="40"/>
                      <a:pt x="409" y="40"/>
                    </a:cubicBezTo>
                    <a:cubicBezTo>
                      <a:pt x="409" y="18"/>
                      <a:pt x="391" y="0"/>
                      <a:pt x="369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18" y="0"/>
                      <a:pt x="0" y="18"/>
                      <a:pt x="0" y="40"/>
                    </a:cubicBezTo>
                    <a:cubicBezTo>
                      <a:pt x="0" y="549"/>
                      <a:pt x="0" y="549"/>
                      <a:pt x="0" y="549"/>
                    </a:cubicBezTo>
                    <a:cubicBezTo>
                      <a:pt x="0" y="571"/>
                      <a:pt x="18" y="589"/>
                      <a:pt x="40" y="589"/>
                    </a:cubicBezTo>
                    <a:cubicBezTo>
                      <a:pt x="369" y="589"/>
                      <a:pt x="369" y="589"/>
                      <a:pt x="369" y="589"/>
                    </a:cubicBezTo>
                    <a:cubicBezTo>
                      <a:pt x="391" y="589"/>
                      <a:pt x="409" y="571"/>
                      <a:pt x="409" y="549"/>
                    </a:cubicBezTo>
                    <a:cubicBezTo>
                      <a:pt x="409" y="91"/>
                      <a:pt x="409" y="91"/>
                      <a:pt x="409" y="91"/>
                    </a:cubicBezTo>
                    <a:cubicBezTo>
                      <a:pt x="409" y="87"/>
                      <a:pt x="405" y="83"/>
                      <a:pt x="401" y="83"/>
                    </a:cubicBezTo>
                    <a:cubicBezTo>
                      <a:pt x="397" y="83"/>
                      <a:pt x="393" y="87"/>
                      <a:pt x="393" y="91"/>
                    </a:cubicBezTo>
                    <a:cubicBezTo>
                      <a:pt x="393" y="549"/>
                      <a:pt x="393" y="549"/>
                      <a:pt x="393" y="549"/>
                    </a:cubicBezTo>
                    <a:cubicBezTo>
                      <a:pt x="393" y="562"/>
                      <a:pt x="382" y="573"/>
                      <a:pt x="369" y="573"/>
                    </a:cubicBezTo>
                    <a:cubicBezTo>
                      <a:pt x="40" y="573"/>
                      <a:pt x="40" y="573"/>
                      <a:pt x="40" y="573"/>
                    </a:cubicBezTo>
                    <a:cubicBezTo>
                      <a:pt x="26" y="573"/>
                      <a:pt x="16" y="562"/>
                      <a:pt x="16" y="549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27"/>
                      <a:pt x="26" y="16"/>
                      <a:pt x="40" y="16"/>
                    </a:cubicBezTo>
                    <a:cubicBezTo>
                      <a:pt x="369" y="16"/>
                      <a:pt x="369" y="16"/>
                      <a:pt x="369" y="16"/>
                    </a:cubicBezTo>
                    <a:cubicBezTo>
                      <a:pt x="382" y="16"/>
                      <a:pt x="393" y="27"/>
                      <a:pt x="393" y="40"/>
                    </a:cubicBezTo>
                    <a:cubicBezTo>
                      <a:pt x="393" y="59"/>
                      <a:pt x="393" y="59"/>
                      <a:pt x="393" y="59"/>
                    </a:cubicBezTo>
                    <a:cubicBezTo>
                      <a:pt x="393" y="64"/>
                      <a:pt x="397" y="67"/>
                      <a:pt x="401" y="67"/>
                    </a:cubicBezTo>
                    <a:close/>
                    <a:moveTo>
                      <a:pt x="147" y="206"/>
                    </a:moveTo>
                    <a:cubicBezTo>
                      <a:pt x="261" y="206"/>
                      <a:pt x="261" y="206"/>
                      <a:pt x="261" y="206"/>
                    </a:cubicBezTo>
                    <a:cubicBezTo>
                      <a:pt x="264" y="206"/>
                      <a:pt x="266" y="204"/>
                      <a:pt x="268" y="202"/>
                    </a:cubicBezTo>
                    <a:cubicBezTo>
                      <a:pt x="269" y="200"/>
                      <a:pt x="269" y="197"/>
                      <a:pt x="268" y="194"/>
                    </a:cubicBezTo>
                    <a:cubicBezTo>
                      <a:pt x="211" y="80"/>
                      <a:pt x="211" y="80"/>
                      <a:pt x="211" y="80"/>
                    </a:cubicBezTo>
                    <a:cubicBezTo>
                      <a:pt x="210" y="78"/>
                      <a:pt x="207" y="76"/>
                      <a:pt x="204" y="76"/>
                    </a:cubicBezTo>
                    <a:cubicBezTo>
                      <a:pt x="201" y="76"/>
                      <a:pt x="198" y="78"/>
                      <a:pt x="197" y="80"/>
                    </a:cubicBezTo>
                    <a:cubicBezTo>
                      <a:pt x="140" y="194"/>
                      <a:pt x="140" y="194"/>
                      <a:pt x="140" y="194"/>
                    </a:cubicBezTo>
                    <a:cubicBezTo>
                      <a:pt x="139" y="197"/>
                      <a:pt x="139" y="200"/>
                      <a:pt x="140" y="202"/>
                    </a:cubicBezTo>
                    <a:cubicBezTo>
                      <a:pt x="142" y="204"/>
                      <a:pt x="144" y="206"/>
                      <a:pt x="147" y="206"/>
                    </a:cubicBezTo>
                    <a:close/>
                    <a:moveTo>
                      <a:pt x="204" y="102"/>
                    </a:moveTo>
                    <a:cubicBezTo>
                      <a:pt x="248" y="190"/>
                      <a:pt x="248" y="190"/>
                      <a:pt x="248" y="190"/>
                    </a:cubicBezTo>
                    <a:cubicBezTo>
                      <a:pt x="160" y="190"/>
                      <a:pt x="160" y="190"/>
                      <a:pt x="160" y="190"/>
                    </a:cubicBezTo>
                    <a:lnTo>
                      <a:pt x="204" y="102"/>
                    </a:lnTo>
                    <a:close/>
                    <a:moveTo>
                      <a:pt x="90" y="243"/>
                    </a:moveTo>
                    <a:cubicBezTo>
                      <a:pt x="86" y="244"/>
                      <a:pt x="83" y="246"/>
                      <a:pt x="80" y="248"/>
                    </a:cubicBezTo>
                    <a:cubicBezTo>
                      <a:pt x="78" y="250"/>
                      <a:pt x="75" y="254"/>
                      <a:pt x="75" y="258"/>
                    </a:cubicBezTo>
                    <a:cubicBezTo>
                      <a:pt x="75" y="307"/>
                      <a:pt x="75" y="307"/>
                      <a:pt x="75" y="307"/>
                    </a:cubicBezTo>
                    <a:cubicBezTo>
                      <a:pt x="75" y="311"/>
                      <a:pt x="78" y="315"/>
                      <a:pt x="80" y="317"/>
                    </a:cubicBezTo>
                    <a:cubicBezTo>
                      <a:pt x="85" y="321"/>
                      <a:pt x="91" y="323"/>
                      <a:pt x="98" y="325"/>
                    </a:cubicBezTo>
                    <a:cubicBezTo>
                      <a:pt x="121" y="331"/>
                      <a:pt x="160" y="335"/>
                      <a:pt x="204" y="335"/>
                    </a:cubicBezTo>
                    <a:cubicBezTo>
                      <a:pt x="238" y="335"/>
                      <a:pt x="269" y="333"/>
                      <a:pt x="292" y="329"/>
                    </a:cubicBezTo>
                    <a:cubicBezTo>
                      <a:pt x="303" y="327"/>
                      <a:pt x="312" y="325"/>
                      <a:pt x="319" y="322"/>
                    </a:cubicBezTo>
                    <a:cubicBezTo>
                      <a:pt x="323" y="321"/>
                      <a:pt x="326" y="319"/>
                      <a:pt x="328" y="317"/>
                    </a:cubicBezTo>
                    <a:cubicBezTo>
                      <a:pt x="331" y="315"/>
                      <a:pt x="334" y="311"/>
                      <a:pt x="334" y="307"/>
                    </a:cubicBezTo>
                    <a:cubicBezTo>
                      <a:pt x="334" y="258"/>
                      <a:pt x="334" y="258"/>
                      <a:pt x="334" y="258"/>
                    </a:cubicBezTo>
                    <a:cubicBezTo>
                      <a:pt x="334" y="254"/>
                      <a:pt x="331" y="250"/>
                      <a:pt x="328" y="248"/>
                    </a:cubicBezTo>
                    <a:cubicBezTo>
                      <a:pt x="324" y="244"/>
                      <a:pt x="318" y="242"/>
                      <a:pt x="310" y="240"/>
                    </a:cubicBezTo>
                    <a:cubicBezTo>
                      <a:pt x="288" y="234"/>
                      <a:pt x="249" y="230"/>
                      <a:pt x="204" y="230"/>
                    </a:cubicBezTo>
                    <a:cubicBezTo>
                      <a:pt x="171" y="230"/>
                      <a:pt x="140" y="232"/>
                      <a:pt x="117" y="236"/>
                    </a:cubicBezTo>
                    <a:cubicBezTo>
                      <a:pt x="106" y="238"/>
                      <a:pt x="97" y="240"/>
                      <a:pt x="90" y="243"/>
                    </a:cubicBezTo>
                    <a:close/>
                    <a:moveTo>
                      <a:pt x="318" y="305"/>
                    </a:moveTo>
                    <a:cubicBezTo>
                      <a:pt x="316" y="306"/>
                      <a:pt x="312" y="308"/>
                      <a:pt x="306" y="310"/>
                    </a:cubicBezTo>
                    <a:cubicBezTo>
                      <a:pt x="286" y="315"/>
                      <a:pt x="248" y="319"/>
                      <a:pt x="204" y="319"/>
                    </a:cubicBezTo>
                    <a:cubicBezTo>
                      <a:pt x="171" y="319"/>
                      <a:pt x="141" y="317"/>
                      <a:pt x="120" y="313"/>
                    </a:cubicBezTo>
                    <a:cubicBezTo>
                      <a:pt x="109" y="312"/>
                      <a:pt x="101" y="309"/>
                      <a:pt x="96" y="307"/>
                    </a:cubicBezTo>
                    <a:cubicBezTo>
                      <a:pt x="93" y="306"/>
                      <a:pt x="92" y="306"/>
                      <a:pt x="91" y="305"/>
                    </a:cubicBezTo>
                    <a:cubicBezTo>
                      <a:pt x="91" y="274"/>
                      <a:pt x="91" y="274"/>
                      <a:pt x="91" y="274"/>
                    </a:cubicBezTo>
                    <a:cubicBezTo>
                      <a:pt x="93" y="275"/>
                      <a:pt x="96" y="276"/>
                      <a:pt x="98" y="277"/>
                    </a:cubicBezTo>
                    <a:cubicBezTo>
                      <a:pt x="121" y="283"/>
                      <a:pt x="160" y="287"/>
                      <a:pt x="204" y="287"/>
                    </a:cubicBezTo>
                    <a:cubicBezTo>
                      <a:pt x="238" y="287"/>
                      <a:pt x="269" y="285"/>
                      <a:pt x="292" y="281"/>
                    </a:cubicBezTo>
                    <a:cubicBezTo>
                      <a:pt x="302" y="279"/>
                      <a:pt x="311" y="277"/>
                      <a:pt x="318" y="274"/>
                    </a:cubicBezTo>
                    <a:lnTo>
                      <a:pt x="318" y="305"/>
                    </a:lnTo>
                    <a:close/>
                    <a:moveTo>
                      <a:pt x="289" y="252"/>
                    </a:moveTo>
                    <a:cubicBezTo>
                      <a:pt x="299" y="253"/>
                      <a:pt x="308" y="256"/>
                      <a:pt x="313" y="258"/>
                    </a:cubicBezTo>
                    <a:cubicBezTo>
                      <a:pt x="314" y="258"/>
                      <a:pt x="314" y="258"/>
                      <a:pt x="315" y="258"/>
                    </a:cubicBezTo>
                    <a:cubicBezTo>
                      <a:pt x="313" y="259"/>
                      <a:pt x="310" y="260"/>
                      <a:pt x="306" y="261"/>
                    </a:cubicBezTo>
                    <a:cubicBezTo>
                      <a:pt x="286" y="267"/>
                      <a:pt x="248" y="271"/>
                      <a:pt x="204" y="271"/>
                    </a:cubicBezTo>
                    <a:cubicBezTo>
                      <a:pt x="171" y="271"/>
                      <a:pt x="141" y="269"/>
                      <a:pt x="120" y="265"/>
                    </a:cubicBezTo>
                    <a:cubicBezTo>
                      <a:pt x="109" y="263"/>
                      <a:pt x="101" y="261"/>
                      <a:pt x="96" y="259"/>
                    </a:cubicBezTo>
                    <a:cubicBezTo>
                      <a:pt x="95" y="259"/>
                      <a:pt x="95" y="259"/>
                      <a:pt x="94" y="258"/>
                    </a:cubicBezTo>
                    <a:cubicBezTo>
                      <a:pt x="96" y="257"/>
                      <a:pt x="99" y="256"/>
                      <a:pt x="103" y="255"/>
                    </a:cubicBezTo>
                    <a:cubicBezTo>
                      <a:pt x="122" y="250"/>
                      <a:pt x="161" y="246"/>
                      <a:pt x="204" y="246"/>
                    </a:cubicBezTo>
                    <a:cubicBezTo>
                      <a:pt x="238" y="246"/>
                      <a:pt x="268" y="248"/>
                      <a:pt x="289" y="252"/>
                    </a:cubicBezTo>
                    <a:close/>
                  </a:path>
                </a:pathLst>
              </a:custGeom>
              <a:solidFill>
                <a:srgbClr val="0028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lang="en-US"/>
              </a:p>
            </p:txBody>
          </p:sp>
          <p:sp>
            <p:nvSpPr>
              <p:cNvPr id="6323" name="Text Box 43"/>
              <p:cNvSpPr txBox="1">
                <a:spLocks noChangeAspect="1" noChangeArrowheads="1"/>
              </p:cNvSpPr>
              <p:nvPr/>
            </p:nvSpPr>
            <p:spPr bwMode="auto">
              <a:xfrm>
                <a:off x="263" y="1813"/>
                <a:ext cx="812" cy="3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>
                <a:spAutoFit/>
              </a:bodyPr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9pPr>
              </a:lstStyle>
              <a:p>
                <a:pPr algn="ctr" eaLnBrk="1" hangingPunct="1">
                  <a:lnSpc>
                    <a:spcPct val="80000"/>
                  </a:lnSpc>
                </a:pPr>
                <a:r>
                  <a:rPr lang="en-US" sz="1400">
                    <a:solidFill>
                      <a:srgbClr val="00285F"/>
                    </a:solidFill>
                  </a:rPr>
                  <a:t>OSS</a:t>
                </a:r>
                <a:endParaRPr lang="sv-SE" sz="1400">
                  <a:solidFill>
                    <a:srgbClr val="00285F"/>
                  </a:solidFill>
                </a:endParaRPr>
              </a:p>
            </p:txBody>
          </p:sp>
        </p:grpSp>
        <p:sp>
          <p:nvSpPr>
            <p:cNvPr id="153654" name="Rectangle 54"/>
            <p:cNvSpPr>
              <a:spLocks noChangeAspect="1" noChangeArrowheads="1"/>
            </p:cNvSpPr>
            <p:nvPr/>
          </p:nvSpPr>
          <p:spPr bwMode="auto">
            <a:xfrm>
              <a:off x="183" y="860"/>
              <a:ext cx="969" cy="13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rIns="0" anchor="ctr"/>
            <a:lstStyle/>
            <a:p>
              <a:pPr algn="ctr">
                <a:spcBef>
                  <a:spcPct val="50000"/>
                </a:spcBef>
                <a:defRPr/>
              </a:pPr>
              <a:endParaRPr lang="sv-SE" sz="1400">
                <a:ea typeface="ＭＳ Ｐゴシック" pitchFamily="34" charset="-128"/>
              </a:endParaRPr>
            </a:p>
          </p:txBody>
        </p:sp>
      </p:grpSp>
      <p:grpSp>
        <p:nvGrpSpPr>
          <p:cNvPr id="6174" name="Group 66"/>
          <p:cNvGrpSpPr>
            <a:grpSpLocks noChangeAspect="1"/>
          </p:cNvGrpSpPr>
          <p:nvPr/>
        </p:nvGrpSpPr>
        <p:grpSpPr bwMode="auto">
          <a:xfrm>
            <a:off x="1560527" y="2997200"/>
            <a:ext cx="504825" cy="719138"/>
            <a:chOff x="2362" y="860"/>
            <a:chExt cx="969" cy="1392"/>
          </a:xfrm>
        </p:grpSpPr>
        <p:grpSp>
          <p:nvGrpSpPr>
            <p:cNvPr id="6314" name="Group 55"/>
            <p:cNvGrpSpPr>
              <a:grpSpLocks noChangeAspect="1"/>
            </p:cNvGrpSpPr>
            <p:nvPr/>
          </p:nvGrpSpPr>
          <p:grpSpPr bwMode="auto">
            <a:xfrm>
              <a:off x="2365" y="860"/>
              <a:ext cx="966" cy="1391"/>
              <a:chOff x="2365" y="860"/>
              <a:chExt cx="966" cy="1391"/>
            </a:xfrm>
          </p:grpSpPr>
          <p:sp>
            <p:nvSpPr>
              <p:cNvPr id="6316" name="Freeform 20"/>
              <p:cNvSpPr>
                <a:spLocks noChangeAspect="1"/>
              </p:cNvSpPr>
              <p:nvPr/>
            </p:nvSpPr>
            <p:spPr bwMode="auto">
              <a:xfrm>
                <a:off x="2384" y="879"/>
                <a:ext cx="928" cy="1353"/>
              </a:xfrm>
              <a:custGeom>
                <a:avLst/>
                <a:gdLst>
                  <a:gd name="T0" fmla="*/ 2117824 w 393"/>
                  <a:gd name="T1" fmla="*/ 447302 h 573"/>
                  <a:gd name="T2" fmla="*/ 2117824 w 393"/>
                  <a:gd name="T3" fmla="*/ 2913590 h 573"/>
                  <a:gd name="T4" fmla="*/ 1944873 w 393"/>
                  <a:gd name="T5" fmla="*/ 3087423 h 573"/>
                  <a:gd name="T6" fmla="*/ 173175 w 393"/>
                  <a:gd name="T7" fmla="*/ 3087423 h 573"/>
                  <a:gd name="T8" fmla="*/ 0 w 393"/>
                  <a:gd name="T9" fmla="*/ 2913590 h 573"/>
                  <a:gd name="T10" fmla="*/ 0 w 393"/>
                  <a:gd name="T11" fmla="*/ 173149 h 573"/>
                  <a:gd name="T12" fmla="*/ 173175 w 393"/>
                  <a:gd name="T13" fmla="*/ 0 h 573"/>
                  <a:gd name="T14" fmla="*/ 1944873 w 393"/>
                  <a:gd name="T15" fmla="*/ 0 h 573"/>
                  <a:gd name="T16" fmla="*/ 2117824 w 393"/>
                  <a:gd name="T17" fmla="*/ 173149 h 573"/>
                  <a:gd name="T18" fmla="*/ 2117824 w 393"/>
                  <a:gd name="T19" fmla="*/ 273351 h 57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93"/>
                  <a:gd name="T31" fmla="*/ 0 h 573"/>
                  <a:gd name="T32" fmla="*/ 393 w 393"/>
                  <a:gd name="T33" fmla="*/ 573 h 57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93" h="573">
                    <a:moveTo>
                      <a:pt x="393" y="83"/>
                    </a:moveTo>
                    <a:cubicBezTo>
                      <a:pt x="393" y="541"/>
                      <a:pt x="393" y="541"/>
                      <a:pt x="393" y="541"/>
                    </a:cubicBezTo>
                    <a:cubicBezTo>
                      <a:pt x="393" y="559"/>
                      <a:pt x="379" y="573"/>
                      <a:pt x="361" y="573"/>
                    </a:cubicBezTo>
                    <a:cubicBezTo>
                      <a:pt x="32" y="573"/>
                      <a:pt x="32" y="573"/>
                      <a:pt x="32" y="573"/>
                    </a:cubicBezTo>
                    <a:cubicBezTo>
                      <a:pt x="14" y="573"/>
                      <a:pt x="0" y="559"/>
                      <a:pt x="0" y="541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361" y="0"/>
                      <a:pt x="361" y="0"/>
                      <a:pt x="361" y="0"/>
                    </a:cubicBezTo>
                    <a:cubicBezTo>
                      <a:pt x="379" y="0"/>
                      <a:pt x="393" y="14"/>
                      <a:pt x="393" y="32"/>
                    </a:cubicBezTo>
                    <a:cubicBezTo>
                      <a:pt x="393" y="51"/>
                      <a:pt x="393" y="51"/>
                      <a:pt x="393" y="5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lang="en-US"/>
              </a:p>
            </p:txBody>
          </p:sp>
          <p:sp>
            <p:nvSpPr>
              <p:cNvPr id="6317" name="Freeform 21"/>
              <p:cNvSpPr>
                <a:spLocks noChangeAspect="1" noEditPoints="1"/>
              </p:cNvSpPr>
              <p:nvPr/>
            </p:nvSpPr>
            <p:spPr bwMode="auto">
              <a:xfrm>
                <a:off x="2365" y="860"/>
                <a:ext cx="966" cy="1391"/>
              </a:xfrm>
              <a:custGeom>
                <a:avLst/>
                <a:gdLst>
                  <a:gd name="T0" fmla="*/ 2209766 w 409"/>
                  <a:gd name="T1" fmla="*/ 317500 h 589"/>
                  <a:gd name="T2" fmla="*/ 1994559 w 409"/>
                  <a:gd name="T3" fmla="*/ 0 h 589"/>
                  <a:gd name="T4" fmla="*/ 0 w 409"/>
                  <a:gd name="T5" fmla="*/ 214575 h 589"/>
                  <a:gd name="T6" fmla="*/ 214901 w 409"/>
                  <a:gd name="T7" fmla="*/ 3178678 h 589"/>
                  <a:gd name="T8" fmla="*/ 2209766 w 409"/>
                  <a:gd name="T9" fmla="*/ 2963864 h 589"/>
                  <a:gd name="T10" fmla="*/ 2166022 w 409"/>
                  <a:gd name="T11" fmla="*/ 447739 h 589"/>
                  <a:gd name="T12" fmla="*/ 2122453 w 409"/>
                  <a:gd name="T13" fmla="*/ 2963864 h 589"/>
                  <a:gd name="T14" fmla="*/ 214901 w 409"/>
                  <a:gd name="T15" fmla="*/ 3091251 h 589"/>
                  <a:gd name="T16" fmla="*/ 87313 w 409"/>
                  <a:gd name="T17" fmla="*/ 214575 h 589"/>
                  <a:gd name="T18" fmla="*/ 1994559 w 409"/>
                  <a:gd name="T19" fmla="*/ 87291 h 589"/>
                  <a:gd name="T20" fmla="*/ 2122453 w 409"/>
                  <a:gd name="T21" fmla="*/ 317500 h 589"/>
                  <a:gd name="T22" fmla="*/ 794194 w 409"/>
                  <a:gd name="T23" fmla="*/ 1110646 h 589"/>
                  <a:gd name="T24" fmla="*/ 1447743 w 409"/>
                  <a:gd name="T25" fmla="*/ 1089498 h 589"/>
                  <a:gd name="T26" fmla="*/ 1138902 w 409"/>
                  <a:gd name="T27" fmla="*/ 431449 h 589"/>
                  <a:gd name="T28" fmla="*/ 1063065 w 409"/>
                  <a:gd name="T29" fmla="*/ 431449 h 589"/>
                  <a:gd name="T30" fmla="*/ 757174 w 409"/>
                  <a:gd name="T31" fmla="*/ 1089498 h 589"/>
                  <a:gd name="T32" fmla="*/ 1102093 w 409"/>
                  <a:gd name="T33" fmla="*/ 550675 h 589"/>
                  <a:gd name="T34" fmla="*/ 864620 w 409"/>
                  <a:gd name="T35" fmla="*/ 1025509 h 589"/>
                  <a:gd name="T36" fmla="*/ 487065 w 409"/>
                  <a:gd name="T37" fmla="*/ 1311935 h 589"/>
                  <a:gd name="T38" fmla="*/ 404600 w 409"/>
                  <a:gd name="T39" fmla="*/ 1391345 h 589"/>
                  <a:gd name="T40" fmla="*/ 431726 w 409"/>
                  <a:gd name="T41" fmla="*/ 1711811 h 589"/>
                  <a:gd name="T42" fmla="*/ 1102093 w 409"/>
                  <a:gd name="T43" fmla="*/ 1807736 h 589"/>
                  <a:gd name="T44" fmla="*/ 1721525 w 409"/>
                  <a:gd name="T45" fmla="*/ 1736780 h 589"/>
                  <a:gd name="T46" fmla="*/ 1805168 w 409"/>
                  <a:gd name="T47" fmla="*/ 1656473 h 589"/>
                  <a:gd name="T48" fmla="*/ 1772003 w 409"/>
                  <a:gd name="T49" fmla="*/ 1338964 h 589"/>
                  <a:gd name="T50" fmla="*/ 1102093 w 409"/>
                  <a:gd name="T51" fmla="*/ 1240614 h 589"/>
                  <a:gd name="T52" fmla="*/ 487065 w 409"/>
                  <a:gd name="T53" fmla="*/ 1311935 h 589"/>
                  <a:gd name="T54" fmla="*/ 1653967 w 409"/>
                  <a:gd name="T55" fmla="*/ 1672927 h 589"/>
                  <a:gd name="T56" fmla="*/ 646974 w 409"/>
                  <a:gd name="T57" fmla="*/ 1688348 h 589"/>
                  <a:gd name="T58" fmla="*/ 491980 w 409"/>
                  <a:gd name="T59" fmla="*/ 1645017 h 589"/>
                  <a:gd name="T60" fmla="*/ 528952 w 409"/>
                  <a:gd name="T61" fmla="*/ 1495150 h 589"/>
                  <a:gd name="T62" fmla="*/ 1578418 w 409"/>
                  <a:gd name="T63" fmla="*/ 1517109 h 589"/>
                  <a:gd name="T64" fmla="*/ 1717855 w 409"/>
                  <a:gd name="T65" fmla="*/ 1645017 h 589"/>
                  <a:gd name="T66" fmla="*/ 1689539 w 409"/>
                  <a:gd name="T67" fmla="*/ 1391345 h 589"/>
                  <a:gd name="T68" fmla="*/ 1653967 w 409"/>
                  <a:gd name="T69" fmla="*/ 1407905 h 589"/>
                  <a:gd name="T70" fmla="*/ 646974 w 409"/>
                  <a:gd name="T71" fmla="*/ 1429924 h 589"/>
                  <a:gd name="T72" fmla="*/ 507566 w 409"/>
                  <a:gd name="T73" fmla="*/ 1391345 h 589"/>
                  <a:gd name="T74" fmla="*/ 1102093 w 409"/>
                  <a:gd name="T75" fmla="*/ 1327519 h 589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409"/>
                  <a:gd name="T115" fmla="*/ 0 h 589"/>
                  <a:gd name="T116" fmla="*/ 409 w 409"/>
                  <a:gd name="T117" fmla="*/ 589 h 589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409" h="589">
                    <a:moveTo>
                      <a:pt x="401" y="67"/>
                    </a:moveTo>
                    <a:cubicBezTo>
                      <a:pt x="405" y="67"/>
                      <a:pt x="409" y="64"/>
                      <a:pt x="409" y="59"/>
                    </a:cubicBezTo>
                    <a:cubicBezTo>
                      <a:pt x="409" y="40"/>
                      <a:pt x="409" y="40"/>
                      <a:pt x="409" y="40"/>
                    </a:cubicBezTo>
                    <a:cubicBezTo>
                      <a:pt x="409" y="18"/>
                      <a:pt x="391" y="0"/>
                      <a:pt x="369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18" y="0"/>
                      <a:pt x="0" y="18"/>
                      <a:pt x="0" y="40"/>
                    </a:cubicBezTo>
                    <a:cubicBezTo>
                      <a:pt x="0" y="549"/>
                      <a:pt x="0" y="549"/>
                      <a:pt x="0" y="549"/>
                    </a:cubicBezTo>
                    <a:cubicBezTo>
                      <a:pt x="0" y="571"/>
                      <a:pt x="18" y="589"/>
                      <a:pt x="40" y="589"/>
                    </a:cubicBezTo>
                    <a:cubicBezTo>
                      <a:pt x="369" y="589"/>
                      <a:pt x="369" y="589"/>
                      <a:pt x="369" y="589"/>
                    </a:cubicBezTo>
                    <a:cubicBezTo>
                      <a:pt x="391" y="589"/>
                      <a:pt x="409" y="571"/>
                      <a:pt x="409" y="549"/>
                    </a:cubicBezTo>
                    <a:cubicBezTo>
                      <a:pt x="409" y="91"/>
                      <a:pt x="409" y="91"/>
                      <a:pt x="409" y="91"/>
                    </a:cubicBezTo>
                    <a:cubicBezTo>
                      <a:pt x="409" y="87"/>
                      <a:pt x="405" y="83"/>
                      <a:pt x="401" y="83"/>
                    </a:cubicBezTo>
                    <a:cubicBezTo>
                      <a:pt x="397" y="83"/>
                      <a:pt x="393" y="87"/>
                      <a:pt x="393" y="91"/>
                    </a:cubicBezTo>
                    <a:cubicBezTo>
                      <a:pt x="393" y="549"/>
                      <a:pt x="393" y="549"/>
                      <a:pt x="393" y="549"/>
                    </a:cubicBezTo>
                    <a:cubicBezTo>
                      <a:pt x="393" y="562"/>
                      <a:pt x="382" y="573"/>
                      <a:pt x="369" y="573"/>
                    </a:cubicBezTo>
                    <a:cubicBezTo>
                      <a:pt x="40" y="573"/>
                      <a:pt x="40" y="573"/>
                      <a:pt x="40" y="573"/>
                    </a:cubicBezTo>
                    <a:cubicBezTo>
                      <a:pt x="26" y="573"/>
                      <a:pt x="16" y="562"/>
                      <a:pt x="16" y="549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27"/>
                      <a:pt x="26" y="16"/>
                      <a:pt x="40" y="16"/>
                    </a:cubicBezTo>
                    <a:cubicBezTo>
                      <a:pt x="369" y="16"/>
                      <a:pt x="369" y="16"/>
                      <a:pt x="369" y="16"/>
                    </a:cubicBezTo>
                    <a:cubicBezTo>
                      <a:pt x="382" y="16"/>
                      <a:pt x="393" y="27"/>
                      <a:pt x="393" y="40"/>
                    </a:cubicBezTo>
                    <a:cubicBezTo>
                      <a:pt x="393" y="59"/>
                      <a:pt x="393" y="59"/>
                      <a:pt x="393" y="59"/>
                    </a:cubicBezTo>
                    <a:cubicBezTo>
                      <a:pt x="393" y="64"/>
                      <a:pt x="397" y="67"/>
                      <a:pt x="401" y="67"/>
                    </a:cubicBezTo>
                    <a:close/>
                    <a:moveTo>
                      <a:pt x="147" y="206"/>
                    </a:moveTo>
                    <a:cubicBezTo>
                      <a:pt x="261" y="206"/>
                      <a:pt x="261" y="206"/>
                      <a:pt x="261" y="206"/>
                    </a:cubicBezTo>
                    <a:cubicBezTo>
                      <a:pt x="264" y="206"/>
                      <a:pt x="266" y="204"/>
                      <a:pt x="268" y="202"/>
                    </a:cubicBezTo>
                    <a:cubicBezTo>
                      <a:pt x="269" y="200"/>
                      <a:pt x="269" y="197"/>
                      <a:pt x="268" y="194"/>
                    </a:cubicBezTo>
                    <a:cubicBezTo>
                      <a:pt x="211" y="80"/>
                      <a:pt x="211" y="80"/>
                      <a:pt x="211" y="80"/>
                    </a:cubicBezTo>
                    <a:cubicBezTo>
                      <a:pt x="210" y="78"/>
                      <a:pt x="207" y="76"/>
                      <a:pt x="204" y="76"/>
                    </a:cubicBezTo>
                    <a:cubicBezTo>
                      <a:pt x="201" y="76"/>
                      <a:pt x="198" y="78"/>
                      <a:pt x="197" y="80"/>
                    </a:cubicBezTo>
                    <a:cubicBezTo>
                      <a:pt x="140" y="194"/>
                      <a:pt x="140" y="194"/>
                      <a:pt x="140" y="194"/>
                    </a:cubicBezTo>
                    <a:cubicBezTo>
                      <a:pt x="139" y="197"/>
                      <a:pt x="139" y="200"/>
                      <a:pt x="140" y="202"/>
                    </a:cubicBezTo>
                    <a:cubicBezTo>
                      <a:pt x="142" y="204"/>
                      <a:pt x="144" y="206"/>
                      <a:pt x="147" y="206"/>
                    </a:cubicBezTo>
                    <a:close/>
                    <a:moveTo>
                      <a:pt x="204" y="102"/>
                    </a:moveTo>
                    <a:cubicBezTo>
                      <a:pt x="248" y="190"/>
                      <a:pt x="248" y="190"/>
                      <a:pt x="248" y="190"/>
                    </a:cubicBezTo>
                    <a:cubicBezTo>
                      <a:pt x="160" y="190"/>
                      <a:pt x="160" y="190"/>
                      <a:pt x="160" y="190"/>
                    </a:cubicBezTo>
                    <a:lnTo>
                      <a:pt x="204" y="102"/>
                    </a:lnTo>
                    <a:close/>
                    <a:moveTo>
                      <a:pt x="90" y="243"/>
                    </a:moveTo>
                    <a:cubicBezTo>
                      <a:pt x="86" y="244"/>
                      <a:pt x="83" y="246"/>
                      <a:pt x="80" y="248"/>
                    </a:cubicBezTo>
                    <a:cubicBezTo>
                      <a:pt x="78" y="250"/>
                      <a:pt x="75" y="254"/>
                      <a:pt x="75" y="258"/>
                    </a:cubicBezTo>
                    <a:cubicBezTo>
                      <a:pt x="75" y="307"/>
                      <a:pt x="75" y="307"/>
                      <a:pt x="75" y="307"/>
                    </a:cubicBezTo>
                    <a:cubicBezTo>
                      <a:pt x="75" y="311"/>
                      <a:pt x="78" y="315"/>
                      <a:pt x="80" y="317"/>
                    </a:cubicBezTo>
                    <a:cubicBezTo>
                      <a:pt x="85" y="321"/>
                      <a:pt x="91" y="323"/>
                      <a:pt x="98" y="325"/>
                    </a:cubicBezTo>
                    <a:cubicBezTo>
                      <a:pt x="121" y="331"/>
                      <a:pt x="160" y="335"/>
                      <a:pt x="204" y="335"/>
                    </a:cubicBezTo>
                    <a:cubicBezTo>
                      <a:pt x="238" y="335"/>
                      <a:pt x="269" y="333"/>
                      <a:pt x="292" y="329"/>
                    </a:cubicBezTo>
                    <a:cubicBezTo>
                      <a:pt x="303" y="327"/>
                      <a:pt x="312" y="325"/>
                      <a:pt x="319" y="322"/>
                    </a:cubicBezTo>
                    <a:cubicBezTo>
                      <a:pt x="323" y="321"/>
                      <a:pt x="326" y="319"/>
                      <a:pt x="328" y="317"/>
                    </a:cubicBezTo>
                    <a:cubicBezTo>
                      <a:pt x="331" y="315"/>
                      <a:pt x="334" y="311"/>
                      <a:pt x="334" y="307"/>
                    </a:cubicBezTo>
                    <a:cubicBezTo>
                      <a:pt x="334" y="258"/>
                      <a:pt x="334" y="258"/>
                      <a:pt x="334" y="258"/>
                    </a:cubicBezTo>
                    <a:cubicBezTo>
                      <a:pt x="334" y="254"/>
                      <a:pt x="331" y="250"/>
                      <a:pt x="328" y="248"/>
                    </a:cubicBezTo>
                    <a:cubicBezTo>
                      <a:pt x="324" y="244"/>
                      <a:pt x="318" y="242"/>
                      <a:pt x="310" y="240"/>
                    </a:cubicBezTo>
                    <a:cubicBezTo>
                      <a:pt x="288" y="234"/>
                      <a:pt x="249" y="230"/>
                      <a:pt x="204" y="230"/>
                    </a:cubicBezTo>
                    <a:cubicBezTo>
                      <a:pt x="171" y="230"/>
                      <a:pt x="140" y="232"/>
                      <a:pt x="117" y="236"/>
                    </a:cubicBezTo>
                    <a:cubicBezTo>
                      <a:pt x="106" y="238"/>
                      <a:pt x="97" y="240"/>
                      <a:pt x="90" y="243"/>
                    </a:cubicBezTo>
                    <a:close/>
                    <a:moveTo>
                      <a:pt x="318" y="305"/>
                    </a:moveTo>
                    <a:cubicBezTo>
                      <a:pt x="316" y="306"/>
                      <a:pt x="312" y="308"/>
                      <a:pt x="306" y="310"/>
                    </a:cubicBezTo>
                    <a:cubicBezTo>
                      <a:pt x="286" y="315"/>
                      <a:pt x="248" y="319"/>
                      <a:pt x="204" y="319"/>
                    </a:cubicBezTo>
                    <a:cubicBezTo>
                      <a:pt x="171" y="319"/>
                      <a:pt x="141" y="317"/>
                      <a:pt x="120" y="313"/>
                    </a:cubicBezTo>
                    <a:cubicBezTo>
                      <a:pt x="109" y="312"/>
                      <a:pt x="101" y="309"/>
                      <a:pt x="96" y="307"/>
                    </a:cubicBezTo>
                    <a:cubicBezTo>
                      <a:pt x="93" y="306"/>
                      <a:pt x="92" y="306"/>
                      <a:pt x="91" y="305"/>
                    </a:cubicBezTo>
                    <a:cubicBezTo>
                      <a:pt x="91" y="274"/>
                      <a:pt x="91" y="274"/>
                      <a:pt x="91" y="274"/>
                    </a:cubicBezTo>
                    <a:cubicBezTo>
                      <a:pt x="93" y="275"/>
                      <a:pt x="96" y="276"/>
                      <a:pt x="98" y="277"/>
                    </a:cubicBezTo>
                    <a:cubicBezTo>
                      <a:pt x="121" y="283"/>
                      <a:pt x="160" y="287"/>
                      <a:pt x="204" y="287"/>
                    </a:cubicBezTo>
                    <a:cubicBezTo>
                      <a:pt x="238" y="287"/>
                      <a:pt x="269" y="285"/>
                      <a:pt x="292" y="281"/>
                    </a:cubicBezTo>
                    <a:cubicBezTo>
                      <a:pt x="302" y="279"/>
                      <a:pt x="311" y="277"/>
                      <a:pt x="318" y="274"/>
                    </a:cubicBezTo>
                    <a:lnTo>
                      <a:pt x="318" y="305"/>
                    </a:lnTo>
                    <a:close/>
                    <a:moveTo>
                      <a:pt x="289" y="252"/>
                    </a:moveTo>
                    <a:cubicBezTo>
                      <a:pt x="299" y="253"/>
                      <a:pt x="308" y="256"/>
                      <a:pt x="313" y="258"/>
                    </a:cubicBezTo>
                    <a:cubicBezTo>
                      <a:pt x="314" y="258"/>
                      <a:pt x="314" y="258"/>
                      <a:pt x="315" y="258"/>
                    </a:cubicBezTo>
                    <a:cubicBezTo>
                      <a:pt x="313" y="259"/>
                      <a:pt x="310" y="260"/>
                      <a:pt x="306" y="261"/>
                    </a:cubicBezTo>
                    <a:cubicBezTo>
                      <a:pt x="286" y="267"/>
                      <a:pt x="248" y="271"/>
                      <a:pt x="204" y="271"/>
                    </a:cubicBezTo>
                    <a:cubicBezTo>
                      <a:pt x="171" y="271"/>
                      <a:pt x="141" y="269"/>
                      <a:pt x="120" y="265"/>
                    </a:cubicBezTo>
                    <a:cubicBezTo>
                      <a:pt x="109" y="263"/>
                      <a:pt x="101" y="261"/>
                      <a:pt x="96" y="259"/>
                    </a:cubicBezTo>
                    <a:cubicBezTo>
                      <a:pt x="95" y="259"/>
                      <a:pt x="95" y="259"/>
                      <a:pt x="94" y="258"/>
                    </a:cubicBezTo>
                    <a:cubicBezTo>
                      <a:pt x="96" y="257"/>
                      <a:pt x="99" y="256"/>
                      <a:pt x="103" y="255"/>
                    </a:cubicBezTo>
                    <a:cubicBezTo>
                      <a:pt x="122" y="250"/>
                      <a:pt x="161" y="246"/>
                      <a:pt x="204" y="246"/>
                    </a:cubicBezTo>
                    <a:cubicBezTo>
                      <a:pt x="238" y="246"/>
                      <a:pt x="268" y="248"/>
                      <a:pt x="289" y="252"/>
                    </a:cubicBezTo>
                    <a:close/>
                  </a:path>
                </a:pathLst>
              </a:custGeom>
              <a:solidFill>
                <a:srgbClr val="E3211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lang="en-US"/>
              </a:p>
            </p:txBody>
          </p:sp>
          <p:sp>
            <p:nvSpPr>
              <p:cNvPr id="6318" name="Text Box 47"/>
              <p:cNvSpPr txBox="1">
                <a:spLocks noChangeAspect="1" noChangeArrowheads="1"/>
              </p:cNvSpPr>
              <p:nvPr/>
            </p:nvSpPr>
            <p:spPr bwMode="auto">
              <a:xfrm>
                <a:off x="2443" y="1816"/>
                <a:ext cx="810" cy="3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>
                <a:spAutoFit/>
              </a:bodyPr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9pPr>
              </a:lstStyle>
              <a:p>
                <a:pPr algn="ctr" eaLnBrk="1" hangingPunct="1">
                  <a:lnSpc>
                    <a:spcPct val="80000"/>
                  </a:lnSpc>
                </a:pPr>
                <a:r>
                  <a:rPr lang="en-US" sz="1400">
                    <a:solidFill>
                      <a:srgbClr val="E32119"/>
                    </a:solidFill>
                  </a:rPr>
                  <a:t>BSS</a:t>
                </a:r>
                <a:endParaRPr lang="sv-SE" sz="1400">
                  <a:solidFill>
                    <a:srgbClr val="E32119"/>
                  </a:solidFill>
                </a:endParaRPr>
              </a:p>
            </p:txBody>
          </p:sp>
        </p:grpSp>
        <p:sp>
          <p:nvSpPr>
            <p:cNvPr id="153656" name="Rectangle 56"/>
            <p:cNvSpPr>
              <a:spLocks noChangeAspect="1" noChangeArrowheads="1"/>
            </p:cNvSpPr>
            <p:nvPr/>
          </p:nvSpPr>
          <p:spPr bwMode="auto">
            <a:xfrm>
              <a:off x="2362" y="860"/>
              <a:ext cx="969" cy="13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rIns="0" anchor="ctr"/>
            <a:lstStyle/>
            <a:p>
              <a:pPr algn="ctr">
                <a:spcBef>
                  <a:spcPct val="50000"/>
                </a:spcBef>
                <a:defRPr/>
              </a:pPr>
              <a:endParaRPr lang="sv-SE" sz="1400">
                <a:ea typeface="ＭＳ Ｐゴシック" pitchFamily="34" charset="-128"/>
              </a:endParaRPr>
            </a:p>
          </p:txBody>
        </p:sp>
      </p:grpSp>
      <p:grpSp>
        <p:nvGrpSpPr>
          <p:cNvPr id="6175" name="Group 73"/>
          <p:cNvGrpSpPr>
            <a:grpSpLocks noChangeAspect="1"/>
          </p:cNvGrpSpPr>
          <p:nvPr/>
        </p:nvGrpSpPr>
        <p:grpSpPr bwMode="auto">
          <a:xfrm>
            <a:off x="2136798" y="2997218"/>
            <a:ext cx="503239" cy="719138"/>
            <a:chOff x="183" y="2478"/>
            <a:chExt cx="969" cy="1392"/>
          </a:xfrm>
        </p:grpSpPr>
        <p:grpSp>
          <p:nvGrpSpPr>
            <p:cNvPr id="6309" name="Group 62"/>
            <p:cNvGrpSpPr>
              <a:grpSpLocks noChangeAspect="1"/>
            </p:cNvGrpSpPr>
            <p:nvPr/>
          </p:nvGrpSpPr>
          <p:grpSpPr bwMode="auto">
            <a:xfrm>
              <a:off x="186" y="2478"/>
              <a:ext cx="966" cy="1391"/>
              <a:chOff x="186" y="2478"/>
              <a:chExt cx="966" cy="1391"/>
            </a:xfrm>
          </p:grpSpPr>
          <p:sp>
            <p:nvSpPr>
              <p:cNvPr id="6311" name="Freeform 8"/>
              <p:cNvSpPr>
                <a:spLocks noChangeAspect="1"/>
              </p:cNvSpPr>
              <p:nvPr/>
            </p:nvSpPr>
            <p:spPr bwMode="auto">
              <a:xfrm>
                <a:off x="205" y="2497"/>
                <a:ext cx="928" cy="1353"/>
              </a:xfrm>
              <a:custGeom>
                <a:avLst/>
                <a:gdLst>
                  <a:gd name="T0" fmla="*/ 2117824 w 393"/>
                  <a:gd name="T1" fmla="*/ 447302 h 573"/>
                  <a:gd name="T2" fmla="*/ 2117824 w 393"/>
                  <a:gd name="T3" fmla="*/ 2913590 h 573"/>
                  <a:gd name="T4" fmla="*/ 1944873 w 393"/>
                  <a:gd name="T5" fmla="*/ 3087423 h 573"/>
                  <a:gd name="T6" fmla="*/ 173175 w 393"/>
                  <a:gd name="T7" fmla="*/ 3087423 h 573"/>
                  <a:gd name="T8" fmla="*/ 0 w 393"/>
                  <a:gd name="T9" fmla="*/ 2913590 h 573"/>
                  <a:gd name="T10" fmla="*/ 0 w 393"/>
                  <a:gd name="T11" fmla="*/ 173149 h 573"/>
                  <a:gd name="T12" fmla="*/ 173175 w 393"/>
                  <a:gd name="T13" fmla="*/ 0 h 573"/>
                  <a:gd name="T14" fmla="*/ 1944873 w 393"/>
                  <a:gd name="T15" fmla="*/ 0 h 573"/>
                  <a:gd name="T16" fmla="*/ 2117824 w 393"/>
                  <a:gd name="T17" fmla="*/ 173149 h 573"/>
                  <a:gd name="T18" fmla="*/ 2117824 w 393"/>
                  <a:gd name="T19" fmla="*/ 273351 h 57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93"/>
                  <a:gd name="T31" fmla="*/ 0 h 573"/>
                  <a:gd name="T32" fmla="*/ 393 w 393"/>
                  <a:gd name="T33" fmla="*/ 573 h 57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93" h="573">
                    <a:moveTo>
                      <a:pt x="393" y="83"/>
                    </a:moveTo>
                    <a:cubicBezTo>
                      <a:pt x="393" y="541"/>
                      <a:pt x="393" y="541"/>
                      <a:pt x="393" y="541"/>
                    </a:cubicBezTo>
                    <a:cubicBezTo>
                      <a:pt x="393" y="559"/>
                      <a:pt x="379" y="573"/>
                      <a:pt x="361" y="573"/>
                    </a:cubicBezTo>
                    <a:cubicBezTo>
                      <a:pt x="32" y="573"/>
                      <a:pt x="32" y="573"/>
                      <a:pt x="32" y="573"/>
                    </a:cubicBezTo>
                    <a:cubicBezTo>
                      <a:pt x="14" y="573"/>
                      <a:pt x="0" y="559"/>
                      <a:pt x="0" y="541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361" y="0"/>
                      <a:pt x="361" y="0"/>
                      <a:pt x="361" y="0"/>
                    </a:cubicBezTo>
                    <a:cubicBezTo>
                      <a:pt x="379" y="0"/>
                      <a:pt x="393" y="14"/>
                      <a:pt x="393" y="32"/>
                    </a:cubicBezTo>
                    <a:cubicBezTo>
                      <a:pt x="393" y="51"/>
                      <a:pt x="393" y="51"/>
                      <a:pt x="393" y="5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lang="en-US"/>
              </a:p>
            </p:txBody>
          </p:sp>
          <p:sp>
            <p:nvSpPr>
              <p:cNvPr id="6312" name="Freeform 9"/>
              <p:cNvSpPr>
                <a:spLocks noChangeAspect="1" noEditPoints="1"/>
              </p:cNvSpPr>
              <p:nvPr/>
            </p:nvSpPr>
            <p:spPr bwMode="auto">
              <a:xfrm>
                <a:off x="186" y="2478"/>
                <a:ext cx="966" cy="1391"/>
              </a:xfrm>
              <a:custGeom>
                <a:avLst/>
                <a:gdLst>
                  <a:gd name="T0" fmla="*/ 2209766 w 409"/>
                  <a:gd name="T1" fmla="*/ 317500 h 589"/>
                  <a:gd name="T2" fmla="*/ 1994559 w 409"/>
                  <a:gd name="T3" fmla="*/ 0 h 589"/>
                  <a:gd name="T4" fmla="*/ 0 w 409"/>
                  <a:gd name="T5" fmla="*/ 214575 h 589"/>
                  <a:gd name="T6" fmla="*/ 214901 w 409"/>
                  <a:gd name="T7" fmla="*/ 3178678 h 589"/>
                  <a:gd name="T8" fmla="*/ 2209766 w 409"/>
                  <a:gd name="T9" fmla="*/ 2963864 h 589"/>
                  <a:gd name="T10" fmla="*/ 2166022 w 409"/>
                  <a:gd name="T11" fmla="*/ 447739 h 589"/>
                  <a:gd name="T12" fmla="*/ 2122453 w 409"/>
                  <a:gd name="T13" fmla="*/ 2963864 h 589"/>
                  <a:gd name="T14" fmla="*/ 214901 w 409"/>
                  <a:gd name="T15" fmla="*/ 3091251 h 589"/>
                  <a:gd name="T16" fmla="*/ 87313 w 409"/>
                  <a:gd name="T17" fmla="*/ 214575 h 589"/>
                  <a:gd name="T18" fmla="*/ 1994559 w 409"/>
                  <a:gd name="T19" fmla="*/ 87291 h 589"/>
                  <a:gd name="T20" fmla="*/ 2122453 w 409"/>
                  <a:gd name="T21" fmla="*/ 317500 h 589"/>
                  <a:gd name="T22" fmla="*/ 794194 w 409"/>
                  <a:gd name="T23" fmla="*/ 1110646 h 589"/>
                  <a:gd name="T24" fmla="*/ 1447743 w 409"/>
                  <a:gd name="T25" fmla="*/ 1089498 h 589"/>
                  <a:gd name="T26" fmla="*/ 1138902 w 409"/>
                  <a:gd name="T27" fmla="*/ 431449 h 589"/>
                  <a:gd name="T28" fmla="*/ 1063065 w 409"/>
                  <a:gd name="T29" fmla="*/ 431449 h 589"/>
                  <a:gd name="T30" fmla="*/ 757174 w 409"/>
                  <a:gd name="T31" fmla="*/ 1089498 h 589"/>
                  <a:gd name="T32" fmla="*/ 1102093 w 409"/>
                  <a:gd name="T33" fmla="*/ 550675 h 589"/>
                  <a:gd name="T34" fmla="*/ 864620 w 409"/>
                  <a:gd name="T35" fmla="*/ 1025509 h 589"/>
                  <a:gd name="T36" fmla="*/ 487065 w 409"/>
                  <a:gd name="T37" fmla="*/ 1311935 h 589"/>
                  <a:gd name="T38" fmla="*/ 404600 w 409"/>
                  <a:gd name="T39" fmla="*/ 1391345 h 589"/>
                  <a:gd name="T40" fmla="*/ 431726 w 409"/>
                  <a:gd name="T41" fmla="*/ 1711811 h 589"/>
                  <a:gd name="T42" fmla="*/ 1102093 w 409"/>
                  <a:gd name="T43" fmla="*/ 1807736 h 589"/>
                  <a:gd name="T44" fmla="*/ 1721525 w 409"/>
                  <a:gd name="T45" fmla="*/ 1736780 h 589"/>
                  <a:gd name="T46" fmla="*/ 1805168 w 409"/>
                  <a:gd name="T47" fmla="*/ 1656473 h 589"/>
                  <a:gd name="T48" fmla="*/ 1772003 w 409"/>
                  <a:gd name="T49" fmla="*/ 1338964 h 589"/>
                  <a:gd name="T50" fmla="*/ 1102093 w 409"/>
                  <a:gd name="T51" fmla="*/ 1240614 h 589"/>
                  <a:gd name="T52" fmla="*/ 487065 w 409"/>
                  <a:gd name="T53" fmla="*/ 1311935 h 589"/>
                  <a:gd name="T54" fmla="*/ 1653967 w 409"/>
                  <a:gd name="T55" fmla="*/ 1672927 h 589"/>
                  <a:gd name="T56" fmla="*/ 646974 w 409"/>
                  <a:gd name="T57" fmla="*/ 1688348 h 589"/>
                  <a:gd name="T58" fmla="*/ 491980 w 409"/>
                  <a:gd name="T59" fmla="*/ 1645017 h 589"/>
                  <a:gd name="T60" fmla="*/ 528952 w 409"/>
                  <a:gd name="T61" fmla="*/ 1495150 h 589"/>
                  <a:gd name="T62" fmla="*/ 1578418 w 409"/>
                  <a:gd name="T63" fmla="*/ 1517109 h 589"/>
                  <a:gd name="T64" fmla="*/ 1717855 w 409"/>
                  <a:gd name="T65" fmla="*/ 1645017 h 589"/>
                  <a:gd name="T66" fmla="*/ 1689539 w 409"/>
                  <a:gd name="T67" fmla="*/ 1391345 h 589"/>
                  <a:gd name="T68" fmla="*/ 1653967 w 409"/>
                  <a:gd name="T69" fmla="*/ 1407905 h 589"/>
                  <a:gd name="T70" fmla="*/ 646974 w 409"/>
                  <a:gd name="T71" fmla="*/ 1429924 h 589"/>
                  <a:gd name="T72" fmla="*/ 507566 w 409"/>
                  <a:gd name="T73" fmla="*/ 1391345 h 589"/>
                  <a:gd name="T74" fmla="*/ 1102093 w 409"/>
                  <a:gd name="T75" fmla="*/ 1327519 h 589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409"/>
                  <a:gd name="T115" fmla="*/ 0 h 589"/>
                  <a:gd name="T116" fmla="*/ 409 w 409"/>
                  <a:gd name="T117" fmla="*/ 589 h 589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409" h="589">
                    <a:moveTo>
                      <a:pt x="401" y="67"/>
                    </a:moveTo>
                    <a:cubicBezTo>
                      <a:pt x="405" y="67"/>
                      <a:pt x="409" y="64"/>
                      <a:pt x="409" y="59"/>
                    </a:cubicBezTo>
                    <a:cubicBezTo>
                      <a:pt x="409" y="40"/>
                      <a:pt x="409" y="40"/>
                      <a:pt x="409" y="40"/>
                    </a:cubicBezTo>
                    <a:cubicBezTo>
                      <a:pt x="409" y="18"/>
                      <a:pt x="391" y="0"/>
                      <a:pt x="369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18" y="0"/>
                      <a:pt x="0" y="18"/>
                      <a:pt x="0" y="40"/>
                    </a:cubicBezTo>
                    <a:cubicBezTo>
                      <a:pt x="0" y="549"/>
                      <a:pt x="0" y="549"/>
                      <a:pt x="0" y="549"/>
                    </a:cubicBezTo>
                    <a:cubicBezTo>
                      <a:pt x="0" y="571"/>
                      <a:pt x="18" y="589"/>
                      <a:pt x="40" y="589"/>
                    </a:cubicBezTo>
                    <a:cubicBezTo>
                      <a:pt x="369" y="589"/>
                      <a:pt x="369" y="589"/>
                      <a:pt x="369" y="589"/>
                    </a:cubicBezTo>
                    <a:cubicBezTo>
                      <a:pt x="391" y="589"/>
                      <a:pt x="409" y="571"/>
                      <a:pt x="409" y="549"/>
                    </a:cubicBezTo>
                    <a:cubicBezTo>
                      <a:pt x="409" y="91"/>
                      <a:pt x="409" y="91"/>
                      <a:pt x="409" y="91"/>
                    </a:cubicBezTo>
                    <a:cubicBezTo>
                      <a:pt x="409" y="87"/>
                      <a:pt x="405" y="83"/>
                      <a:pt x="401" y="83"/>
                    </a:cubicBezTo>
                    <a:cubicBezTo>
                      <a:pt x="397" y="83"/>
                      <a:pt x="393" y="87"/>
                      <a:pt x="393" y="91"/>
                    </a:cubicBezTo>
                    <a:cubicBezTo>
                      <a:pt x="393" y="549"/>
                      <a:pt x="393" y="549"/>
                      <a:pt x="393" y="549"/>
                    </a:cubicBezTo>
                    <a:cubicBezTo>
                      <a:pt x="393" y="562"/>
                      <a:pt x="382" y="573"/>
                      <a:pt x="369" y="573"/>
                    </a:cubicBezTo>
                    <a:cubicBezTo>
                      <a:pt x="40" y="573"/>
                      <a:pt x="40" y="573"/>
                      <a:pt x="40" y="573"/>
                    </a:cubicBezTo>
                    <a:cubicBezTo>
                      <a:pt x="26" y="573"/>
                      <a:pt x="16" y="562"/>
                      <a:pt x="16" y="549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27"/>
                      <a:pt x="26" y="16"/>
                      <a:pt x="40" y="16"/>
                    </a:cubicBezTo>
                    <a:cubicBezTo>
                      <a:pt x="369" y="16"/>
                      <a:pt x="369" y="16"/>
                      <a:pt x="369" y="16"/>
                    </a:cubicBezTo>
                    <a:cubicBezTo>
                      <a:pt x="382" y="16"/>
                      <a:pt x="393" y="27"/>
                      <a:pt x="393" y="40"/>
                    </a:cubicBezTo>
                    <a:cubicBezTo>
                      <a:pt x="393" y="59"/>
                      <a:pt x="393" y="59"/>
                      <a:pt x="393" y="59"/>
                    </a:cubicBezTo>
                    <a:cubicBezTo>
                      <a:pt x="393" y="64"/>
                      <a:pt x="397" y="67"/>
                      <a:pt x="401" y="67"/>
                    </a:cubicBezTo>
                    <a:close/>
                    <a:moveTo>
                      <a:pt x="147" y="206"/>
                    </a:moveTo>
                    <a:cubicBezTo>
                      <a:pt x="261" y="206"/>
                      <a:pt x="261" y="206"/>
                      <a:pt x="261" y="206"/>
                    </a:cubicBezTo>
                    <a:cubicBezTo>
                      <a:pt x="264" y="206"/>
                      <a:pt x="266" y="204"/>
                      <a:pt x="268" y="202"/>
                    </a:cubicBezTo>
                    <a:cubicBezTo>
                      <a:pt x="269" y="200"/>
                      <a:pt x="269" y="197"/>
                      <a:pt x="268" y="194"/>
                    </a:cubicBezTo>
                    <a:cubicBezTo>
                      <a:pt x="211" y="80"/>
                      <a:pt x="211" y="80"/>
                      <a:pt x="211" y="80"/>
                    </a:cubicBezTo>
                    <a:cubicBezTo>
                      <a:pt x="210" y="78"/>
                      <a:pt x="207" y="76"/>
                      <a:pt x="204" y="76"/>
                    </a:cubicBezTo>
                    <a:cubicBezTo>
                      <a:pt x="201" y="76"/>
                      <a:pt x="198" y="78"/>
                      <a:pt x="197" y="80"/>
                    </a:cubicBezTo>
                    <a:cubicBezTo>
                      <a:pt x="140" y="194"/>
                      <a:pt x="140" y="194"/>
                      <a:pt x="140" y="194"/>
                    </a:cubicBezTo>
                    <a:cubicBezTo>
                      <a:pt x="139" y="197"/>
                      <a:pt x="139" y="200"/>
                      <a:pt x="140" y="202"/>
                    </a:cubicBezTo>
                    <a:cubicBezTo>
                      <a:pt x="142" y="204"/>
                      <a:pt x="144" y="206"/>
                      <a:pt x="147" y="206"/>
                    </a:cubicBezTo>
                    <a:close/>
                    <a:moveTo>
                      <a:pt x="204" y="102"/>
                    </a:moveTo>
                    <a:cubicBezTo>
                      <a:pt x="248" y="190"/>
                      <a:pt x="248" y="190"/>
                      <a:pt x="248" y="190"/>
                    </a:cubicBezTo>
                    <a:cubicBezTo>
                      <a:pt x="160" y="190"/>
                      <a:pt x="160" y="190"/>
                      <a:pt x="160" y="190"/>
                    </a:cubicBezTo>
                    <a:lnTo>
                      <a:pt x="204" y="102"/>
                    </a:lnTo>
                    <a:close/>
                    <a:moveTo>
                      <a:pt x="90" y="243"/>
                    </a:moveTo>
                    <a:cubicBezTo>
                      <a:pt x="86" y="244"/>
                      <a:pt x="83" y="246"/>
                      <a:pt x="80" y="248"/>
                    </a:cubicBezTo>
                    <a:cubicBezTo>
                      <a:pt x="78" y="250"/>
                      <a:pt x="75" y="254"/>
                      <a:pt x="75" y="258"/>
                    </a:cubicBezTo>
                    <a:cubicBezTo>
                      <a:pt x="75" y="307"/>
                      <a:pt x="75" y="307"/>
                      <a:pt x="75" y="307"/>
                    </a:cubicBezTo>
                    <a:cubicBezTo>
                      <a:pt x="75" y="311"/>
                      <a:pt x="78" y="315"/>
                      <a:pt x="80" y="317"/>
                    </a:cubicBezTo>
                    <a:cubicBezTo>
                      <a:pt x="85" y="321"/>
                      <a:pt x="91" y="323"/>
                      <a:pt x="98" y="325"/>
                    </a:cubicBezTo>
                    <a:cubicBezTo>
                      <a:pt x="121" y="331"/>
                      <a:pt x="160" y="335"/>
                      <a:pt x="204" y="335"/>
                    </a:cubicBezTo>
                    <a:cubicBezTo>
                      <a:pt x="238" y="335"/>
                      <a:pt x="269" y="333"/>
                      <a:pt x="292" y="329"/>
                    </a:cubicBezTo>
                    <a:cubicBezTo>
                      <a:pt x="303" y="327"/>
                      <a:pt x="312" y="325"/>
                      <a:pt x="319" y="322"/>
                    </a:cubicBezTo>
                    <a:cubicBezTo>
                      <a:pt x="323" y="321"/>
                      <a:pt x="326" y="319"/>
                      <a:pt x="328" y="317"/>
                    </a:cubicBezTo>
                    <a:cubicBezTo>
                      <a:pt x="331" y="315"/>
                      <a:pt x="334" y="311"/>
                      <a:pt x="334" y="307"/>
                    </a:cubicBezTo>
                    <a:cubicBezTo>
                      <a:pt x="334" y="258"/>
                      <a:pt x="334" y="258"/>
                      <a:pt x="334" y="258"/>
                    </a:cubicBezTo>
                    <a:cubicBezTo>
                      <a:pt x="334" y="254"/>
                      <a:pt x="331" y="250"/>
                      <a:pt x="328" y="248"/>
                    </a:cubicBezTo>
                    <a:cubicBezTo>
                      <a:pt x="324" y="244"/>
                      <a:pt x="318" y="242"/>
                      <a:pt x="310" y="240"/>
                    </a:cubicBezTo>
                    <a:cubicBezTo>
                      <a:pt x="288" y="234"/>
                      <a:pt x="249" y="230"/>
                      <a:pt x="204" y="230"/>
                    </a:cubicBezTo>
                    <a:cubicBezTo>
                      <a:pt x="171" y="230"/>
                      <a:pt x="140" y="232"/>
                      <a:pt x="117" y="236"/>
                    </a:cubicBezTo>
                    <a:cubicBezTo>
                      <a:pt x="106" y="238"/>
                      <a:pt x="97" y="240"/>
                      <a:pt x="90" y="243"/>
                    </a:cubicBezTo>
                    <a:close/>
                    <a:moveTo>
                      <a:pt x="318" y="305"/>
                    </a:moveTo>
                    <a:cubicBezTo>
                      <a:pt x="316" y="306"/>
                      <a:pt x="312" y="308"/>
                      <a:pt x="306" y="310"/>
                    </a:cubicBezTo>
                    <a:cubicBezTo>
                      <a:pt x="286" y="315"/>
                      <a:pt x="248" y="319"/>
                      <a:pt x="204" y="319"/>
                    </a:cubicBezTo>
                    <a:cubicBezTo>
                      <a:pt x="171" y="319"/>
                      <a:pt x="141" y="317"/>
                      <a:pt x="120" y="313"/>
                    </a:cubicBezTo>
                    <a:cubicBezTo>
                      <a:pt x="109" y="312"/>
                      <a:pt x="101" y="309"/>
                      <a:pt x="96" y="307"/>
                    </a:cubicBezTo>
                    <a:cubicBezTo>
                      <a:pt x="93" y="306"/>
                      <a:pt x="92" y="306"/>
                      <a:pt x="91" y="305"/>
                    </a:cubicBezTo>
                    <a:cubicBezTo>
                      <a:pt x="91" y="274"/>
                      <a:pt x="91" y="274"/>
                      <a:pt x="91" y="274"/>
                    </a:cubicBezTo>
                    <a:cubicBezTo>
                      <a:pt x="93" y="275"/>
                      <a:pt x="96" y="276"/>
                      <a:pt x="98" y="277"/>
                    </a:cubicBezTo>
                    <a:cubicBezTo>
                      <a:pt x="121" y="283"/>
                      <a:pt x="160" y="287"/>
                      <a:pt x="204" y="287"/>
                    </a:cubicBezTo>
                    <a:cubicBezTo>
                      <a:pt x="238" y="287"/>
                      <a:pt x="269" y="285"/>
                      <a:pt x="292" y="281"/>
                    </a:cubicBezTo>
                    <a:cubicBezTo>
                      <a:pt x="302" y="279"/>
                      <a:pt x="311" y="277"/>
                      <a:pt x="318" y="274"/>
                    </a:cubicBezTo>
                    <a:lnTo>
                      <a:pt x="318" y="305"/>
                    </a:lnTo>
                    <a:close/>
                    <a:moveTo>
                      <a:pt x="289" y="252"/>
                    </a:moveTo>
                    <a:cubicBezTo>
                      <a:pt x="299" y="253"/>
                      <a:pt x="308" y="256"/>
                      <a:pt x="313" y="258"/>
                    </a:cubicBezTo>
                    <a:cubicBezTo>
                      <a:pt x="314" y="258"/>
                      <a:pt x="314" y="258"/>
                      <a:pt x="315" y="258"/>
                    </a:cubicBezTo>
                    <a:cubicBezTo>
                      <a:pt x="313" y="259"/>
                      <a:pt x="310" y="260"/>
                      <a:pt x="306" y="261"/>
                    </a:cubicBezTo>
                    <a:cubicBezTo>
                      <a:pt x="286" y="267"/>
                      <a:pt x="248" y="271"/>
                      <a:pt x="204" y="271"/>
                    </a:cubicBezTo>
                    <a:cubicBezTo>
                      <a:pt x="171" y="271"/>
                      <a:pt x="141" y="269"/>
                      <a:pt x="120" y="265"/>
                    </a:cubicBezTo>
                    <a:cubicBezTo>
                      <a:pt x="109" y="263"/>
                      <a:pt x="101" y="261"/>
                      <a:pt x="96" y="259"/>
                    </a:cubicBezTo>
                    <a:cubicBezTo>
                      <a:pt x="95" y="259"/>
                      <a:pt x="95" y="259"/>
                      <a:pt x="94" y="258"/>
                    </a:cubicBezTo>
                    <a:cubicBezTo>
                      <a:pt x="96" y="257"/>
                      <a:pt x="99" y="256"/>
                      <a:pt x="103" y="255"/>
                    </a:cubicBezTo>
                    <a:cubicBezTo>
                      <a:pt x="122" y="250"/>
                      <a:pt x="161" y="246"/>
                      <a:pt x="204" y="246"/>
                    </a:cubicBezTo>
                    <a:cubicBezTo>
                      <a:pt x="238" y="246"/>
                      <a:pt x="268" y="248"/>
                      <a:pt x="289" y="25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lang="en-US"/>
              </a:p>
            </p:txBody>
          </p:sp>
          <p:sp>
            <p:nvSpPr>
              <p:cNvPr id="6313" name="Text Box 44"/>
              <p:cNvSpPr txBox="1">
                <a:spLocks noChangeAspect="1" noChangeArrowheads="1"/>
              </p:cNvSpPr>
              <p:nvPr/>
            </p:nvSpPr>
            <p:spPr bwMode="auto">
              <a:xfrm>
                <a:off x="260" y="3400"/>
                <a:ext cx="818" cy="3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>
                <a:spAutoFit/>
              </a:bodyPr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9pPr>
              </a:lstStyle>
              <a:p>
                <a:pPr algn="ctr" eaLnBrk="1" hangingPunct="1">
                  <a:lnSpc>
                    <a:spcPct val="80000"/>
                  </a:lnSpc>
                </a:pPr>
                <a:r>
                  <a:rPr lang="en-US" sz="1400">
                    <a:solidFill>
                      <a:srgbClr val="89BA17"/>
                    </a:solidFill>
                  </a:rPr>
                  <a:t>IT…</a:t>
                </a:r>
              </a:p>
            </p:txBody>
          </p:sp>
        </p:grpSp>
        <p:sp>
          <p:nvSpPr>
            <p:cNvPr id="153659" name="Rectangle 59"/>
            <p:cNvSpPr>
              <a:spLocks noChangeAspect="1" noChangeArrowheads="1"/>
            </p:cNvSpPr>
            <p:nvPr/>
          </p:nvSpPr>
          <p:spPr bwMode="auto">
            <a:xfrm>
              <a:off x="183" y="2478"/>
              <a:ext cx="969" cy="13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rIns="0" anchor="ctr"/>
            <a:lstStyle/>
            <a:p>
              <a:pPr algn="ctr">
                <a:spcBef>
                  <a:spcPct val="50000"/>
                </a:spcBef>
                <a:defRPr/>
              </a:pPr>
              <a:endParaRPr lang="sv-SE">
                <a:latin typeface="Arial" charset="0"/>
                <a:ea typeface="ＭＳ Ｐゴシック" charset="0"/>
                <a:cs typeface="ＭＳ Ｐゴシック" charset="0"/>
              </a:endParaRPr>
            </a:p>
          </p:txBody>
        </p:sp>
      </p:grpSp>
      <p:sp>
        <p:nvSpPr>
          <p:cNvPr id="6176" name="Freeform 8"/>
          <p:cNvSpPr>
            <a:spLocks noChangeAspect="1" noEditPoints="1"/>
          </p:cNvSpPr>
          <p:nvPr/>
        </p:nvSpPr>
        <p:spPr bwMode="auto">
          <a:xfrm>
            <a:off x="5376865" y="2565436"/>
            <a:ext cx="357187" cy="576263"/>
          </a:xfrm>
          <a:custGeom>
            <a:avLst/>
            <a:gdLst>
              <a:gd name="T0" fmla="*/ 2147483647 w 255"/>
              <a:gd name="T1" fmla="*/ 2147483647 h 412"/>
              <a:gd name="T2" fmla="*/ 2147483647 w 255"/>
              <a:gd name="T3" fmla="*/ 2147483647 h 412"/>
              <a:gd name="T4" fmla="*/ 2147483647 w 255"/>
              <a:gd name="T5" fmla="*/ 2147483647 h 412"/>
              <a:gd name="T6" fmla="*/ 2147483647 w 255"/>
              <a:gd name="T7" fmla="*/ 2147483647 h 412"/>
              <a:gd name="T8" fmla="*/ 2147483647 w 255"/>
              <a:gd name="T9" fmla="*/ 2147483647 h 412"/>
              <a:gd name="T10" fmla="*/ 2147483647 w 255"/>
              <a:gd name="T11" fmla="*/ 2147483647 h 412"/>
              <a:gd name="T12" fmla="*/ 2147483647 w 255"/>
              <a:gd name="T13" fmla="*/ 2147483647 h 412"/>
              <a:gd name="T14" fmla="*/ 2147483647 w 255"/>
              <a:gd name="T15" fmla="*/ 2147483647 h 412"/>
              <a:gd name="T16" fmla="*/ 2147483647 w 255"/>
              <a:gd name="T17" fmla="*/ 2147483647 h 412"/>
              <a:gd name="T18" fmla="*/ 2147483647 w 255"/>
              <a:gd name="T19" fmla="*/ 2147483647 h 412"/>
              <a:gd name="T20" fmla="*/ 2147483647 w 255"/>
              <a:gd name="T21" fmla="*/ 2147483647 h 412"/>
              <a:gd name="T22" fmla="*/ 2147483647 w 255"/>
              <a:gd name="T23" fmla="*/ 2147483647 h 412"/>
              <a:gd name="T24" fmla="*/ 2147483647 w 255"/>
              <a:gd name="T25" fmla="*/ 2147483647 h 412"/>
              <a:gd name="T26" fmla="*/ 2147483647 w 255"/>
              <a:gd name="T27" fmla="*/ 2147483647 h 412"/>
              <a:gd name="T28" fmla="*/ 2147483647 w 255"/>
              <a:gd name="T29" fmla="*/ 2147483647 h 412"/>
              <a:gd name="T30" fmla="*/ 2147483647 w 255"/>
              <a:gd name="T31" fmla="*/ 2147483647 h 412"/>
              <a:gd name="T32" fmla="*/ 2147483647 w 255"/>
              <a:gd name="T33" fmla="*/ 2147483647 h 412"/>
              <a:gd name="T34" fmla="*/ 2147483647 w 255"/>
              <a:gd name="T35" fmla="*/ 2147483647 h 412"/>
              <a:gd name="T36" fmla="*/ 2147483647 w 255"/>
              <a:gd name="T37" fmla="*/ 2147483647 h 412"/>
              <a:gd name="T38" fmla="*/ 2147483647 w 255"/>
              <a:gd name="T39" fmla="*/ 2147483647 h 412"/>
              <a:gd name="T40" fmla="*/ 2147483647 w 255"/>
              <a:gd name="T41" fmla="*/ 2147483647 h 412"/>
              <a:gd name="T42" fmla="*/ 2147483647 w 255"/>
              <a:gd name="T43" fmla="*/ 2147483647 h 412"/>
              <a:gd name="T44" fmla="*/ 2147483647 w 255"/>
              <a:gd name="T45" fmla="*/ 2147483647 h 412"/>
              <a:gd name="T46" fmla="*/ 2147483647 w 255"/>
              <a:gd name="T47" fmla="*/ 2147483647 h 412"/>
              <a:gd name="T48" fmla="*/ 2147483647 w 255"/>
              <a:gd name="T49" fmla="*/ 2147483647 h 412"/>
              <a:gd name="T50" fmla="*/ 2147483647 w 255"/>
              <a:gd name="T51" fmla="*/ 2147483647 h 412"/>
              <a:gd name="T52" fmla="*/ 2147483647 w 255"/>
              <a:gd name="T53" fmla="*/ 2147483647 h 412"/>
              <a:gd name="T54" fmla="*/ 2147483647 w 255"/>
              <a:gd name="T55" fmla="*/ 2147483647 h 412"/>
              <a:gd name="T56" fmla="*/ 2147483647 w 255"/>
              <a:gd name="T57" fmla="*/ 2147483647 h 412"/>
              <a:gd name="T58" fmla="*/ 2147483647 w 255"/>
              <a:gd name="T59" fmla="*/ 2147483647 h 412"/>
              <a:gd name="T60" fmla="*/ 2147483647 w 255"/>
              <a:gd name="T61" fmla="*/ 2147483647 h 412"/>
              <a:gd name="T62" fmla="*/ 2147483647 w 255"/>
              <a:gd name="T63" fmla="*/ 2147483647 h 412"/>
              <a:gd name="T64" fmla="*/ 2147483647 w 255"/>
              <a:gd name="T65" fmla="*/ 2147483647 h 412"/>
              <a:gd name="T66" fmla="*/ 2147483647 w 255"/>
              <a:gd name="T67" fmla="*/ 2147483647 h 412"/>
              <a:gd name="T68" fmla="*/ 2147483647 w 255"/>
              <a:gd name="T69" fmla="*/ 2147483647 h 412"/>
              <a:gd name="T70" fmla="*/ 2147483647 w 255"/>
              <a:gd name="T71" fmla="*/ 2147483647 h 412"/>
              <a:gd name="T72" fmla="*/ 2147483647 w 255"/>
              <a:gd name="T73" fmla="*/ 2147483647 h 412"/>
              <a:gd name="T74" fmla="*/ 2147483647 w 255"/>
              <a:gd name="T75" fmla="*/ 2147483647 h 412"/>
              <a:gd name="T76" fmla="*/ 2147483647 w 255"/>
              <a:gd name="T77" fmla="*/ 2147483647 h 412"/>
              <a:gd name="T78" fmla="*/ 2147483647 w 255"/>
              <a:gd name="T79" fmla="*/ 2147483647 h 412"/>
              <a:gd name="T80" fmla="*/ 2147483647 w 255"/>
              <a:gd name="T81" fmla="*/ 2147483647 h 412"/>
              <a:gd name="T82" fmla="*/ 2147483647 w 255"/>
              <a:gd name="T83" fmla="*/ 2147483647 h 412"/>
              <a:gd name="T84" fmla="*/ 2147483647 w 255"/>
              <a:gd name="T85" fmla="*/ 2147483647 h 412"/>
              <a:gd name="T86" fmla="*/ 2147483647 w 255"/>
              <a:gd name="T87" fmla="*/ 2147483647 h 412"/>
              <a:gd name="T88" fmla="*/ 2147483647 w 255"/>
              <a:gd name="T89" fmla="*/ 2147483647 h 412"/>
              <a:gd name="T90" fmla="*/ 2147483647 w 255"/>
              <a:gd name="T91" fmla="*/ 2147483647 h 412"/>
              <a:gd name="T92" fmla="*/ 2147483647 w 255"/>
              <a:gd name="T93" fmla="*/ 2147483647 h 412"/>
              <a:gd name="T94" fmla="*/ 2147483647 w 255"/>
              <a:gd name="T95" fmla="*/ 2147483647 h 412"/>
              <a:gd name="T96" fmla="*/ 2147483647 w 255"/>
              <a:gd name="T97" fmla="*/ 2147483647 h 412"/>
              <a:gd name="T98" fmla="*/ 2147483647 w 255"/>
              <a:gd name="T99" fmla="*/ 2147483647 h 412"/>
              <a:gd name="T100" fmla="*/ 0 w 255"/>
              <a:gd name="T101" fmla="*/ 2147483647 h 412"/>
              <a:gd name="T102" fmla="*/ 2147483647 w 255"/>
              <a:gd name="T103" fmla="*/ 2147483647 h 412"/>
              <a:gd name="T104" fmla="*/ 2147483647 w 255"/>
              <a:gd name="T105" fmla="*/ 2147483647 h 412"/>
              <a:gd name="T106" fmla="*/ 2147483647 w 255"/>
              <a:gd name="T107" fmla="*/ 2147483647 h 412"/>
              <a:gd name="T108" fmla="*/ 2147483647 w 255"/>
              <a:gd name="T109" fmla="*/ 2147483647 h 412"/>
              <a:gd name="T110" fmla="*/ 2147483647 w 255"/>
              <a:gd name="T111" fmla="*/ 2147483647 h 41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55"/>
              <a:gd name="T169" fmla="*/ 0 h 412"/>
              <a:gd name="T170" fmla="*/ 255 w 255"/>
              <a:gd name="T171" fmla="*/ 412 h 412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55" h="412">
                <a:moveTo>
                  <a:pt x="169" y="344"/>
                </a:moveTo>
                <a:cubicBezTo>
                  <a:pt x="45" y="344"/>
                  <a:pt x="45" y="344"/>
                  <a:pt x="45" y="344"/>
                </a:cubicBezTo>
                <a:cubicBezTo>
                  <a:pt x="37" y="344"/>
                  <a:pt x="30" y="349"/>
                  <a:pt x="29" y="358"/>
                </a:cubicBezTo>
                <a:cubicBezTo>
                  <a:pt x="29" y="370"/>
                  <a:pt x="29" y="370"/>
                  <a:pt x="29" y="370"/>
                </a:cubicBezTo>
                <a:cubicBezTo>
                  <a:pt x="30" y="380"/>
                  <a:pt x="37" y="385"/>
                  <a:pt x="45" y="385"/>
                </a:cubicBezTo>
                <a:cubicBezTo>
                  <a:pt x="169" y="385"/>
                  <a:pt x="169" y="385"/>
                  <a:pt x="169" y="385"/>
                </a:cubicBezTo>
                <a:cubicBezTo>
                  <a:pt x="177" y="385"/>
                  <a:pt x="185" y="380"/>
                  <a:pt x="185" y="370"/>
                </a:cubicBezTo>
                <a:cubicBezTo>
                  <a:pt x="185" y="358"/>
                  <a:pt x="185" y="358"/>
                  <a:pt x="185" y="358"/>
                </a:cubicBezTo>
                <a:cubicBezTo>
                  <a:pt x="184" y="349"/>
                  <a:pt x="177" y="344"/>
                  <a:pt x="169" y="344"/>
                </a:cubicBezTo>
                <a:close/>
                <a:moveTo>
                  <a:pt x="169" y="369"/>
                </a:moveTo>
                <a:cubicBezTo>
                  <a:pt x="45" y="369"/>
                  <a:pt x="45" y="369"/>
                  <a:pt x="45" y="369"/>
                </a:cubicBezTo>
                <a:cubicBezTo>
                  <a:pt x="45" y="369"/>
                  <a:pt x="45" y="369"/>
                  <a:pt x="45" y="369"/>
                </a:cubicBezTo>
                <a:cubicBezTo>
                  <a:pt x="45" y="360"/>
                  <a:pt x="45" y="360"/>
                  <a:pt x="45" y="360"/>
                </a:cubicBezTo>
                <a:cubicBezTo>
                  <a:pt x="45" y="360"/>
                  <a:pt x="45" y="360"/>
                  <a:pt x="45" y="360"/>
                </a:cubicBezTo>
                <a:cubicBezTo>
                  <a:pt x="169" y="360"/>
                  <a:pt x="169" y="360"/>
                  <a:pt x="169" y="360"/>
                </a:cubicBezTo>
                <a:lnTo>
                  <a:pt x="169" y="369"/>
                </a:lnTo>
                <a:close/>
                <a:moveTo>
                  <a:pt x="185" y="306"/>
                </a:moveTo>
                <a:cubicBezTo>
                  <a:pt x="185" y="297"/>
                  <a:pt x="177" y="291"/>
                  <a:pt x="169" y="291"/>
                </a:cubicBezTo>
                <a:cubicBezTo>
                  <a:pt x="45" y="291"/>
                  <a:pt x="45" y="291"/>
                  <a:pt x="45" y="291"/>
                </a:cubicBezTo>
                <a:cubicBezTo>
                  <a:pt x="37" y="291"/>
                  <a:pt x="30" y="297"/>
                  <a:pt x="29" y="306"/>
                </a:cubicBezTo>
                <a:cubicBezTo>
                  <a:pt x="29" y="318"/>
                  <a:pt x="29" y="318"/>
                  <a:pt x="29" y="318"/>
                </a:cubicBezTo>
                <a:cubicBezTo>
                  <a:pt x="30" y="327"/>
                  <a:pt x="37" y="333"/>
                  <a:pt x="45" y="333"/>
                </a:cubicBezTo>
                <a:cubicBezTo>
                  <a:pt x="169" y="333"/>
                  <a:pt x="169" y="333"/>
                  <a:pt x="169" y="333"/>
                </a:cubicBezTo>
                <a:cubicBezTo>
                  <a:pt x="177" y="333"/>
                  <a:pt x="184" y="327"/>
                  <a:pt x="185" y="318"/>
                </a:cubicBezTo>
                <a:lnTo>
                  <a:pt x="185" y="306"/>
                </a:lnTo>
                <a:close/>
                <a:moveTo>
                  <a:pt x="169" y="317"/>
                </a:moveTo>
                <a:cubicBezTo>
                  <a:pt x="45" y="317"/>
                  <a:pt x="45" y="317"/>
                  <a:pt x="45" y="317"/>
                </a:cubicBezTo>
                <a:cubicBezTo>
                  <a:pt x="45" y="317"/>
                  <a:pt x="45" y="317"/>
                  <a:pt x="45" y="317"/>
                </a:cubicBezTo>
                <a:cubicBezTo>
                  <a:pt x="45" y="307"/>
                  <a:pt x="45" y="307"/>
                  <a:pt x="45" y="307"/>
                </a:cubicBezTo>
                <a:cubicBezTo>
                  <a:pt x="45" y="307"/>
                  <a:pt x="45" y="307"/>
                  <a:pt x="45" y="307"/>
                </a:cubicBezTo>
                <a:cubicBezTo>
                  <a:pt x="169" y="307"/>
                  <a:pt x="169" y="307"/>
                  <a:pt x="169" y="307"/>
                </a:cubicBezTo>
                <a:lnTo>
                  <a:pt x="169" y="317"/>
                </a:lnTo>
                <a:close/>
                <a:moveTo>
                  <a:pt x="185" y="253"/>
                </a:moveTo>
                <a:cubicBezTo>
                  <a:pt x="184" y="244"/>
                  <a:pt x="177" y="239"/>
                  <a:pt x="169" y="239"/>
                </a:cubicBezTo>
                <a:cubicBezTo>
                  <a:pt x="45" y="239"/>
                  <a:pt x="45" y="239"/>
                  <a:pt x="45" y="239"/>
                </a:cubicBezTo>
                <a:cubicBezTo>
                  <a:pt x="37" y="239"/>
                  <a:pt x="30" y="244"/>
                  <a:pt x="29" y="253"/>
                </a:cubicBezTo>
                <a:cubicBezTo>
                  <a:pt x="29" y="265"/>
                  <a:pt x="29" y="265"/>
                  <a:pt x="29" y="265"/>
                </a:cubicBezTo>
                <a:cubicBezTo>
                  <a:pt x="30" y="275"/>
                  <a:pt x="37" y="280"/>
                  <a:pt x="45" y="280"/>
                </a:cubicBezTo>
                <a:cubicBezTo>
                  <a:pt x="169" y="280"/>
                  <a:pt x="169" y="280"/>
                  <a:pt x="169" y="280"/>
                </a:cubicBezTo>
                <a:cubicBezTo>
                  <a:pt x="177" y="280"/>
                  <a:pt x="185" y="275"/>
                  <a:pt x="185" y="265"/>
                </a:cubicBezTo>
                <a:lnTo>
                  <a:pt x="185" y="253"/>
                </a:lnTo>
                <a:close/>
                <a:moveTo>
                  <a:pt x="169" y="264"/>
                </a:moveTo>
                <a:cubicBezTo>
                  <a:pt x="45" y="264"/>
                  <a:pt x="45" y="264"/>
                  <a:pt x="45" y="264"/>
                </a:cubicBezTo>
                <a:cubicBezTo>
                  <a:pt x="45" y="264"/>
                  <a:pt x="45" y="264"/>
                  <a:pt x="45" y="264"/>
                </a:cubicBezTo>
                <a:cubicBezTo>
                  <a:pt x="45" y="255"/>
                  <a:pt x="45" y="255"/>
                  <a:pt x="45" y="255"/>
                </a:cubicBezTo>
                <a:cubicBezTo>
                  <a:pt x="45" y="255"/>
                  <a:pt x="45" y="255"/>
                  <a:pt x="45" y="255"/>
                </a:cubicBezTo>
                <a:cubicBezTo>
                  <a:pt x="169" y="255"/>
                  <a:pt x="169" y="255"/>
                  <a:pt x="169" y="255"/>
                </a:cubicBezTo>
                <a:lnTo>
                  <a:pt x="169" y="264"/>
                </a:lnTo>
                <a:close/>
                <a:moveTo>
                  <a:pt x="185" y="201"/>
                </a:moveTo>
                <a:cubicBezTo>
                  <a:pt x="185" y="192"/>
                  <a:pt x="177" y="186"/>
                  <a:pt x="169" y="186"/>
                </a:cubicBezTo>
                <a:cubicBezTo>
                  <a:pt x="45" y="186"/>
                  <a:pt x="45" y="186"/>
                  <a:pt x="45" y="186"/>
                </a:cubicBezTo>
                <a:cubicBezTo>
                  <a:pt x="37" y="186"/>
                  <a:pt x="30" y="192"/>
                  <a:pt x="29" y="201"/>
                </a:cubicBezTo>
                <a:cubicBezTo>
                  <a:pt x="29" y="213"/>
                  <a:pt x="29" y="213"/>
                  <a:pt x="29" y="213"/>
                </a:cubicBezTo>
                <a:cubicBezTo>
                  <a:pt x="30" y="222"/>
                  <a:pt x="37" y="228"/>
                  <a:pt x="45" y="228"/>
                </a:cubicBezTo>
                <a:cubicBezTo>
                  <a:pt x="169" y="228"/>
                  <a:pt x="169" y="228"/>
                  <a:pt x="169" y="228"/>
                </a:cubicBezTo>
                <a:cubicBezTo>
                  <a:pt x="177" y="228"/>
                  <a:pt x="184" y="222"/>
                  <a:pt x="185" y="213"/>
                </a:cubicBezTo>
                <a:lnTo>
                  <a:pt x="185" y="201"/>
                </a:lnTo>
                <a:close/>
                <a:moveTo>
                  <a:pt x="169" y="212"/>
                </a:moveTo>
                <a:cubicBezTo>
                  <a:pt x="45" y="212"/>
                  <a:pt x="45" y="212"/>
                  <a:pt x="45" y="212"/>
                </a:cubicBezTo>
                <a:cubicBezTo>
                  <a:pt x="45" y="212"/>
                  <a:pt x="45" y="212"/>
                  <a:pt x="45" y="212"/>
                </a:cubicBezTo>
                <a:cubicBezTo>
                  <a:pt x="45" y="202"/>
                  <a:pt x="45" y="202"/>
                  <a:pt x="45" y="202"/>
                </a:cubicBezTo>
                <a:cubicBezTo>
                  <a:pt x="45" y="202"/>
                  <a:pt x="45" y="202"/>
                  <a:pt x="45" y="202"/>
                </a:cubicBezTo>
                <a:cubicBezTo>
                  <a:pt x="169" y="202"/>
                  <a:pt x="169" y="202"/>
                  <a:pt x="169" y="202"/>
                </a:cubicBezTo>
                <a:lnTo>
                  <a:pt x="169" y="212"/>
                </a:lnTo>
                <a:close/>
                <a:moveTo>
                  <a:pt x="185" y="148"/>
                </a:moveTo>
                <a:cubicBezTo>
                  <a:pt x="184" y="139"/>
                  <a:pt x="177" y="134"/>
                  <a:pt x="169" y="134"/>
                </a:cubicBezTo>
                <a:cubicBezTo>
                  <a:pt x="45" y="134"/>
                  <a:pt x="45" y="134"/>
                  <a:pt x="45" y="134"/>
                </a:cubicBezTo>
                <a:cubicBezTo>
                  <a:pt x="37" y="134"/>
                  <a:pt x="30" y="139"/>
                  <a:pt x="29" y="148"/>
                </a:cubicBezTo>
                <a:cubicBezTo>
                  <a:pt x="29" y="161"/>
                  <a:pt x="29" y="161"/>
                  <a:pt x="29" y="161"/>
                </a:cubicBezTo>
                <a:cubicBezTo>
                  <a:pt x="30" y="170"/>
                  <a:pt x="37" y="175"/>
                  <a:pt x="45" y="175"/>
                </a:cubicBezTo>
                <a:cubicBezTo>
                  <a:pt x="169" y="175"/>
                  <a:pt x="169" y="175"/>
                  <a:pt x="169" y="175"/>
                </a:cubicBezTo>
                <a:cubicBezTo>
                  <a:pt x="177" y="175"/>
                  <a:pt x="185" y="170"/>
                  <a:pt x="185" y="161"/>
                </a:cubicBezTo>
                <a:lnTo>
                  <a:pt x="185" y="148"/>
                </a:lnTo>
                <a:close/>
                <a:moveTo>
                  <a:pt x="169" y="159"/>
                </a:moveTo>
                <a:cubicBezTo>
                  <a:pt x="45" y="159"/>
                  <a:pt x="45" y="159"/>
                  <a:pt x="45" y="159"/>
                </a:cubicBezTo>
                <a:cubicBezTo>
                  <a:pt x="45" y="159"/>
                  <a:pt x="45" y="159"/>
                  <a:pt x="45" y="159"/>
                </a:cubicBezTo>
                <a:cubicBezTo>
                  <a:pt x="45" y="150"/>
                  <a:pt x="45" y="150"/>
                  <a:pt x="45" y="150"/>
                </a:cubicBezTo>
                <a:cubicBezTo>
                  <a:pt x="45" y="150"/>
                  <a:pt x="45" y="150"/>
                  <a:pt x="45" y="150"/>
                </a:cubicBezTo>
                <a:cubicBezTo>
                  <a:pt x="169" y="150"/>
                  <a:pt x="169" y="150"/>
                  <a:pt x="169" y="150"/>
                </a:cubicBezTo>
                <a:lnTo>
                  <a:pt x="169" y="159"/>
                </a:lnTo>
                <a:close/>
                <a:moveTo>
                  <a:pt x="185" y="96"/>
                </a:moveTo>
                <a:cubicBezTo>
                  <a:pt x="185" y="87"/>
                  <a:pt x="177" y="81"/>
                  <a:pt x="169" y="81"/>
                </a:cubicBezTo>
                <a:cubicBezTo>
                  <a:pt x="45" y="81"/>
                  <a:pt x="45" y="81"/>
                  <a:pt x="45" y="81"/>
                </a:cubicBezTo>
                <a:cubicBezTo>
                  <a:pt x="37" y="81"/>
                  <a:pt x="30" y="87"/>
                  <a:pt x="29" y="96"/>
                </a:cubicBezTo>
                <a:cubicBezTo>
                  <a:pt x="29" y="108"/>
                  <a:pt x="29" y="108"/>
                  <a:pt x="29" y="108"/>
                </a:cubicBezTo>
                <a:cubicBezTo>
                  <a:pt x="30" y="117"/>
                  <a:pt x="37" y="123"/>
                  <a:pt x="45" y="123"/>
                </a:cubicBezTo>
                <a:cubicBezTo>
                  <a:pt x="169" y="123"/>
                  <a:pt x="169" y="123"/>
                  <a:pt x="169" y="123"/>
                </a:cubicBezTo>
                <a:cubicBezTo>
                  <a:pt x="177" y="123"/>
                  <a:pt x="184" y="117"/>
                  <a:pt x="185" y="108"/>
                </a:cubicBezTo>
                <a:lnTo>
                  <a:pt x="185" y="96"/>
                </a:lnTo>
                <a:close/>
                <a:moveTo>
                  <a:pt x="169" y="107"/>
                </a:moveTo>
                <a:cubicBezTo>
                  <a:pt x="45" y="107"/>
                  <a:pt x="45" y="107"/>
                  <a:pt x="45" y="107"/>
                </a:cubicBezTo>
                <a:cubicBezTo>
                  <a:pt x="45" y="107"/>
                  <a:pt x="45" y="107"/>
                  <a:pt x="45" y="107"/>
                </a:cubicBezTo>
                <a:cubicBezTo>
                  <a:pt x="45" y="97"/>
                  <a:pt x="45" y="97"/>
                  <a:pt x="45" y="97"/>
                </a:cubicBezTo>
                <a:cubicBezTo>
                  <a:pt x="45" y="97"/>
                  <a:pt x="45" y="97"/>
                  <a:pt x="45" y="97"/>
                </a:cubicBezTo>
                <a:cubicBezTo>
                  <a:pt x="169" y="97"/>
                  <a:pt x="169" y="97"/>
                  <a:pt x="169" y="97"/>
                </a:cubicBezTo>
                <a:lnTo>
                  <a:pt x="169" y="107"/>
                </a:lnTo>
                <a:close/>
                <a:moveTo>
                  <a:pt x="185" y="44"/>
                </a:moveTo>
                <a:cubicBezTo>
                  <a:pt x="184" y="34"/>
                  <a:pt x="177" y="29"/>
                  <a:pt x="169" y="29"/>
                </a:cubicBezTo>
                <a:cubicBezTo>
                  <a:pt x="45" y="29"/>
                  <a:pt x="45" y="29"/>
                  <a:pt x="45" y="29"/>
                </a:cubicBezTo>
                <a:cubicBezTo>
                  <a:pt x="37" y="29"/>
                  <a:pt x="30" y="34"/>
                  <a:pt x="29" y="44"/>
                </a:cubicBezTo>
                <a:cubicBezTo>
                  <a:pt x="29" y="56"/>
                  <a:pt x="29" y="56"/>
                  <a:pt x="29" y="56"/>
                </a:cubicBezTo>
                <a:cubicBezTo>
                  <a:pt x="30" y="65"/>
                  <a:pt x="37" y="70"/>
                  <a:pt x="45" y="70"/>
                </a:cubicBezTo>
                <a:cubicBezTo>
                  <a:pt x="169" y="70"/>
                  <a:pt x="169" y="70"/>
                  <a:pt x="169" y="70"/>
                </a:cubicBezTo>
                <a:cubicBezTo>
                  <a:pt x="177" y="70"/>
                  <a:pt x="185" y="65"/>
                  <a:pt x="185" y="56"/>
                </a:cubicBezTo>
                <a:lnTo>
                  <a:pt x="185" y="44"/>
                </a:lnTo>
                <a:close/>
                <a:moveTo>
                  <a:pt x="169" y="54"/>
                </a:moveTo>
                <a:cubicBezTo>
                  <a:pt x="45" y="54"/>
                  <a:pt x="45" y="54"/>
                  <a:pt x="45" y="54"/>
                </a:cubicBezTo>
                <a:cubicBezTo>
                  <a:pt x="45" y="54"/>
                  <a:pt x="45" y="54"/>
                  <a:pt x="45" y="54"/>
                </a:cubicBezTo>
                <a:cubicBezTo>
                  <a:pt x="45" y="45"/>
                  <a:pt x="45" y="45"/>
                  <a:pt x="45" y="45"/>
                </a:cubicBezTo>
                <a:cubicBezTo>
                  <a:pt x="45" y="45"/>
                  <a:pt x="45" y="45"/>
                  <a:pt x="45" y="45"/>
                </a:cubicBezTo>
                <a:cubicBezTo>
                  <a:pt x="169" y="45"/>
                  <a:pt x="169" y="45"/>
                  <a:pt x="169" y="45"/>
                </a:cubicBezTo>
                <a:lnTo>
                  <a:pt x="169" y="54"/>
                </a:lnTo>
                <a:close/>
                <a:moveTo>
                  <a:pt x="212" y="88"/>
                </a:moveTo>
                <a:cubicBezTo>
                  <a:pt x="204" y="88"/>
                  <a:pt x="198" y="94"/>
                  <a:pt x="198" y="102"/>
                </a:cubicBezTo>
                <a:cubicBezTo>
                  <a:pt x="198" y="110"/>
                  <a:pt x="204" y="116"/>
                  <a:pt x="212" y="116"/>
                </a:cubicBezTo>
                <a:cubicBezTo>
                  <a:pt x="220" y="116"/>
                  <a:pt x="226" y="110"/>
                  <a:pt x="226" y="102"/>
                </a:cubicBezTo>
                <a:cubicBezTo>
                  <a:pt x="226" y="94"/>
                  <a:pt x="220" y="88"/>
                  <a:pt x="212" y="88"/>
                </a:cubicBezTo>
                <a:close/>
                <a:moveTo>
                  <a:pt x="212" y="35"/>
                </a:moveTo>
                <a:cubicBezTo>
                  <a:pt x="204" y="35"/>
                  <a:pt x="198" y="42"/>
                  <a:pt x="198" y="50"/>
                </a:cubicBezTo>
                <a:cubicBezTo>
                  <a:pt x="198" y="57"/>
                  <a:pt x="204" y="64"/>
                  <a:pt x="212" y="64"/>
                </a:cubicBezTo>
                <a:cubicBezTo>
                  <a:pt x="220" y="64"/>
                  <a:pt x="226" y="57"/>
                  <a:pt x="226" y="50"/>
                </a:cubicBezTo>
                <a:cubicBezTo>
                  <a:pt x="226" y="42"/>
                  <a:pt x="220" y="35"/>
                  <a:pt x="212" y="35"/>
                </a:cubicBezTo>
                <a:close/>
                <a:moveTo>
                  <a:pt x="212" y="140"/>
                </a:moveTo>
                <a:cubicBezTo>
                  <a:pt x="204" y="140"/>
                  <a:pt x="198" y="147"/>
                  <a:pt x="198" y="155"/>
                </a:cubicBezTo>
                <a:cubicBezTo>
                  <a:pt x="198" y="162"/>
                  <a:pt x="204" y="169"/>
                  <a:pt x="212" y="169"/>
                </a:cubicBezTo>
                <a:cubicBezTo>
                  <a:pt x="220" y="169"/>
                  <a:pt x="226" y="162"/>
                  <a:pt x="226" y="155"/>
                </a:cubicBezTo>
                <a:cubicBezTo>
                  <a:pt x="226" y="147"/>
                  <a:pt x="220" y="140"/>
                  <a:pt x="212" y="140"/>
                </a:cubicBezTo>
                <a:close/>
                <a:moveTo>
                  <a:pt x="212" y="193"/>
                </a:moveTo>
                <a:cubicBezTo>
                  <a:pt x="204" y="193"/>
                  <a:pt x="198" y="199"/>
                  <a:pt x="198" y="207"/>
                </a:cubicBezTo>
                <a:cubicBezTo>
                  <a:pt x="198" y="215"/>
                  <a:pt x="204" y="221"/>
                  <a:pt x="212" y="221"/>
                </a:cubicBezTo>
                <a:cubicBezTo>
                  <a:pt x="220" y="221"/>
                  <a:pt x="226" y="215"/>
                  <a:pt x="226" y="207"/>
                </a:cubicBezTo>
                <a:cubicBezTo>
                  <a:pt x="226" y="199"/>
                  <a:pt x="220" y="193"/>
                  <a:pt x="212" y="193"/>
                </a:cubicBezTo>
                <a:close/>
                <a:moveTo>
                  <a:pt x="212" y="245"/>
                </a:moveTo>
                <a:cubicBezTo>
                  <a:pt x="204" y="245"/>
                  <a:pt x="198" y="252"/>
                  <a:pt x="198" y="259"/>
                </a:cubicBezTo>
                <a:cubicBezTo>
                  <a:pt x="198" y="267"/>
                  <a:pt x="204" y="274"/>
                  <a:pt x="212" y="274"/>
                </a:cubicBezTo>
                <a:cubicBezTo>
                  <a:pt x="220" y="274"/>
                  <a:pt x="226" y="267"/>
                  <a:pt x="226" y="259"/>
                </a:cubicBezTo>
                <a:cubicBezTo>
                  <a:pt x="226" y="252"/>
                  <a:pt x="220" y="245"/>
                  <a:pt x="212" y="245"/>
                </a:cubicBezTo>
                <a:close/>
                <a:moveTo>
                  <a:pt x="212" y="298"/>
                </a:moveTo>
                <a:cubicBezTo>
                  <a:pt x="204" y="298"/>
                  <a:pt x="198" y="304"/>
                  <a:pt x="198" y="312"/>
                </a:cubicBezTo>
                <a:cubicBezTo>
                  <a:pt x="198" y="320"/>
                  <a:pt x="204" y="326"/>
                  <a:pt x="212" y="326"/>
                </a:cubicBezTo>
                <a:cubicBezTo>
                  <a:pt x="220" y="326"/>
                  <a:pt x="226" y="320"/>
                  <a:pt x="226" y="312"/>
                </a:cubicBezTo>
                <a:cubicBezTo>
                  <a:pt x="226" y="304"/>
                  <a:pt x="220" y="298"/>
                  <a:pt x="212" y="298"/>
                </a:cubicBezTo>
                <a:close/>
                <a:moveTo>
                  <a:pt x="212" y="350"/>
                </a:moveTo>
                <a:cubicBezTo>
                  <a:pt x="204" y="350"/>
                  <a:pt x="198" y="356"/>
                  <a:pt x="198" y="364"/>
                </a:cubicBezTo>
                <a:cubicBezTo>
                  <a:pt x="198" y="372"/>
                  <a:pt x="204" y="379"/>
                  <a:pt x="212" y="379"/>
                </a:cubicBezTo>
                <a:cubicBezTo>
                  <a:pt x="220" y="379"/>
                  <a:pt x="226" y="372"/>
                  <a:pt x="226" y="364"/>
                </a:cubicBezTo>
                <a:cubicBezTo>
                  <a:pt x="226" y="356"/>
                  <a:pt x="220" y="350"/>
                  <a:pt x="212" y="350"/>
                </a:cubicBezTo>
                <a:close/>
                <a:moveTo>
                  <a:pt x="247" y="44"/>
                </a:moveTo>
                <a:cubicBezTo>
                  <a:pt x="251" y="44"/>
                  <a:pt x="255" y="41"/>
                  <a:pt x="255" y="36"/>
                </a:cubicBezTo>
                <a:cubicBezTo>
                  <a:pt x="255" y="16"/>
                  <a:pt x="255" y="16"/>
                  <a:pt x="255" y="16"/>
                </a:cubicBezTo>
                <a:cubicBezTo>
                  <a:pt x="255" y="7"/>
                  <a:pt x="248" y="0"/>
                  <a:pt x="23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7" y="0"/>
                  <a:pt x="0" y="7"/>
                  <a:pt x="0" y="16"/>
                </a:cubicBezTo>
                <a:cubicBezTo>
                  <a:pt x="0" y="396"/>
                  <a:pt x="0" y="396"/>
                  <a:pt x="0" y="396"/>
                </a:cubicBezTo>
                <a:cubicBezTo>
                  <a:pt x="0" y="405"/>
                  <a:pt x="7" y="412"/>
                  <a:pt x="16" y="412"/>
                </a:cubicBezTo>
                <a:cubicBezTo>
                  <a:pt x="239" y="412"/>
                  <a:pt x="239" y="412"/>
                  <a:pt x="239" y="412"/>
                </a:cubicBezTo>
                <a:cubicBezTo>
                  <a:pt x="248" y="412"/>
                  <a:pt x="255" y="405"/>
                  <a:pt x="255" y="396"/>
                </a:cubicBezTo>
                <a:cubicBezTo>
                  <a:pt x="255" y="60"/>
                  <a:pt x="255" y="60"/>
                  <a:pt x="255" y="60"/>
                </a:cubicBezTo>
                <a:cubicBezTo>
                  <a:pt x="255" y="56"/>
                  <a:pt x="251" y="52"/>
                  <a:pt x="247" y="52"/>
                </a:cubicBezTo>
                <a:cubicBezTo>
                  <a:pt x="242" y="52"/>
                  <a:pt x="239" y="56"/>
                  <a:pt x="239" y="60"/>
                </a:cubicBezTo>
                <a:cubicBezTo>
                  <a:pt x="239" y="396"/>
                  <a:pt x="239" y="396"/>
                  <a:pt x="239" y="396"/>
                </a:cubicBezTo>
                <a:cubicBezTo>
                  <a:pt x="16" y="396"/>
                  <a:pt x="16" y="396"/>
                  <a:pt x="16" y="396"/>
                </a:cubicBezTo>
                <a:cubicBezTo>
                  <a:pt x="16" y="396"/>
                  <a:pt x="16" y="396"/>
                  <a:pt x="16" y="396"/>
                </a:cubicBezTo>
                <a:cubicBezTo>
                  <a:pt x="16" y="16"/>
                  <a:pt x="16" y="16"/>
                  <a:pt x="16" y="16"/>
                </a:cubicBezTo>
                <a:cubicBezTo>
                  <a:pt x="16" y="16"/>
                  <a:pt x="16" y="16"/>
                  <a:pt x="16" y="16"/>
                </a:cubicBezTo>
                <a:cubicBezTo>
                  <a:pt x="239" y="16"/>
                  <a:pt x="239" y="16"/>
                  <a:pt x="239" y="16"/>
                </a:cubicBezTo>
                <a:cubicBezTo>
                  <a:pt x="239" y="36"/>
                  <a:pt x="239" y="36"/>
                  <a:pt x="239" y="36"/>
                </a:cubicBezTo>
                <a:cubicBezTo>
                  <a:pt x="239" y="41"/>
                  <a:pt x="242" y="44"/>
                  <a:pt x="247" y="44"/>
                </a:cubicBezTo>
                <a:close/>
              </a:path>
            </a:pathLst>
          </a:custGeom>
          <a:solidFill>
            <a:srgbClr val="5858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177" name="Line 48"/>
          <p:cNvSpPr>
            <a:spLocks noChangeShapeType="1"/>
          </p:cNvSpPr>
          <p:nvPr/>
        </p:nvSpPr>
        <p:spPr bwMode="auto">
          <a:xfrm>
            <a:off x="5232400" y="2492375"/>
            <a:ext cx="1081088" cy="0"/>
          </a:xfrm>
          <a:prstGeom prst="line">
            <a:avLst/>
          </a:prstGeom>
          <a:noFill/>
          <a:ln w="19050">
            <a:solidFill>
              <a:schemeClr val="tx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1838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178" name="Freeform 8"/>
          <p:cNvSpPr>
            <a:spLocks noChangeAspect="1" noEditPoints="1"/>
          </p:cNvSpPr>
          <p:nvPr/>
        </p:nvSpPr>
        <p:spPr bwMode="auto">
          <a:xfrm>
            <a:off x="5737227" y="2565436"/>
            <a:ext cx="357188" cy="576263"/>
          </a:xfrm>
          <a:custGeom>
            <a:avLst/>
            <a:gdLst>
              <a:gd name="T0" fmla="*/ 2147483647 w 255"/>
              <a:gd name="T1" fmla="*/ 2147483647 h 412"/>
              <a:gd name="T2" fmla="*/ 2147483647 w 255"/>
              <a:gd name="T3" fmla="*/ 2147483647 h 412"/>
              <a:gd name="T4" fmla="*/ 2147483647 w 255"/>
              <a:gd name="T5" fmla="*/ 2147483647 h 412"/>
              <a:gd name="T6" fmla="*/ 2147483647 w 255"/>
              <a:gd name="T7" fmla="*/ 2147483647 h 412"/>
              <a:gd name="T8" fmla="*/ 2147483647 w 255"/>
              <a:gd name="T9" fmla="*/ 2147483647 h 412"/>
              <a:gd name="T10" fmla="*/ 2147483647 w 255"/>
              <a:gd name="T11" fmla="*/ 2147483647 h 412"/>
              <a:gd name="T12" fmla="*/ 2147483647 w 255"/>
              <a:gd name="T13" fmla="*/ 2147483647 h 412"/>
              <a:gd name="T14" fmla="*/ 2147483647 w 255"/>
              <a:gd name="T15" fmla="*/ 2147483647 h 412"/>
              <a:gd name="T16" fmla="*/ 2147483647 w 255"/>
              <a:gd name="T17" fmla="*/ 2147483647 h 412"/>
              <a:gd name="T18" fmla="*/ 2147483647 w 255"/>
              <a:gd name="T19" fmla="*/ 2147483647 h 412"/>
              <a:gd name="T20" fmla="*/ 2147483647 w 255"/>
              <a:gd name="T21" fmla="*/ 2147483647 h 412"/>
              <a:gd name="T22" fmla="*/ 2147483647 w 255"/>
              <a:gd name="T23" fmla="*/ 2147483647 h 412"/>
              <a:gd name="T24" fmla="*/ 2147483647 w 255"/>
              <a:gd name="T25" fmla="*/ 2147483647 h 412"/>
              <a:gd name="T26" fmla="*/ 2147483647 w 255"/>
              <a:gd name="T27" fmla="*/ 2147483647 h 412"/>
              <a:gd name="T28" fmla="*/ 2147483647 w 255"/>
              <a:gd name="T29" fmla="*/ 2147483647 h 412"/>
              <a:gd name="T30" fmla="*/ 2147483647 w 255"/>
              <a:gd name="T31" fmla="*/ 2147483647 h 412"/>
              <a:gd name="T32" fmla="*/ 2147483647 w 255"/>
              <a:gd name="T33" fmla="*/ 2147483647 h 412"/>
              <a:gd name="T34" fmla="*/ 2147483647 w 255"/>
              <a:gd name="T35" fmla="*/ 2147483647 h 412"/>
              <a:gd name="T36" fmla="*/ 2147483647 w 255"/>
              <a:gd name="T37" fmla="*/ 2147483647 h 412"/>
              <a:gd name="T38" fmla="*/ 2147483647 w 255"/>
              <a:gd name="T39" fmla="*/ 2147483647 h 412"/>
              <a:gd name="T40" fmla="*/ 2147483647 w 255"/>
              <a:gd name="T41" fmla="*/ 2147483647 h 412"/>
              <a:gd name="T42" fmla="*/ 2147483647 w 255"/>
              <a:gd name="T43" fmla="*/ 2147483647 h 412"/>
              <a:gd name="T44" fmla="*/ 2147483647 w 255"/>
              <a:gd name="T45" fmla="*/ 2147483647 h 412"/>
              <a:gd name="T46" fmla="*/ 2147483647 w 255"/>
              <a:gd name="T47" fmla="*/ 2147483647 h 412"/>
              <a:gd name="T48" fmla="*/ 2147483647 w 255"/>
              <a:gd name="T49" fmla="*/ 2147483647 h 412"/>
              <a:gd name="T50" fmla="*/ 2147483647 w 255"/>
              <a:gd name="T51" fmla="*/ 2147483647 h 412"/>
              <a:gd name="T52" fmla="*/ 2147483647 w 255"/>
              <a:gd name="T53" fmla="*/ 2147483647 h 412"/>
              <a:gd name="T54" fmla="*/ 2147483647 w 255"/>
              <a:gd name="T55" fmla="*/ 2147483647 h 412"/>
              <a:gd name="T56" fmla="*/ 2147483647 w 255"/>
              <a:gd name="T57" fmla="*/ 2147483647 h 412"/>
              <a:gd name="T58" fmla="*/ 2147483647 w 255"/>
              <a:gd name="T59" fmla="*/ 2147483647 h 412"/>
              <a:gd name="T60" fmla="*/ 2147483647 w 255"/>
              <a:gd name="T61" fmla="*/ 2147483647 h 412"/>
              <a:gd name="T62" fmla="*/ 2147483647 w 255"/>
              <a:gd name="T63" fmla="*/ 2147483647 h 412"/>
              <a:gd name="T64" fmla="*/ 2147483647 w 255"/>
              <a:gd name="T65" fmla="*/ 2147483647 h 412"/>
              <a:gd name="T66" fmla="*/ 2147483647 w 255"/>
              <a:gd name="T67" fmla="*/ 2147483647 h 412"/>
              <a:gd name="T68" fmla="*/ 2147483647 w 255"/>
              <a:gd name="T69" fmla="*/ 2147483647 h 412"/>
              <a:gd name="T70" fmla="*/ 2147483647 w 255"/>
              <a:gd name="T71" fmla="*/ 2147483647 h 412"/>
              <a:gd name="T72" fmla="*/ 2147483647 w 255"/>
              <a:gd name="T73" fmla="*/ 2147483647 h 412"/>
              <a:gd name="T74" fmla="*/ 2147483647 w 255"/>
              <a:gd name="T75" fmla="*/ 2147483647 h 412"/>
              <a:gd name="T76" fmla="*/ 2147483647 w 255"/>
              <a:gd name="T77" fmla="*/ 2147483647 h 412"/>
              <a:gd name="T78" fmla="*/ 2147483647 w 255"/>
              <a:gd name="T79" fmla="*/ 2147483647 h 412"/>
              <a:gd name="T80" fmla="*/ 2147483647 w 255"/>
              <a:gd name="T81" fmla="*/ 2147483647 h 412"/>
              <a:gd name="T82" fmla="*/ 2147483647 w 255"/>
              <a:gd name="T83" fmla="*/ 2147483647 h 412"/>
              <a:gd name="T84" fmla="*/ 2147483647 w 255"/>
              <a:gd name="T85" fmla="*/ 2147483647 h 412"/>
              <a:gd name="T86" fmla="*/ 2147483647 w 255"/>
              <a:gd name="T87" fmla="*/ 2147483647 h 412"/>
              <a:gd name="T88" fmla="*/ 2147483647 w 255"/>
              <a:gd name="T89" fmla="*/ 2147483647 h 412"/>
              <a:gd name="T90" fmla="*/ 2147483647 w 255"/>
              <a:gd name="T91" fmla="*/ 2147483647 h 412"/>
              <a:gd name="T92" fmla="*/ 2147483647 w 255"/>
              <a:gd name="T93" fmla="*/ 2147483647 h 412"/>
              <a:gd name="T94" fmla="*/ 2147483647 w 255"/>
              <a:gd name="T95" fmla="*/ 2147483647 h 412"/>
              <a:gd name="T96" fmla="*/ 2147483647 w 255"/>
              <a:gd name="T97" fmla="*/ 2147483647 h 412"/>
              <a:gd name="T98" fmla="*/ 2147483647 w 255"/>
              <a:gd name="T99" fmla="*/ 2147483647 h 412"/>
              <a:gd name="T100" fmla="*/ 0 w 255"/>
              <a:gd name="T101" fmla="*/ 2147483647 h 412"/>
              <a:gd name="T102" fmla="*/ 2147483647 w 255"/>
              <a:gd name="T103" fmla="*/ 2147483647 h 412"/>
              <a:gd name="T104" fmla="*/ 2147483647 w 255"/>
              <a:gd name="T105" fmla="*/ 2147483647 h 412"/>
              <a:gd name="T106" fmla="*/ 2147483647 w 255"/>
              <a:gd name="T107" fmla="*/ 2147483647 h 412"/>
              <a:gd name="T108" fmla="*/ 2147483647 w 255"/>
              <a:gd name="T109" fmla="*/ 2147483647 h 412"/>
              <a:gd name="T110" fmla="*/ 2147483647 w 255"/>
              <a:gd name="T111" fmla="*/ 2147483647 h 41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55"/>
              <a:gd name="T169" fmla="*/ 0 h 412"/>
              <a:gd name="T170" fmla="*/ 255 w 255"/>
              <a:gd name="T171" fmla="*/ 412 h 412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55" h="412">
                <a:moveTo>
                  <a:pt x="169" y="344"/>
                </a:moveTo>
                <a:cubicBezTo>
                  <a:pt x="45" y="344"/>
                  <a:pt x="45" y="344"/>
                  <a:pt x="45" y="344"/>
                </a:cubicBezTo>
                <a:cubicBezTo>
                  <a:pt x="37" y="344"/>
                  <a:pt x="30" y="349"/>
                  <a:pt x="29" y="358"/>
                </a:cubicBezTo>
                <a:cubicBezTo>
                  <a:pt x="29" y="370"/>
                  <a:pt x="29" y="370"/>
                  <a:pt x="29" y="370"/>
                </a:cubicBezTo>
                <a:cubicBezTo>
                  <a:pt x="30" y="380"/>
                  <a:pt x="37" y="385"/>
                  <a:pt x="45" y="385"/>
                </a:cubicBezTo>
                <a:cubicBezTo>
                  <a:pt x="169" y="385"/>
                  <a:pt x="169" y="385"/>
                  <a:pt x="169" y="385"/>
                </a:cubicBezTo>
                <a:cubicBezTo>
                  <a:pt x="177" y="385"/>
                  <a:pt x="185" y="380"/>
                  <a:pt x="185" y="370"/>
                </a:cubicBezTo>
                <a:cubicBezTo>
                  <a:pt x="185" y="358"/>
                  <a:pt x="185" y="358"/>
                  <a:pt x="185" y="358"/>
                </a:cubicBezTo>
                <a:cubicBezTo>
                  <a:pt x="184" y="349"/>
                  <a:pt x="177" y="344"/>
                  <a:pt x="169" y="344"/>
                </a:cubicBezTo>
                <a:close/>
                <a:moveTo>
                  <a:pt x="169" y="369"/>
                </a:moveTo>
                <a:cubicBezTo>
                  <a:pt x="45" y="369"/>
                  <a:pt x="45" y="369"/>
                  <a:pt x="45" y="369"/>
                </a:cubicBezTo>
                <a:cubicBezTo>
                  <a:pt x="45" y="369"/>
                  <a:pt x="45" y="369"/>
                  <a:pt x="45" y="369"/>
                </a:cubicBezTo>
                <a:cubicBezTo>
                  <a:pt x="45" y="360"/>
                  <a:pt x="45" y="360"/>
                  <a:pt x="45" y="360"/>
                </a:cubicBezTo>
                <a:cubicBezTo>
                  <a:pt x="45" y="360"/>
                  <a:pt x="45" y="360"/>
                  <a:pt x="45" y="360"/>
                </a:cubicBezTo>
                <a:cubicBezTo>
                  <a:pt x="169" y="360"/>
                  <a:pt x="169" y="360"/>
                  <a:pt x="169" y="360"/>
                </a:cubicBezTo>
                <a:lnTo>
                  <a:pt x="169" y="369"/>
                </a:lnTo>
                <a:close/>
                <a:moveTo>
                  <a:pt x="185" y="306"/>
                </a:moveTo>
                <a:cubicBezTo>
                  <a:pt x="185" y="297"/>
                  <a:pt x="177" y="291"/>
                  <a:pt x="169" y="291"/>
                </a:cubicBezTo>
                <a:cubicBezTo>
                  <a:pt x="45" y="291"/>
                  <a:pt x="45" y="291"/>
                  <a:pt x="45" y="291"/>
                </a:cubicBezTo>
                <a:cubicBezTo>
                  <a:pt x="37" y="291"/>
                  <a:pt x="30" y="297"/>
                  <a:pt x="29" y="306"/>
                </a:cubicBezTo>
                <a:cubicBezTo>
                  <a:pt x="29" y="318"/>
                  <a:pt x="29" y="318"/>
                  <a:pt x="29" y="318"/>
                </a:cubicBezTo>
                <a:cubicBezTo>
                  <a:pt x="30" y="327"/>
                  <a:pt x="37" y="333"/>
                  <a:pt x="45" y="333"/>
                </a:cubicBezTo>
                <a:cubicBezTo>
                  <a:pt x="169" y="333"/>
                  <a:pt x="169" y="333"/>
                  <a:pt x="169" y="333"/>
                </a:cubicBezTo>
                <a:cubicBezTo>
                  <a:pt x="177" y="333"/>
                  <a:pt x="184" y="327"/>
                  <a:pt x="185" y="318"/>
                </a:cubicBezTo>
                <a:lnTo>
                  <a:pt x="185" y="306"/>
                </a:lnTo>
                <a:close/>
                <a:moveTo>
                  <a:pt x="169" y="317"/>
                </a:moveTo>
                <a:cubicBezTo>
                  <a:pt x="45" y="317"/>
                  <a:pt x="45" y="317"/>
                  <a:pt x="45" y="317"/>
                </a:cubicBezTo>
                <a:cubicBezTo>
                  <a:pt x="45" y="317"/>
                  <a:pt x="45" y="317"/>
                  <a:pt x="45" y="317"/>
                </a:cubicBezTo>
                <a:cubicBezTo>
                  <a:pt x="45" y="307"/>
                  <a:pt x="45" y="307"/>
                  <a:pt x="45" y="307"/>
                </a:cubicBezTo>
                <a:cubicBezTo>
                  <a:pt x="45" y="307"/>
                  <a:pt x="45" y="307"/>
                  <a:pt x="45" y="307"/>
                </a:cubicBezTo>
                <a:cubicBezTo>
                  <a:pt x="169" y="307"/>
                  <a:pt x="169" y="307"/>
                  <a:pt x="169" y="307"/>
                </a:cubicBezTo>
                <a:lnTo>
                  <a:pt x="169" y="317"/>
                </a:lnTo>
                <a:close/>
                <a:moveTo>
                  <a:pt x="185" y="253"/>
                </a:moveTo>
                <a:cubicBezTo>
                  <a:pt x="184" y="244"/>
                  <a:pt x="177" y="239"/>
                  <a:pt x="169" y="239"/>
                </a:cubicBezTo>
                <a:cubicBezTo>
                  <a:pt x="45" y="239"/>
                  <a:pt x="45" y="239"/>
                  <a:pt x="45" y="239"/>
                </a:cubicBezTo>
                <a:cubicBezTo>
                  <a:pt x="37" y="239"/>
                  <a:pt x="30" y="244"/>
                  <a:pt x="29" y="253"/>
                </a:cubicBezTo>
                <a:cubicBezTo>
                  <a:pt x="29" y="265"/>
                  <a:pt x="29" y="265"/>
                  <a:pt x="29" y="265"/>
                </a:cubicBezTo>
                <a:cubicBezTo>
                  <a:pt x="30" y="275"/>
                  <a:pt x="37" y="280"/>
                  <a:pt x="45" y="280"/>
                </a:cubicBezTo>
                <a:cubicBezTo>
                  <a:pt x="169" y="280"/>
                  <a:pt x="169" y="280"/>
                  <a:pt x="169" y="280"/>
                </a:cubicBezTo>
                <a:cubicBezTo>
                  <a:pt x="177" y="280"/>
                  <a:pt x="185" y="275"/>
                  <a:pt x="185" y="265"/>
                </a:cubicBezTo>
                <a:lnTo>
                  <a:pt x="185" y="253"/>
                </a:lnTo>
                <a:close/>
                <a:moveTo>
                  <a:pt x="169" y="264"/>
                </a:moveTo>
                <a:cubicBezTo>
                  <a:pt x="45" y="264"/>
                  <a:pt x="45" y="264"/>
                  <a:pt x="45" y="264"/>
                </a:cubicBezTo>
                <a:cubicBezTo>
                  <a:pt x="45" y="264"/>
                  <a:pt x="45" y="264"/>
                  <a:pt x="45" y="264"/>
                </a:cubicBezTo>
                <a:cubicBezTo>
                  <a:pt x="45" y="255"/>
                  <a:pt x="45" y="255"/>
                  <a:pt x="45" y="255"/>
                </a:cubicBezTo>
                <a:cubicBezTo>
                  <a:pt x="45" y="255"/>
                  <a:pt x="45" y="255"/>
                  <a:pt x="45" y="255"/>
                </a:cubicBezTo>
                <a:cubicBezTo>
                  <a:pt x="169" y="255"/>
                  <a:pt x="169" y="255"/>
                  <a:pt x="169" y="255"/>
                </a:cubicBezTo>
                <a:lnTo>
                  <a:pt x="169" y="264"/>
                </a:lnTo>
                <a:close/>
                <a:moveTo>
                  <a:pt x="185" y="201"/>
                </a:moveTo>
                <a:cubicBezTo>
                  <a:pt x="185" y="192"/>
                  <a:pt x="177" y="186"/>
                  <a:pt x="169" y="186"/>
                </a:cubicBezTo>
                <a:cubicBezTo>
                  <a:pt x="45" y="186"/>
                  <a:pt x="45" y="186"/>
                  <a:pt x="45" y="186"/>
                </a:cubicBezTo>
                <a:cubicBezTo>
                  <a:pt x="37" y="186"/>
                  <a:pt x="30" y="192"/>
                  <a:pt x="29" y="201"/>
                </a:cubicBezTo>
                <a:cubicBezTo>
                  <a:pt x="29" y="213"/>
                  <a:pt x="29" y="213"/>
                  <a:pt x="29" y="213"/>
                </a:cubicBezTo>
                <a:cubicBezTo>
                  <a:pt x="30" y="222"/>
                  <a:pt x="37" y="228"/>
                  <a:pt x="45" y="228"/>
                </a:cubicBezTo>
                <a:cubicBezTo>
                  <a:pt x="169" y="228"/>
                  <a:pt x="169" y="228"/>
                  <a:pt x="169" y="228"/>
                </a:cubicBezTo>
                <a:cubicBezTo>
                  <a:pt x="177" y="228"/>
                  <a:pt x="184" y="222"/>
                  <a:pt x="185" y="213"/>
                </a:cubicBezTo>
                <a:lnTo>
                  <a:pt x="185" y="201"/>
                </a:lnTo>
                <a:close/>
                <a:moveTo>
                  <a:pt x="169" y="212"/>
                </a:moveTo>
                <a:cubicBezTo>
                  <a:pt x="45" y="212"/>
                  <a:pt x="45" y="212"/>
                  <a:pt x="45" y="212"/>
                </a:cubicBezTo>
                <a:cubicBezTo>
                  <a:pt x="45" y="212"/>
                  <a:pt x="45" y="212"/>
                  <a:pt x="45" y="212"/>
                </a:cubicBezTo>
                <a:cubicBezTo>
                  <a:pt x="45" y="202"/>
                  <a:pt x="45" y="202"/>
                  <a:pt x="45" y="202"/>
                </a:cubicBezTo>
                <a:cubicBezTo>
                  <a:pt x="45" y="202"/>
                  <a:pt x="45" y="202"/>
                  <a:pt x="45" y="202"/>
                </a:cubicBezTo>
                <a:cubicBezTo>
                  <a:pt x="169" y="202"/>
                  <a:pt x="169" y="202"/>
                  <a:pt x="169" y="202"/>
                </a:cubicBezTo>
                <a:lnTo>
                  <a:pt x="169" y="212"/>
                </a:lnTo>
                <a:close/>
                <a:moveTo>
                  <a:pt x="185" y="148"/>
                </a:moveTo>
                <a:cubicBezTo>
                  <a:pt x="184" y="139"/>
                  <a:pt x="177" y="134"/>
                  <a:pt x="169" y="134"/>
                </a:cubicBezTo>
                <a:cubicBezTo>
                  <a:pt x="45" y="134"/>
                  <a:pt x="45" y="134"/>
                  <a:pt x="45" y="134"/>
                </a:cubicBezTo>
                <a:cubicBezTo>
                  <a:pt x="37" y="134"/>
                  <a:pt x="30" y="139"/>
                  <a:pt x="29" y="148"/>
                </a:cubicBezTo>
                <a:cubicBezTo>
                  <a:pt x="29" y="161"/>
                  <a:pt x="29" y="161"/>
                  <a:pt x="29" y="161"/>
                </a:cubicBezTo>
                <a:cubicBezTo>
                  <a:pt x="30" y="170"/>
                  <a:pt x="37" y="175"/>
                  <a:pt x="45" y="175"/>
                </a:cubicBezTo>
                <a:cubicBezTo>
                  <a:pt x="169" y="175"/>
                  <a:pt x="169" y="175"/>
                  <a:pt x="169" y="175"/>
                </a:cubicBezTo>
                <a:cubicBezTo>
                  <a:pt x="177" y="175"/>
                  <a:pt x="185" y="170"/>
                  <a:pt x="185" y="161"/>
                </a:cubicBezTo>
                <a:lnTo>
                  <a:pt x="185" y="148"/>
                </a:lnTo>
                <a:close/>
                <a:moveTo>
                  <a:pt x="169" y="159"/>
                </a:moveTo>
                <a:cubicBezTo>
                  <a:pt x="45" y="159"/>
                  <a:pt x="45" y="159"/>
                  <a:pt x="45" y="159"/>
                </a:cubicBezTo>
                <a:cubicBezTo>
                  <a:pt x="45" y="159"/>
                  <a:pt x="45" y="159"/>
                  <a:pt x="45" y="159"/>
                </a:cubicBezTo>
                <a:cubicBezTo>
                  <a:pt x="45" y="150"/>
                  <a:pt x="45" y="150"/>
                  <a:pt x="45" y="150"/>
                </a:cubicBezTo>
                <a:cubicBezTo>
                  <a:pt x="45" y="150"/>
                  <a:pt x="45" y="150"/>
                  <a:pt x="45" y="150"/>
                </a:cubicBezTo>
                <a:cubicBezTo>
                  <a:pt x="169" y="150"/>
                  <a:pt x="169" y="150"/>
                  <a:pt x="169" y="150"/>
                </a:cubicBezTo>
                <a:lnTo>
                  <a:pt x="169" y="159"/>
                </a:lnTo>
                <a:close/>
                <a:moveTo>
                  <a:pt x="185" y="96"/>
                </a:moveTo>
                <a:cubicBezTo>
                  <a:pt x="185" y="87"/>
                  <a:pt x="177" y="81"/>
                  <a:pt x="169" y="81"/>
                </a:cubicBezTo>
                <a:cubicBezTo>
                  <a:pt x="45" y="81"/>
                  <a:pt x="45" y="81"/>
                  <a:pt x="45" y="81"/>
                </a:cubicBezTo>
                <a:cubicBezTo>
                  <a:pt x="37" y="81"/>
                  <a:pt x="30" y="87"/>
                  <a:pt x="29" y="96"/>
                </a:cubicBezTo>
                <a:cubicBezTo>
                  <a:pt x="29" y="108"/>
                  <a:pt x="29" y="108"/>
                  <a:pt x="29" y="108"/>
                </a:cubicBezTo>
                <a:cubicBezTo>
                  <a:pt x="30" y="117"/>
                  <a:pt x="37" y="123"/>
                  <a:pt x="45" y="123"/>
                </a:cubicBezTo>
                <a:cubicBezTo>
                  <a:pt x="169" y="123"/>
                  <a:pt x="169" y="123"/>
                  <a:pt x="169" y="123"/>
                </a:cubicBezTo>
                <a:cubicBezTo>
                  <a:pt x="177" y="123"/>
                  <a:pt x="184" y="117"/>
                  <a:pt x="185" y="108"/>
                </a:cubicBezTo>
                <a:lnTo>
                  <a:pt x="185" y="96"/>
                </a:lnTo>
                <a:close/>
                <a:moveTo>
                  <a:pt x="169" y="107"/>
                </a:moveTo>
                <a:cubicBezTo>
                  <a:pt x="45" y="107"/>
                  <a:pt x="45" y="107"/>
                  <a:pt x="45" y="107"/>
                </a:cubicBezTo>
                <a:cubicBezTo>
                  <a:pt x="45" y="107"/>
                  <a:pt x="45" y="107"/>
                  <a:pt x="45" y="107"/>
                </a:cubicBezTo>
                <a:cubicBezTo>
                  <a:pt x="45" y="97"/>
                  <a:pt x="45" y="97"/>
                  <a:pt x="45" y="97"/>
                </a:cubicBezTo>
                <a:cubicBezTo>
                  <a:pt x="45" y="97"/>
                  <a:pt x="45" y="97"/>
                  <a:pt x="45" y="97"/>
                </a:cubicBezTo>
                <a:cubicBezTo>
                  <a:pt x="169" y="97"/>
                  <a:pt x="169" y="97"/>
                  <a:pt x="169" y="97"/>
                </a:cubicBezTo>
                <a:lnTo>
                  <a:pt x="169" y="107"/>
                </a:lnTo>
                <a:close/>
                <a:moveTo>
                  <a:pt x="185" y="44"/>
                </a:moveTo>
                <a:cubicBezTo>
                  <a:pt x="184" y="34"/>
                  <a:pt x="177" y="29"/>
                  <a:pt x="169" y="29"/>
                </a:cubicBezTo>
                <a:cubicBezTo>
                  <a:pt x="45" y="29"/>
                  <a:pt x="45" y="29"/>
                  <a:pt x="45" y="29"/>
                </a:cubicBezTo>
                <a:cubicBezTo>
                  <a:pt x="37" y="29"/>
                  <a:pt x="30" y="34"/>
                  <a:pt x="29" y="44"/>
                </a:cubicBezTo>
                <a:cubicBezTo>
                  <a:pt x="29" y="56"/>
                  <a:pt x="29" y="56"/>
                  <a:pt x="29" y="56"/>
                </a:cubicBezTo>
                <a:cubicBezTo>
                  <a:pt x="30" y="65"/>
                  <a:pt x="37" y="70"/>
                  <a:pt x="45" y="70"/>
                </a:cubicBezTo>
                <a:cubicBezTo>
                  <a:pt x="169" y="70"/>
                  <a:pt x="169" y="70"/>
                  <a:pt x="169" y="70"/>
                </a:cubicBezTo>
                <a:cubicBezTo>
                  <a:pt x="177" y="70"/>
                  <a:pt x="185" y="65"/>
                  <a:pt x="185" y="56"/>
                </a:cubicBezTo>
                <a:lnTo>
                  <a:pt x="185" y="44"/>
                </a:lnTo>
                <a:close/>
                <a:moveTo>
                  <a:pt x="169" y="54"/>
                </a:moveTo>
                <a:cubicBezTo>
                  <a:pt x="45" y="54"/>
                  <a:pt x="45" y="54"/>
                  <a:pt x="45" y="54"/>
                </a:cubicBezTo>
                <a:cubicBezTo>
                  <a:pt x="45" y="54"/>
                  <a:pt x="45" y="54"/>
                  <a:pt x="45" y="54"/>
                </a:cubicBezTo>
                <a:cubicBezTo>
                  <a:pt x="45" y="45"/>
                  <a:pt x="45" y="45"/>
                  <a:pt x="45" y="45"/>
                </a:cubicBezTo>
                <a:cubicBezTo>
                  <a:pt x="45" y="45"/>
                  <a:pt x="45" y="45"/>
                  <a:pt x="45" y="45"/>
                </a:cubicBezTo>
                <a:cubicBezTo>
                  <a:pt x="169" y="45"/>
                  <a:pt x="169" y="45"/>
                  <a:pt x="169" y="45"/>
                </a:cubicBezTo>
                <a:lnTo>
                  <a:pt x="169" y="54"/>
                </a:lnTo>
                <a:close/>
                <a:moveTo>
                  <a:pt x="212" y="88"/>
                </a:moveTo>
                <a:cubicBezTo>
                  <a:pt x="204" y="88"/>
                  <a:pt x="198" y="94"/>
                  <a:pt x="198" y="102"/>
                </a:cubicBezTo>
                <a:cubicBezTo>
                  <a:pt x="198" y="110"/>
                  <a:pt x="204" y="116"/>
                  <a:pt x="212" y="116"/>
                </a:cubicBezTo>
                <a:cubicBezTo>
                  <a:pt x="220" y="116"/>
                  <a:pt x="226" y="110"/>
                  <a:pt x="226" y="102"/>
                </a:cubicBezTo>
                <a:cubicBezTo>
                  <a:pt x="226" y="94"/>
                  <a:pt x="220" y="88"/>
                  <a:pt x="212" y="88"/>
                </a:cubicBezTo>
                <a:close/>
                <a:moveTo>
                  <a:pt x="212" y="35"/>
                </a:moveTo>
                <a:cubicBezTo>
                  <a:pt x="204" y="35"/>
                  <a:pt x="198" y="42"/>
                  <a:pt x="198" y="50"/>
                </a:cubicBezTo>
                <a:cubicBezTo>
                  <a:pt x="198" y="57"/>
                  <a:pt x="204" y="64"/>
                  <a:pt x="212" y="64"/>
                </a:cubicBezTo>
                <a:cubicBezTo>
                  <a:pt x="220" y="64"/>
                  <a:pt x="226" y="57"/>
                  <a:pt x="226" y="50"/>
                </a:cubicBezTo>
                <a:cubicBezTo>
                  <a:pt x="226" y="42"/>
                  <a:pt x="220" y="35"/>
                  <a:pt x="212" y="35"/>
                </a:cubicBezTo>
                <a:close/>
                <a:moveTo>
                  <a:pt x="212" y="140"/>
                </a:moveTo>
                <a:cubicBezTo>
                  <a:pt x="204" y="140"/>
                  <a:pt x="198" y="147"/>
                  <a:pt x="198" y="155"/>
                </a:cubicBezTo>
                <a:cubicBezTo>
                  <a:pt x="198" y="162"/>
                  <a:pt x="204" y="169"/>
                  <a:pt x="212" y="169"/>
                </a:cubicBezTo>
                <a:cubicBezTo>
                  <a:pt x="220" y="169"/>
                  <a:pt x="226" y="162"/>
                  <a:pt x="226" y="155"/>
                </a:cubicBezTo>
                <a:cubicBezTo>
                  <a:pt x="226" y="147"/>
                  <a:pt x="220" y="140"/>
                  <a:pt x="212" y="140"/>
                </a:cubicBezTo>
                <a:close/>
                <a:moveTo>
                  <a:pt x="212" y="193"/>
                </a:moveTo>
                <a:cubicBezTo>
                  <a:pt x="204" y="193"/>
                  <a:pt x="198" y="199"/>
                  <a:pt x="198" y="207"/>
                </a:cubicBezTo>
                <a:cubicBezTo>
                  <a:pt x="198" y="215"/>
                  <a:pt x="204" y="221"/>
                  <a:pt x="212" y="221"/>
                </a:cubicBezTo>
                <a:cubicBezTo>
                  <a:pt x="220" y="221"/>
                  <a:pt x="226" y="215"/>
                  <a:pt x="226" y="207"/>
                </a:cubicBezTo>
                <a:cubicBezTo>
                  <a:pt x="226" y="199"/>
                  <a:pt x="220" y="193"/>
                  <a:pt x="212" y="193"/>
                </a:cubicBezTo>
                <a:close/>
                <a:moveTo>
                  <a:pt x="212" y="245"/>
                </a:moveTo>
                <a:cubicBezTo>
                  <a:pt x="204" y="245"/>
                  <a:pt x="198" y="252"/>
                  <a:pt x="198" y="259"/>
                </a:cubicBezTo>
                <a:cubicBezTo>
                  <a:pt x="198" y="267"/>
                  <a:pt x="204" y="274"/>
                  <a:pt x="212" y="274"/>
                </a:cubicBezTo>
                <a:cubicBezTo>
                  <a:pt x="220" y="274"/>
                  <a:pt x="226" y="267"/>
                  <a:pt x="226" y="259"/>
                </a:cubicBezTo>
                <a:cubicBezTo>
                  <a:pt x="226" y="252"/>
                  <a:pt x="220" y="245"/>
                  <a:pt x="212" y="245"/>
                </a:cubicBezTo>
                <a:close/>
                <a:moveTo>
                  <a:pt x="212" y="298"/>
                </a:moveTo>
                <a:cubicBezTo>
                  <a:pt x="204" y="298"/>
                  <a:pt x="198" y="304"/>
                  <a:pt x="198" y="312"/>
                </a:cubicBezTo>
                <a:cubicBezTo>
                  <a:pt x="198" y="320"/>
                  <a:pt x="204" y="326"/>
                  <a:pt x="212" y="326"/>
                </a:cubicBezTo>
                <a:cubicBezTo>
                  <a:pt x="220" y="326"/>
                  <a:pt x="226" y="320"/>
                  <a:pt x="226" y="312"/>
                </a:cubicBezTo>
                <a:cubicBezTo>
                  <a:pt x="226" y="304"/>
                  <a:pt x="220" y="298"/>
                  <a:pt x="212" y="298"/>
                </a:cubicBezTo>
                <a:close/>
                <a:moveTo>
                  <a:pt x="212" y="350"/>
                </a:moveTo>
                <a:cubicBezTo>
                  <a:pt x="204" y="350"/>
                  <a:pt x="198" y="356"/>
                  <a:pt x="198" y="364"/>
                </a:cubicBezTo>
                <a:cubicBezTo>
                  <a:pt x="198" y="372"/>
                  <a:pt x="204" y="379"/>
                  <a:pt x="212" y="379"/>
                </a:cubicBezTo>
                <a:cubicBezTo>
                  <a:pt x="220" y="379"/>
                  <a:pt x="226" y="372"/>
                  <a:pt x="226" y="364"/>
                </a:cubicBezTo>
                <a:cubicBezTo>
                  <a:pt x="226" y="356"/>
                  <a:pt x="220" y="350"/>
                  <a:pt x="212" y="350"/>
                </a:cubicBezTo>
                <a:close/>
                <a:moveTo>
                  <a:pt x="247" y="44"/>
                </a:moveTo>
                <a:cubicBezTo>
                  <a:pt x="251" y="44"/>
                  <a:pt x="255" y="41"/>
                  <a:pt x="255" y="36"/>
                </a:cubicBezTo>
                <a:cubicBezTo>
                  <a:pt x="255" y="16"/>
                  <a:pt x="255" y="16"/>
                  <a:pt x="255" y="16"/>
                </a:cubicBezTo>
                <a:cubicBezTo>
                  <a:pt x="255" y="7"/>
                  <a:pt x="248" y="0"/>
                  <a:pt x="23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7" y="0"/>
                  <a:pt x="0" y="7"/>
                  <a:pt x="0" y="16"/>
                </a:cubicBezTo>
                <a:cubicBezTo>
                  <a:pt x="0" y="396"/>
                  <a:pt x="0" y="396"/>
                  <a:pt x="0" y="396"/>
                </a:cubicBezTo>
                <a:cubicBezTo>
                  <a:pt x="0" y="405"/>
                  <a:pt x="7" y="412"/>
                  <a:pt x="16" y="412"/>
                </a:cubicBezTo>
                <a:cubicBezTo>
                  <a:pt x="239" y="412"/>
                  <a:pt x="239" y="412"/>
                  <a:pt x="239" y="412"/>
                </a:cubicBezTo>
                <a:cubicBezTo>
                  <a:pt x="248" y="412"/>
                  <a:pt x="255" y="405"/>
                  <a:pt x="255" y="396"/>
                </a:cubicBezTo>
                <a:cubicBezTo>
                  <a:pt x="255" y="60"/>
                  <a:pt x="255" y="60"/>
                  <a:pt x="255" y="60"/>
                </a:cubicBezTo>
                <a:cubicBezTo>
                  <a:pt x="255" y="56"/>
                  <a:pt x="251" y="52"/>
                  <a:pt x="247" y="52"/>
                </a:cubicBezTo>
                <a:cubicBezTo>
                  <a:pt x="242" y="52"/>
                  <a:pt x="239" y="56"/>
                  <a:pt x="239" y="60"/>
                </a:cubicBezTo>
                <a:cubicBezTo>
                  <a:pt x="239" y="396"/>
                  <a:pt x="239" y="396"/>
                  <a:pt x="239" y="396"/>
                </a:cubicBezTo>
                <a:cubicBezTo>
                  <a:pt x="16" y="396"/>
                  <a:pt x="16" y="396"/>
                  <a:pt x="16" y="396"/>
                </a:cubicBezTo>
                <a:cubicBezTo>
                  <a:pt x="16" y="396"/>
                  <a:pt x="16" y="396"/>
                  <a:pt x="16" y="396"/>
                </a:cubicBezTo>
                <a:cubicBezTo>
                  <a:pt x="16" y="16"/>
                  <a:pt x="16" y="16"/>
                  <a:pt x="16" y="16"/>
                </a:cubicBezTo>
                <a:cubicBezTo>
                  <a:pt x="16" y="16"/>
                  <a:pt x="16" y="16"/>
                  <a:pt x="16" y="16"/>
                </a:cubicBezTo>
                <a:cubicBezTo>
                  <a:pt x="239" y="16"/>
                  <a:pt x="239" y="16"/>
                  <a:pt x="239" y="16"/>
                </a:cubicBezTo>
                <a:cubicBezTo>
                  <a:pt x="239" y="36"/>
                  <a:pt x="239" y="36"/>
                  <a:pt x="239" y="36"/>
                </a:cubicBezTo>
                <a:cubicBezTo>
                  <a:pt x="239" y="41"/>
                  <a:pt x="242" y="44"/>
                  <a:pt x="247" y="44"/>
                </a:cubicBezTo>
                <a:close/>
              </a:path>
            </a:pathLst>
          </a:custGeom>
          <a:solidFill>
            <a:srgbClr val="5858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179" name="AutoShape 50"/>
          <p:cNvSpPr>
            <a:spLocks noChangeArrowheads="1"/>
          </p:cNvSpPr>
          <p:nvPr/>
        </p:nvSpPr>
        <p:spPr bwMode="auto">
          <a:xfrm>
            <a:off x="5089525" y="3716338"/>
            <a:ext cx="1512888" cy="2089150"/>
          </a:xfrm>
          <a:prstGeom prst="roundRect">
            <a:avLst>
              <a:gd name="adj" fmla="val 6926"/>
            </a:avLst>
          </a:prstGeom>
          <a:noFill/>
          <a:ln w="19050" algn="ctr">
            <a:solidFill>
              <a:schemeClr val="tx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1838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6180" name="Group 51"/>
          <p:cNvGrpSpPr>
            <a:grpSpLocks/>
          </p:cNvGrpSpPr>
          <p:nvPr/>
        </p:nvGrpSpPr>
        <p:grpSpPr bwMode="auto">
          <a:xfrm>
            <a:off x="5232400" y="5229261"/>
            <a:ext cx="288925" cy="288925"/>
            <a:chOff x="710" y="2614"/>
            <a:chExt cx="272" cy="272"/>
          </a:xfrm>
        </p:grpSpPr>
        <p:sp>
          <p:nvSpPr>
            <p:cNvPr id="6296" name="AutoShape 52"/>
            <p:cNvSpPr>
              <a:spLocks noChangeArrowheads="1"/>
            </p:cNvSpPr>
            <p:nvPr/>
          </p:nvSpPr>
          <p:spPr bwMode="auto">
            <a:xfrm>
              <a:off x="710" y="2614"/>
              <a:ext cx="272" cy="272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chemeClr val="tx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1838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6297" name="Group 53"/>
            <p:cNvGrpSpPr>
              <a:grpSpLocks/>
            </p:cNvGrpSpPr>
            <p:nvPr/>
          </p:nvGrpSpPr>
          <p:grpSpPr bwMode="auto">
            <a:xfrm>
              <a:off x="756" y="2659"/>
              <a:ext cx="182" cy="181"/>
              <a:chOff x="1209" y="2614"/>
              <a:chExt cx="182" cy="181"/>
            </a:xfrm>
          </p:grpSpPr>
          <p:sp>
            <p:nvSpPr>
              <p:cNvPr id="6304" name="Line 54"/>
              <p:cNvSpPr>
                <a:spLocks noChangeShapeType="1"/>
              </p:cNvSpPr>
              <p:nvPr/>
            </p:nvSpPr>
            <p:spPr bwMode="auto">
              <a:xfrm>
                <a:off x="1209" y="2614"/>
                <a:ext cx="182" cy="181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05" name="Line 55"/>
              <p:cNvSpPr>
                <a:spLocks noChangeShapeType="1"/>
              </p:cNvSpPr>
              <p:nvPr/>
            </p:nvSpPr>
            <p:spPr bwMode="auto">
              <a:xfrm>
                <a:off x="1209" y="2614"/>
                <a:ext cx="46" cy="0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06" name="Line 56"/>
              <p:cNvSpPr>
                <a:spLocks noChangeShapeType="1"/>
              </p:cNvSpPr>
              <p:nvPr/>
            </p:nvSpPr>
            <p:spPr bwMode="auto">
              <a:xfrm>
                <a:off x="1209" y="2614"/>
                <a:ext cx="0" cy="4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07" name="Line 57"/>
              <p:cNvSpPr>
                <a:spLocks noChangeShapeType="1"/>
              </p:cNvSpPr>
              <p:nvPr/>
            </p:nvSpPr>
            <p:spPr bwMode="auto">
              <a:xfrm>
                <a:off x="1345" y="2795"/>
                <a:ext cx="46" cy="0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08" name="Line 58"/>
              <p:cNvSpPr>
                <a:spLocks noChangeShapeType="1"/>
              </p:cNvSpPr>
              <p:nvPr/>
            </p:nvSpPr>
            <p:spPr bwMode="auto">
              <a:xfrm>
                <a:off x="1391" y="2750"/>
                <a:ext cx="0" cy="4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6298" name="Group 59"/>
            <p:cNvGrpSpPr>
              <a:grpSpLocks/>
            </p:cNvGrpSpPr>
            <p:nvPr/>
          </p:nvGrpSpPr>
          <p:grpSpPr bwMode="auto">
            <a:xfrm rot="-5400000">
              <a:off x="756" y="2659"/>
              <a:ext cx="182" cy="181"/>
              <a:chOff x="1209" y="2614"/>
              <a:chExt cx="182" cy="181"/>
            </a:xfrm>
          </p:grpSpPr>
          <p:sp>
            <p:nvSpPr>
              <p:cNvPr id="6299" name="Line 60"/>
              <p:cNvSpPr>
                <a:spLocks noChangeShapeType="1"/>
              </p:cNvSpPr>
              <p:nvPr/>
            </p:nvSpPr>
            <p:spPr bwMode="auto">
              <a:xfrm>
                <a:off x="1209" y="2614"/>
                <a:ext cx="182" cy="181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00" name="Line 61"/>
              <p:cNvSpPr>
                <a:spLocks noChangeShapeType="1"/>
              </p:cNvSpPr>
              <p:nvPr/>
            </p:nvSpPr>
            <p:spPr bwMode="auto">
              <a:xfrm>
                <a:off x="1209" y="2614"/>
                <a:ext cx="46" cy="0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01" name="Line 62"/>
              <p:cNvSpPr>
                <a:spLocks noChangeShapeType="1"/>
              </p:cNvSpPr>
              <p:nvPr/>
            </p:nvSpPr>
            <p:spPr bwMode="auto">
              <a:xfrm>
                <a:off x="1209" y="2614"/>
                <a:ext cx="0" cy="4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02" name="Line 63"/>
              <p:cNvSpPr>
                <a:spLocks noChangeShapeType="1"/>
              </p:cNvSpPr>
              <p:nvPr/>
            </p:nvSpPr>
            <p:spPr bwMode="auto">
              <a:xfrm>
                <a:off x="1345" y="2795"/>
                <a:ext cx="46" cy="0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03" name="Line 64"/>
              <p:cNvSpPr>
                <a:spLocks noChangeShapeType="1"/>
              </p:cNvSpPr>
              <p:nvPr/>
            </p:nvSpPr>
            <p:spPr bwMode="auto">
              <a:xfrm>
                <a:off x="1391" y="2750"/>
                <a:ext cx="0" cy="4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grpSp>
        <p:nvGrpSpPr>
          <p:cNvPr id="6181" name="Group 65"/>
          <p:cNvGrpSpPr>
            <a:grpSpLocks/>
          </p:cNvGrpSpPr>
          <p:nvPr/>
        </p:nvGrpSpPr>
        <p:grpSpPr bwMode="auto">
          <a:xfrm>
            <a:off x="5592764" y="5229261"/>
            <a:ext cx="288925" cy="288925"/>
            <a:chOff x="710" y="2614"/>
            <a:chExt cx="272" cy="272"/>
          </a:xfrm>
        </p:grpSpPr>
        <p:sp>
          <p:nvSpPr>
            <p:cNvPr id="6283" name="AutoShape 66"/>
            <p:cNvSpPr>
              <a:spLocks noChangeArrowheads="1"/>
            </p:cNvSpPr>
            <p:nvPr/>
          </p:nvSpPr>
          <p:spPr bwMode="auto">
            <a:xfrm>
              <a:off x="710" y="2614"/>
              <a:ext cx="272" cy="272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chemeClr val="tx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1838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6284" name="Group 67"/>
            <p:cNvGrpSpPr>
              <a:grpSpLocks/>
            </p:cNvGrpSpPr>
            <p:nvPr/>
          </p:nvGrpSpPr>
          <p:grpSpPr bwMode="auto">
            <a:xfrm>
              <a:off x="756" y="2659"/>
              <a:ext cx="182" cy="181"/>
              <a:chOff x="1209" y="2614"/>
              <a:chExt cx="182" cy="181"/>
            </a:xfrm>
          </p:grpSpPr>
          <p:sp>
            <p:nvSpPr>
              <p:cNvPr id="6291" name="Line 68"/>
              <p:cNvSpPr>
                <a:spLocks noChangeShapeType="1"/>
              </p:cNvSpPr>
              <p:nvPr/>
            </p:nvSpPr>
            <p:spPr bwMode="auto">
              <a:xfrm>
                <a:off x="1209" y="2614"/>
                <a:ext cx="182" cy="181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92" name="Line 69"/>
              <p:cNvSpPr>
                <a:spLocks noChangeShapeType="1"/>
              </p:cNvSpPr>
              <p:nvPr/>
            </p:nvSpPr>
            <p:spPr bwMode="auto">
              <a:xfrm>
                <a:off x="1209" y="2614"/>
                <a:ext cx="46" cy="0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93" name="Line 70"/>
              <p:cNvSpPr>
                <a:spLocks noChangeShapeType="1"/>
              </p:cNvSpPr>
              <p:nvPr/>
            </p:nvSpPr>
            <p:spPr bwMode="auto">
              <a:xfrm>
                <a:off x="1209" y="2614"/>
                <a:ext cx="0" cy="4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94" name="Line 71"/>
              <p:cNvSpPr>
                <a:spLocks noChangeShapeType="1"/>
              </p:cNvSpPr>
              <p:nvPr/>
            </p:nvSpPr>
            <p:spPr bwMode="auto">
              <a:xfrm>
                <a:off x="1345" y="2795"/>
                <a:ext cx="46" cy="0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95" name="Line 72"/>
              <p:cNvSpPr>
                <a:spLocks noChangeShapeType="1"/>
              </p:cNvSpPr>
              <p:nvPr/>
            </p:nvSpPr>
            <p:spPr bwMode="auto">
              <a:xfrm>
                <a:off x="1391" y="2750"/>
                <a:ext cx="0" cy="4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6285" name="Group 73"/>
            <p:cNvGrpSpPr>
              <a:grpSpLocks/>
            </p:cNvGrpSpPr>
            <p:nvPr/>
          </p:nvGrpSpPr>
          <p:grpSpPr bwMode="auto">
            <a:xfrm rot="-5400000">
              <a:off x="756" y="2659"/>
              <a:ext cx="182" cy="181"/>
              <a:chOff x="1209" y="2614"/>
              <a:chExt cx="182" cy="181"/>
            </a:xfrm>
          </p:grpSpPr>
          <p:sp>
            <p:nvSpPr>
              <p:cNvPr id="6286" name="Line 74"/>
              <p:cNvSpPr>
                <a:spLocks noChangeShapeType="1"/>
              </p:cNvSpPr>
              <p:nvPr/>
            </p:nvSpPr>
            <p:spPr bwMode="auto">
              <a:xfrm>
                <a:off x="1209" y="2614"/>
                <a:ext cx="182" cy="181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87" name="Line 75"/>
              <p:cNvSpPr>
                <a:spLocks noChangeShapeType="1"/>
              </p:cNvSpPr>
              <p:nvPr/>
            </p:nvSpPr>
            <p:spPr bwMode="auto">
              <a:xfrm>
                <a:off x="1209" y="2614"/>
                <a:ext cx="46" cy="0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88" name="Line 76"/>
              <p:cNvSpPr>
                <a:spLocks noChangeShapeType="1"/>
              </p:cNvSpPr>
              <p:nvPr/>
            </p:nvSpPr>
            <p:spPr bwMode="auto">
              <a:xfrm>
                <a:off x="1209" y="2614"/>
                <a:ext cx="0" cy="4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89" name="Line 77"/>
              <p:cNvSpPr>
                <a:spLocks noChangeShapeType="1"/>
              </p:cNvSpPr>
              <p:nvPr/>
            </p:nvSpPr>
            <p:spPr bwMode="auto">
              <a:xfrm>
                <a:off x="1345" y="2795"/>
                <a:ext cx="46" cy="0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90" name="Line 78"/>
              <p:cNvSpPr>
                <a:spLocks noChangeShapeType="1"/>
              </p:cNvSpPr>
              <p:nvPr/>
            </p:nvSpPr>
            <p:spPr bwMode="auto">
              <a:xfrm>
                <a:off x="1391" y="2750"/>
                <a:ext cx="0" cy="4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grpSp>
        <p:nvGrpSpPr>
          <p:cNvPr id="6182" name="Group 79"/>
          <p:cNvGrpSpPr>
            <a:grpSpLocks/>
          </p:cNvGrpSpPr>
          <p:nvPr/>
        </p:nvGrpSpPr>
        <p:grpSpPr bwMode="auto">
          <a:xfrm>
            <a:off x="6169025" y="5229261"/>
            <a:ext cx="288925" cy="288925"/>
            <a:chOff x="710" y="2614"/>
            <a:chExt cx="272" cy="272"/>
          </a:xfrm>
        </p:grpSpPr>
        <p:sp>
          <p:nvSpPr>
            <p:cNvPr id="6270" name="AutoShape 80"/>
            <p:cNvSpPr>
              <a:spLocks noChangeArrowheads="1"/>
            </p:cNvSpPr>
            <p:nvPr/>
          </p:nvSpPr>
          <p:spPr bwMode="auto">
            <a:xfrm>
              <a:off x="710" y="2614"/>
              <a:ext cx="272" cy="272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chemeClr val="tx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1838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6271" name="Group 81"/>
            <p:cNvGrpSpPr>
              <a:grpSpLocks/>
            </p:cNvGrpSpPr>
            <p:nvPr/>
          </p:nvGrpSpPr>
          <p:grpSpPr bwMode="auto">
            <a:xfrm>
              <a:off x="756" y="2659"/>
              <a:ext cx="182" cy="181"/>
              <a:chOff x="1209" y="2614"/>
              <a:chExt cx="182" cy="181"/>
            </a:xfrm>
          </p:grpSpPr>
          <p:sp>
            <p:nvSpPr>
              <p:cNvPr id="6278" name="Line 82"/>
              <p:cNvSpPr>
                <a:spLocks noChangeShapeType="1"/>
              </p:cNvSpPr>
              <p:nvPr/>
            </p:nvSpPr>
            <p:spPr bwMode="auto">
              <a:xfrm>
                <a:off x="1209" y="2614"/>
                <a:ext cx="182" cy="181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79" name="Line 83"/>
              <p:cNvSpPr>
                <a:spLocks noChangeShapeType="1"/>
              </p:cNvSpPr>
              <p:nvPr/>
            </p:nvSpPr>
            <p:spPr bwMode="auto">
              <a:xfrm>
                <a:off x="1209" y="2614"/>
                <a:ext cx="46" cy="0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80" name="Line 84"/>
              <p:cNvSpPr>
                <a:spLocks noChangeShapeType="1"/>
              </p:cNvSpPr>
              <p:nvPr/>
            </p:nvSpPr>
            <p:spPr bwMode="auto">
              <a:xfrm>
                <a:off x="1209" y="2614"/>
                <a:ext cx="0" cy="4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81" name="Line 85"/>
              <p:cNvSpPr>
                <a:spLocks noChangeShapeType="1"/>
              </p:cNvSpPr>
              <p:nvPr/>
            </p:nvSpPr>
            <p:spPr bwMode="auto">
              <a:xfrm>
                <a:off x="1345" y="2795"/>
                <a:ext cx="46" cy="0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82" name="Line 86"/>
              <p:cNvSpPr>
                <a:spLocks noChangeShapeType="1"/>
              </p:cNvSpPr>
              <p:nvPr/>
            </p:nvSpPr>
            <p:spPr bwMode="auto">
              <a:xfrm>
                <a:off x="1391" y="2750"/>
                <a:ext cx="0" cy="4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6272" name="Group 87"/>
            <p:cNvGrpSpPr>
              <a:grpSpLocks/>
            </p:cNvGrpSpPr>
            <p:nvPr/>
          </p:nvGrpSpPr>
          <p:grpSpPr bwMode="auto">
            <a:xfrm rot="-5400000">
              <a:off x="756" y="2659"/>
              <a:ext cx="182" cy="181"/>
              <a:chOff x="1209" y="2614"/>
              <a:chExt cx="182" cy="181"/>
            </a:xfrm>
          </p:grpSpPr>
          <p:sp>
            <p:nvSpPr>
              <p:cNvPr id="6273" name="Line 88"/>
              <p:cNvSpPr>
                <a:spLocks noChangeShapeType="1"/>
              </p:cNvSpPr>
              <p:nvPr/>
            </p:nvSpPr>
            <p:spPr bwMode="auto">
              <a:xfrm>
                <a:off x="1209" y="2614"/>
                <a:ext cx="182" cy="181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74" name="Line 89"/>
              <p:cNvSpPr>
                <a:spLocks noChangeShapeType="1"/>
              </p:cNvSpPr>
              <p:nvPr/>
            </p:nvSpPr>
            <p:spPr bwMode="auto">
              <a:xfrm>
                <a:off x="1209" y="2614"/>
                <a:ext cx="46" cy="0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75" name="Line 90"/>
              <p:cNvSpPr>
                <a:spLocks noChangeShapeType="1"/>
              </p:cNvSpPr>
              <p:nvPr/>
            </p:nvSpPr>
            <p:spPr bwMode="auto">
              <a:xfrm>
                <a:off x="1209" y="2614"/>
                <a:ext cx="0" cy="4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76" name="Line 91"/>
              <p:cNvSpPr>
                <a:spLocks noChangeShapeType="1"/>
              </p:cNvSpPr>
              <p:nvPr/>
            </p:nvSpPr>
            <p:spPr bwMode="auto">
              <a:xfrm>
                <a:off x="1345" y="2795"/>
                <a:ext cx="46" cy="0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77" name="Line 92"/>
              <p:cNvSpPr>
                <a:spLocks noChangeShapeType="1"/>
              </p:cNvSpPr>
              <p:nvPr/>
            </p:nvSpPr>
            <p:spPr bwMode="auto">
              <a:xfrm>
                <a:off x="1391" y="2750"/>
                <a:ext cx="0" cy="4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sp>
        <p:nvSpPr>
          <p:cNvPr id="6183" name="Line 93"/>
          <p:cNvSpPr>
            <a:spLocks noChangeShapeType="1"/>
          </p:cNvSpPr>
          <p:nvPr/>
        </p:nvSpPr>
        <p:spPr bwMode="auto">
          <a:xfrm>
            <a:off x="5910263" y="5373688"/>
            <a:ext cx="215900" cy="0"/>
          </a:xfrm>
          <a:prstGeom prst="line">
            <a:avLst/>
          </a:prstGeom>
          <a:noFill/>
          <a:ln w="28575">
            <a:solidFill>
              <a:schemeClr val="tx2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1838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25374" name="Text Box 94"/>
          <p:cNvSpPr txBox="1">
            <a:spLocks noChangeArrowheads="1"/>
          </p:cNvSpPr>
          <p:nvPr/>
        </p:nvSpPr>
        <p:spPr bwMode="auto">
          <a:xfrm>
            <a:off x="5314951" y="5464210"/>
            <a:ext cx="1079142" cy="307777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tx2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400">
                <a:solidFill>
                  <a:schemeClr val="tx2"/>
                </a:solidFill>
                <a:ea typeface="ＭＳ Ｐゴシック" pitchFamily="34" charset="-128"/>
              </a:rPr>
              <a:t>Forwarding</a:t>
            </a:r>
          </a:p>
        </p:txBody>
      </p:sp>
      <p:sp>
        <p:nvSpPr>
          <p:cNvPr id="6185" name="Freeform 7"/>
          <p:cNvSpPr>
            <a:spLocks noChangeAspect="1" noEditPoints="1"/>
          </p:cNvSpPr>
          <p:nvPr/>
        </p:nvSpPr>
        <p:spPr bwMode="auto">
          <a:xfrm rot="5400000">
            <a:off x="5094311" y="4719655"/>
            <a:ext cx="360363" cy="84139"/>
          </a:xfrm>
          <a:custGeom>
            <a:avLst/>
            <a:gdLst>
              <a:gd name="T0" fmla="*/ 2147483647 w 470"/>
              <a:gd name="T1" fmla="*/ 2147483647 h 110"/>
              <a:gd name="T2" fmla="*/ 2147483647 w 470"/>
              <a:gd name="T3" fmla="*/ 2147483647 h 110"/>
              <a:gd name="T4" fmla="*/ 2147483647 w 470"/>
              <a:gd name="T5" fmla="*/ 2147483647 h 110"/>
              <a:gd name="T6" fmla="*/ 2147483647 w 470"/>
              <a:gd name="T7" fmla="*/ 2147483647 h 110"/>
              <a:gd name="T8" fmla="*/ 2147483647 w 470"/>
              <a:gd name="T9" fmla="*/ 2147483647 h 110"/>
              <a:gd name="T10" fmla="*/ 2147483647 w 470"/>
              <a:gd name="T11" fmla="*/ 2147483647 h 110"/>
              <a:gd name="T12" fmla="*/ 2147483647 w 470"/>
              <a:gd name="T13" fmla="*/ 2147483647 h 110"/>
              <a:gd name="T14" fmla="*/ 2147483647 w 470"/>
              <a:gd name="T15" fmla="*/ 2147483647 h 110"/>
              <a:gd name="T16" fmla="*/ 2147483647 w 470"/>
              <a:gd name="T17" fmla="*/ 2147483647 h 110"/>
              <a:gd name="T18" fmla="*/ 2147483647 w 470"/>
              <a:gd name="T19" fmla="*/ 2147483647 h 110"/>
              <a:gd name="T20" fmla="*/ 2147483647 w 470"/>
              <a:gd name="T21" fmla="*/ 2147483647 h 110"/>
              <a:gd name="T22" fmla="*/ 2147483647 w 470"/>
              <a:gd name="T23" fmla="*/ 0 h 110"/>
              <a:gd name="T24" fmla="*/ 2147483647 w 470"/>
              <a:gd name="T25" fmla="*/ 0 h 110"/>
              <a:gd name="T26" fmla="*/ 2147483647 w 470"/>
              <a:gd name="T27" fmla="*/ 2147483647 h 110"/>
              <a:gd name="T28" fmla="*/ 2147483647 w 470"/>
              <a:gd name="T29" fmla="*/ 2147483647 h 110"/>
              <a:gd name="T30" fmla="*/ 2147483647 w 470"/>
              <a:gd name="T31" fmla="*/ 2147483647 h 110"/>
              <a:gd name="T32" fmla="*/ 2147483647 w 470"/>
              <a:gd name="T33" fmla="*/ 2147483647 h 110"/>
              <a:gd name="T34" fmla="*/ 2147483647 w 470"/>
              <a:gd name="T35" fmla="*/ 2147483647 h 110"/>
              <a:gd name="T36" fmla="*/ 2147483647 w 470"/>
              <a:gd name="T37" fmla="*/ 2147483647 h 110"/>
              <a:gd name="T38" fmla="*/ 2147483647 w 470"/>
              <a:gd name="T39" fmla="*/ 2147483647 h 110"/>
              <a:gd name="T40" fmla="*/ 2147483647 w 470"/>
              <a:gd name="T41" fmla="*/ 2147483647 h 110"/>
              <a:gd name="T42" fmla="*/ 2147483647 w 470"/>
              <a:gd name="T43" fmla="*/ 0 h 110"/>
              <a:gd name="T44" fmla="*/ 2147483647 w 470"/>
              <a:gd name="T45" fmla="*/ 0 h 110"/>
              <a:gd name="T46" fmla="*/ 0 w 470"/>
              <a:gd name="T47" fmla="*/ 2147483647 h 110"/>
              <a:gd name="T48" fmla="*/ 0 w 470"/>
              <a:gd name="T49" fmla="*/ 2147483647 h 110"/>
              <a:gd name="T50" fmla="*/ 2147483647 w 470"/>
              <a:gd name="T51" fmla="*/ 2147483647 h 110"/>
              <a:gd name="T52" fmla="*/ 2147483647 w 470"/>
              <a:gd name="T53" fmla="*/ 2147483647 h 110"/>
              <a:gd name="T54" fmla="*/ 2147483647 w 470"/>
              <a:gd name="T55" fmla="*/ 2147483647 h 110"/>
              <a:gd name="T56" fmla="*/ 2147483647 w 470"/>
              <a:gd name="T57" fmla="*/ 2147483647 h 110"/>
              <a:gd name="T58" fmla="*/ 2147483647 w 470"/>
              <a:gd name="T59" fmla="*/ 2147483647 h 110"/>
              <a:gd name="T60" fmla="*/ 2147483647 w 470"/>
              <a:gd name="T61" fmla="*/ 2147483647 h 110"/>
              <a:gd name="T62" fmla="*/ 2147483647 w 470"/>
              <a:gd name="T63" fmla="*/ 2147483647 h 110"/>
              <a:gd name="T64" fmla="*/ 2147483647 w 470"/>
              <a:gd name="T65" fmla="*/ 2147483647 h 110"/>
              <a:gd name="T66" fmla="*/ 2147483647 w 470"/>
              <a:gd name="T67" fmla="*/ 2147483647 h 110"/>
              <a:gd name="T68" fmla="*/ 2147483647 w 470"/>
              <a:gd name="T69" fmla="*/ 2147483647 h 110"/>
              <a:gd name="T70" fmla="*/ 2147483647 w 470"/>
              <a:gd name="T71" fmla="*/ 2147483647 h 110"/>
              <a:gd name="T72" fmla="*/ 2147483647 w 470"/>
              <a:gd name="T73" fmla="*/ 2147483647 h 110"/>
              <a:gd name="T74" fmla="*/ 2147483647 w 470"/>
              <a:gd name="T75" fmla="*/ 2147483647 h 110"/>
              <a:gd name="T76" fmla="*/ 2147483647 w 470"/>
              <a:gd name="T77" fmla="*/ 2147483647 h 110"/>
              <a:gd name="T78" fmla="*/ 2147483647 w 470"/>
              <a:gd name="T79" fmla="*/ 2147483647 h 110"/>
              <a:gd name="T80" fmla="*/ 2147483647 w 470"/>
              <a:gd name="T81" fmla="*/ 2147483647 h 110"/>
              <a:gd name="T82" fmla="*/ 2147483647 w 470"/>
              <a:gd name="T83" fmla="*/ 2147483647 h 110"/>
              <a:gd name="T84" fmla="*/ 2147483647 w 470"/>
              <a:gd name="T85" fmla="*/ 2147483647 h 110"/>
              <a:gd name="T86" fmla="*/ 2147483647 w 470"/>
              <a:gd name="T87" fmla="*/ 2147483647 h 110"/>
              <a:gd name="T88" fmla="*/ 2147483647 w 470"/>
              <a:gd name="T89" fmla="*/ 2147483647 h 110"/>
              <a:gd name="T90" fmla="*/ 2147483647 w 470"/>
              <a:gd name="T91" fmla="*/ 2147483647 h 110"/>
              <a:gd name="T92" fmla="*/ 2147483647 w 470"/>
              <a:gd name="T93" fmla="*/ 2147483647 h 110"/>
              <a:gd name="T94" fmla="*/ 2147483647 w 470"/>
              <a:gd name="T95" fmla="*/ 2147483647 h 110"/>
              <a:gd name="T96" fmla="*/ 2147483647 w 470"/>
              <a:gd name="T97" fmla="*/ 2147483647 h 110"/>
              <a:gd name="T98" fmla="*/ 2147483647 w 470"/>
              <a:gd name="T99" fmla="*/ 2147483647 h 110"/>
              <a:gd name="T100" fmla="*/ 2147483647 w 470"/>
              <a:gd name="T101" fmla="*/ 2147483647 h 110"/>
              <a:gd name="T102" fmla="*/ 2147483647 w 470"/>
              <a:gd name="T103" fmla="*/ 2147483647 h 110"/>
              <a:gd name="T104" fmla="*/ 2147483647 w 470"/>
              <a:gd name="T105" fmla="*/ 2147483647 h 110"/>
              <a:gd name="T106" fmla="*/ 2147483647 w 470"/>
              <a:gd name="T107" fmla="*/ 2147483647 h 110"/>
              <a:gd name="T108" fmla="*/ 2147483647 w 470"/>
              <a:gd name="T109" fmla="*/ 2147483647 h 110"/>
              <a:gd name="T110" fmla="*/ 2147483647 w 470"/>
              <a:gd name="T111" fmla="*/ 2147483647 h 110"/>
              <a:gd name="T112" fmla="*/ 2147483647 w 470"/>
              <a:gd name="T113" fmla="*/ 2147483647 h 110"/>
              <a:gd name="T114" fmla="*/ 2147483647 w 470"/>
              <a:gd name="T115" fmla="*/ 2147483647 h 110"/>
              <a:gd name="T116" fmla="*/ 2147483647 w 470"/>
              <a:gd name="T117" fmla="*/ 2147483647 h 110"/>
              <a:gd name="T118" fmla="*/ 2147483647 w 470"/>
              <a:gd name="T119" fmla="*/ 2147483647 h 11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470"/>
              <a:gd name="T181" fmla="*/ 0 h 110"/>
              <a:gd name="T182" fmla="*/ 470 w 470"/>
              <a:gd name="T183" fmla="*/ 110 h 110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470" h="110">
                <a:moveTo>
                  <a:pt x="398" y="72"/>
                </a:moveTo>
                <a:cubicBezTo>
                  <a:pt x="402" y="72"/>
                  <a:pt x="406" y="69"/>
                  <a:pt x="406" y="64"/>
                </a:cubicBezTo>
                <a:cubicBezTo>
                  <a:pt x="406" y="60"/>
                  <a:pt x="402" y="56"/>
                  <a:pt x="398" y="56"/>
                </a:cubicBezTo>
                <a:cubicBezTo>
                  <a:pt x="393" y="56"/>
                  <a:pt x="390" y="60"/>
                  <a:pt x="390" y="64"/>
                </a:cubicBezTo>
                <a:cubicBezTo>
                  <a:pt x="390" y="69"/>
                  <a:pt x="393" y="72"/>
                  <a:pt x="398" y="72"/>
                </a:cubicBezTo>
                <a:close/>
                <a:moveTo>
                  <a:pt x="398" y="49"/>
                </a:moveTo>
                <a:cubicBezTo>
                  <a:pt x="402" y="49"/>
                  <a:pt x="406" y="45"/>
                  <a:pt x="406" y="40"/>
                </a:cubicBezTo>
                <a:cubicBezTo>
                  <a:pt x="406" y="36"/>
                  <a:pt x="402" y="32"/>
                  <a:pt x="398" y="32"/>
                </a:cubicBezTo>
                <a:cubicBezTo>
                  <a:pt x="393" y="32"/>
                  <a:pt x="390" y="36"/>
                  <a:pt x="390" y="40"/>
                </a:cubicBezTo>
                <a:cubicBezTo>
                  <a:pt x="390" y="45"/>
                  <a:pt x="393" y="49"/>
                  <a:pt x="398" y="49"/>
                </a:cubicBezTo>
                <a:close/>
                <a:moveTo>
                  <a:pt x="470" y="19"/>
                </a:moveTo>
                <a:cubicBezTo>
                  <a:pt x="470" y="9"/>
                  <a:pt x="461" y="0"/>
                  <a:pt x="451" y="0"/>
                </a:cubicBezTo>
                <a:cubicBezTo>
                  <a:pt x="408" y="0"/>
                  <a:pt x="408" y="0"/>
                  <a:pt x="408" y="0"/>
                </a:cubicBezTo>
                <a:cubicBezTo>
                  <a:pt x="403" y="0"/>
                  <a:pt x="400" y="4"/>
                  <a:pt x="400" y="8"/>
                </a:cubicBezTo>
                <a:cubicBezTo>
                  <a:pt x="400" y="12"/>
                  <a:pt x="403" y="16"/>
                  <a:pt x="408" y="16"/>
                </a:cubicBezTo>
                <a:cubicBezTo>
                  <a:pt x="423" y="16"/>
                  <a:pt x="423" y="16"/>
                  <a:pt x="423" y="16"/>
                </a:cubicBezTo>
                <a:cubicBezTo>
                  <a:pt x="423" y="94"/>
                  <a:pt x="423" y="94"/>
                  <a:pt x="423" y="94"/>
                </a:cubicBezTo>
                <a:cubicBezTo>
                  <a:pt x="47" y="94"/>
                  <a:pt x="47" y="94"/>
                  <a:pt x="47" y="94"/>
                </a:cubicBezTo>
                <a:cubicBezTo>
                  <a:pt x="47" y="16"/>
                  <a:pt x="47" y="16"/>
                  <a:pt x="47" y="16"/>
                </a:cubicBezTo>
                <a:cubicBezTo>
                  <a:pt x="379" y="16"/>
                  <a:pt x="379" y="16"/>
                  <a:pt x="379" y="16"/>
                </a:cubicBezTo>
                <a:cubicBezTo>
                  <a:pt x="383" y="16"/>
                  <a:pt x="386" y="12"/>
                  <a:pt x="386" y="8"/>
                </a:cubicBezTo>
                <a:cubicBezTo>
                  <a:pt x="386" y="4"/>
                  <a:pt x="383" y="0"/>
                  <a:pt x="379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9" y="0"/>
                  <a:pt x="0" y="9"/>
                  <a:pt x="0" y="19"/>
                </a:cubicBezTo>
                <a:cubicBezTo>
                  <a:pt x="0" y="91"/>
                  <a:pt x="0" y="91"/>
                  <a:pt x="0" y="91"/>
                </a:cubicBezTo>
                <a:cubicBezTo>
                  <a:pt x="0" y="101"/>
                  <a:pt x="9" y="110"/>
                  <a:pt x="19" y="110"/>
                </a:cubicBezTo>
                <a:cubicBezTo>
                  <a:pt x="451" y="110"/>
                  <a:pt x="451" y="110"/>
                  <a:pt x="451" y="110"/>
                </a:cubicBezTo>
                <a:cubicBezTo>
                  <a:pt x="461" y="110"/>
                  <a:pt x="470" y="101"/>
                  <a:pt x="470" y="91"/>
                </a:cubicBezTo>
                <a:cubicBezTo>
                  <a:pt x="470" y="34"/>
                  <a:pt x="470" y="34"/>
                  <a:pt x="470" y="34"/>
                </a:cubicBezTo>
                <a:lnTo>
                  <a:pt x="470" y="19"/>
                </a:lnTo>
                <a:close/>
                <a:moveTo>
                  <a:pt x="32" y="94"/>
                </a:moveTo>
                <a:cubicBezTo>
                  <a:pt x="19" y="94"/>
                  <a:pt x="19" y="94"/>
                  <a:pt x="19" y="94"/>
                </a:cubicBezTo>
                <a:cubicBezTo>
                  <a:pt x="17" y="94"/>
                  <a:pt x="15" y="93"/>
                  <a:pt x="15" y="91"/>
                </a:cubicBezTo>
                <a:cubicBezTo>
                  <a:pt x="15" y="19"/>
                  <a:pt x="15" y="19"/>
                  <a:pt x="15" y="19"/>
                </a:cubicBezTo>
                <a:cubicBezTo>
                  <a:pt x="15" y="17"/>
                  <a:pt x="17" y="16"/>
                  <a:pt x="19" y="16"/>
                </a:cubicBezTo>
                <a:cubicBezTo>
                  <a:pt x="32" y="16"/>
                  <a:pt x="32" y="16"/>
                  <a:pt x="32" y="16"/>
                </a:cubicBezTo>
                <a:lnTo>
                  <a:pt x="32" y="94"/>
                </a:lnTo>
                <a:close/>
                <a:moveTo>
                  <a:pt x="455" y="91"/>
                </a:moveTo>
                <a:cubicBezTo>
                  <a:pt x="455" y="92"/>
                  <a:pt x="453" y="94"/>
                  <a:pt x="451" y="94"/>
                </a:cubicBezTo>
                <a:cubicBezTo>
                  <a:pt x="451" y="94"/>
                  <a:pt x="451" y="94"/>
                  <a:pt x="451" y="94"/>
                </a:cubicBezTo>
                <a:cubicBezTo>
                  <a:pt x="438" y="94"/>
                  <a:pt x="438" y="94"/>
                  <a:pt x="438" y="94"/>
                </a:cubicBezTo>
                <a:cubicBezTo>
                  <a:pt x="438" y="16"/>
                  <a:pt x="438" y="16"/>
                  <a:pt x="438" y="16"/>
                </a:cubicBezTo>
                <a:cubicBezTo>
                  <a:pt x="451" y="16"/>
                  <a:pt x="451" y="16"/>
                  <a:pt x="451" y="16"/>
                </a:cubicBezTo>
                <a:cubicBezTo>
                  <a:pt x="451" y="16"/>
                  <a:pt x="451" y="16"/>
                  <a:pt x="451" y="16"/>
                </a:cubicBezTo>
                <a:cubicBezTo>
                  <a:pt x="451" y="16"/>
                  <a:pt x="451" y="16"/>
                  <a:pt x="451" y="16"/>
                </a:cubicBezTo>
                <a:cubicBezTo>
                  <a:pt x="451" y="16"/>
                  <a:pt x="451" y="16"/>
                  <a:pt x="451" y="16"/>
                </a:cubicBezTo>
                <a:cubicBezTo>
                  <a:pt x="451" y="16"/>
                  <a:pt x="451" y="16"/>
                  <a:pt x="451" y="16"/>
                </a:cubicBezTo>
                <a:cubicBezTo>
                  <a:pt x="453" y="16"/>
                  <a:pt x="455" y="18"/>
                  <a:pt x="455" y="19"/>
                </a:cubicBezTo>
                <a:cubicBezTo>
                  <a:pt x="455" y="34"/>
                  <a:pt x="455" y="34"/>
                  <a:pt x="455" y="34"/>
                </a:cubicBezTo>
                <a:cubicBezTo>
                  <a:pt x="455" y="34"/>
                  <a:pt x="455" y="34"/>
                  <a:pt x="455" y="34"/>
                </a:cubicBezTo>
                <a:lnTo>
                  <a:pt x="455" y="91"/>
                </a:lnTo>
                <a:close/>
                <a:moveTo>
                  <a:pt x="204" y="39"/>
                </a:moveTo>
                <a:cubicBezTo>
                  <a:pt x="200" y="39"/>
                  <a:pt x="196" y="42"/>
                  <a:pt x="196" y="47"/>
                </a:cubicBezTo>
                <a:cubicBezTo>
                  <a:pt x="196" y="59"/>
                  <a:pt x="196" y="59"/>
                  <a:pt x="196" y="59"/>
                </a:cubicBezTo>
                <a:cubicBezTo>
                  <a:pt x="196" y="63"/>
                  <a:pt x="200" y="67"/>
                  <a:pt x="204" y="67"/>
                </a:cubicBezTo>
                <a:cubicBezTo>
                  <a:pt x="358" y="67"/>
                  <a:pt x="358" y="67"/>
                  <a:pt x="358" y="67"/>
                </a:cubicBezTo>
                <a:cubicBezTo>
                  <a:pt x="363" y="67"/>
                  <a:pt x="366" y="63"/>
                  <a:pt x="366" y="59"/>
                </a:cubicBezTo>
                <a:cubicBezTo>
                  <a:pt x="366" y="47"/>
                  <a:pt x="366" y="47"/>
                  <a:pt x="366" y="47"/>
                </a:cubicBezTo>
                <a:cubicBezTo>
                  <a:pt x="366" y="42"/>
                  <a:pt x="363" y="39"/>
                  <a:pt x="358" y="39"/>
                </a:cubicBezTo>
                <a:lnTo>
                  <a:pt x="204" y="39"/>
                </a:lnTo>
                <a:close/>
              </a:path>
            </a:pathLst>
          </a:custGeom>
          <a:solidFill>
            <a:srgbClr val="8F3F7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186" name="Line 96"/>
          <p:cNvSpPr>
            <a:spLocks noChangeShapeType="1"/>
          </p:cNvSpPr>
          <p:nvPr/>
        </p:nvSpPr>
        <p:spPr bwMode="auto">
          <a:xfrm>
            <a:off x="5665789" y="4797425"/>
            <a:ext cx="574675" cy="0"/>
          </a:xfrm>
          <a:prstGeom prst="line">
            <a:avLst/>
          </a:prstGeom>
          <a:noFill/>
          <a:ln w="28575">
            <a:solidFill>
              <a:srgbClr val="7B0663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4A043B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25377" name="Text Box 97"/>
          <p:cNvSpPr txBox="1">
            <a:spLocks noChangeArrowheads="1"/>
          </p:cNvSpPr>
          <p:nvPr/>
        </p:nvSpPr>
        <p:spPr bwMode="auto">
          <a:xfrm>
            <a:off x="5592786" y="4797460"/>
            <a:ext cx="761747" cy="307777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tx2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7B0663"/>
                </a:solidFill>
                <a:ea typeface="ＭＳ Ｐゴシック" pitchFamily="34" charset="-128"/>
              </a:rPr>
              <a:t>Control</a:t>
            </a:r>
          </a:p>
        </p:txBody>
      </p:sp>
      <p:sp>
        <p:nvSpPr>
          <p:cNvPr id="6188" name="Freeform 7"/>
          <p:cNvSpPr>
            <a:spLocks noChangeAspect="1" noEditPoints="1"/>
          </p:cNvSpPr>
          <p:nvPr/>
        </p:nvSpPr>
        <p:spPr bwMode="auto">
          <a:xfrm rot="5400000">
            <a:off x="5238775" y="4719674"/>
            <a:ext cx="360363" cy="84137"/>
          </a:xfrm>
          <a:custGeom>
            <a:avLst/>
            <a:gdLst>
              <a:gd name="T0" fmla="*/ 2147483647 w 470"/>
              <a:gd name="T1" fmla="*/ 2147483647 h 110"/>
              <a:gd name="T2" fmla="*/ 2147483647 w 470"/>
              <a:gd name="T3" fmla="*/ 2147483647 h 110"/>
              <a:gd name="T4" fmla="*/ 2147483647 w 470"/>
              <a:gd name="T5" fmla="*/ 2147483647 h 110"/>
              <a:gd name="T6" fmla="*/ 2147483647 w 470"/>
              <a:gd name="T7" fmla="*/ 2147483647 h 110"/>
              <a:gd name="T8" fmla="*/ 2147483647 w 470"/>
              <a:gd name="T9" fmla="*/ 2147483647 h 110"/>
              <a:gd name="T10" fmla="*/ 2147483647 w 470"/>
              <a:gd name="T11" fmla="*/ 2147483647 h 110"/>
              <a:gd name="T12" fmla="*/ 2147483647 w 470"/>
              <a:gd name="T13" fmla="*/ 2147483647 h 110"/>
              <a:gd name="T14" fmla="*/ 2147483647 w 470"/>
              <a:gd name="T15" fmla="*/ 2147483647 h 110"/>
              <a:gd name="T16" fmla="*/ 2147483647 w 470"/>
              <a:gd name="T17" fmla="*/ 2147483647 h 110"/>
              <a:gd name="T18" fmla="*/ 2147483647 w 470"/>
              <a:gd name="T19" fmla="*/ 2147483647 h 110"/>
              <a:gd name="T20" fmla="*/ 2147483647 w 470"/>
              <a:gd name="T21" fmla="*/ 2147483647 h 110"/>
              <a:gd name="T22" fmla="*/ 2147483647 w 470"/>
              <a:gd name="T23" fmla="*/ 0 h 110"/>
              <a:gd name="T24" fmla="*/ 2147483647 w 470"/>
              <a:gd name="T25" fmla="*/ 0 h 110"/>
              <a:gd name="T26" fmla="*/ 2147483647 w 470"/>
              <a:gd name="T27" fmla="*/ 2147483647 h 110"/>
              <a:gd name="T28" fmla="*/ 2147483647 w 470"/>
              <a:gd name="T29" fmla="*/ 2147483647 h 110"/>
              <a:gd name="T30" fmla="*/ 2147483647 w 470"/>
              <a:gd name="T31" fmla="*/ 2147483647 h 110"/>
              <a:gd name="T32" fmla="*/ 2147483647 w 470"/>
              <a:gd name="T33" fmla="*/ 2147483647 h 110"/>
              <a:gd name="T34" fmla="*/ 2147483647 w 470"/>
              <a:gd name="T35" fmla="*/ 2147483647 h 110"/>
              <a:gd name="T36" fmla="*/ 2147483647 w 470"/>
              <a:gd name="T37" fmla="*/ 2147483647 h 110"/>
              <a:gd name="T38" fmla="*/ 2147483647 w 470"/>
              <a:gd name="T39" fmla="*/ 2147483647 h 110"/>
              <a:gd name="T40" fmla="*/ 2147483647 w 470"/>
              <a:gd name="T41" fmla="*/ 2147483647 h 110"/>
              <a:gd name="T42" fmla="*/ 2147483647 w 470"/>
              <a:gd name="T43" fmla="*/ 0 h 110"/>
              <a:gd name="T44" fmla="*/ 2147483647 w 470"/>
              <a:gd name="T45" fmla="*/ 0 h 110"/>
              <a:gd name="T46" fmla="*/ 0 w 470"/>
              <a:gd name="T47" fmla="*/ 2147483647 h 110"/>
              <a:gd name="T48" fmla="*/ 0 w 470"/>
              <a:gd name="T49" fmla="*/ 2147483647 h 110"/>
              <a:gd name="T50" fmla="*/ 2147483647 w 470"/>
              <a:gd name="T51" fmla="*/ 2147483647 h 110"/>
              <a:gd name="T52" fmla="*/ 2147483647 w 470"/>
              <a:gd name="T53" fmla="*/ 2147483647 h 110"/>
              <a:gd name="T54" fmla="*/ 2147483647 w 470"/>
              <a:gd name="T55" fmla="*/ 2147483647 h 110"/>
              <a:gd name="T56" fmla="*/ 2147483647 w 470"/>
              <a:gd name="T57" fmla="*/ 2147483647 h 110"/>
              <a:gd name="T58" fmla="*/ 2147483647 w 470"/>
              <a:gd name="T59" fmla="*/ 2147483647 h 110"/>
              <a:gd name="T60" fmla="*/ 2147483647 w 470"/>
              <a:gd name="T61" fmla="*/ 2147483647 h 110"/>
              <a:gd name="T62" fmla="*/ 2147483647 w 470"/>
              <a:gd name="T63" fmla="*/ 2147483647 h 110"/>
              <a:gd name="T64" fmla="*/ 2147483647 w 470"/>
              <a:gd name="T65" fmla="*/ 2147483647 h 110"/>
              <a:gd name="T66" fmla="*/ 2147483647 w 470"/>
              <a:gd name="T67" fmla="*/ 2147483647 h 110"/>
              <a:gd name="T68" fmla="*/ 2147483647 w 470"/>
              <a:gd name="T69" fmla="*/ 2147483647 h 110"/>
              <a:gd name="T70" fmla="*/ 2147483647 w 470"/>
              <a:gd name="T71" fmla="*/ 2147483647 h 110"/>
              <a:gd name="T72" fmla="*/ 2147483647 w 470"/>
              <a:gd name="T73" fmla="*/ 2147483647 h 110"/>
              <a:gd name="T74" fmla="*/ 2147483647 w 470"/>
              <a:gd name="T75" fmla="*/ 2147483647 h 110"/>
              <a:gd name="T76" fmla="*/ 2147483647 w 470"/>
              <a:gd name="T77" fmla="*/ 2147483647 h 110"/>
              <a:gd name="T78" fmla="*/ 2147483647 w 470"/>
              <a:gd name="T79" fmla="*/ 2147483647 h 110"/>
              <a:gd name="T80" fmla="*/ 2147483647 w 470"/>
              <a:gd name="T81" fmla="*/ 2147483647 h 110"/>
              <a:gd name="T82" fmla="*/ 2147483647 w 470"/>
              <a:gd name="T83" fmla="*/ 2147483647 h 110"/>
              <a:gd name="T84" fmla="*/ 2147483647 w 470"/>
              <a:gd name="T85" fmla="*/ 2147483647 h 110"/>
              <a:gd name="T86" fmla="*/ 2147483647 w 470"/>
              <a:gd name="T87" fmla="*/ 2147483647 h 110"/>
              <a:gd name="T88" fmla="*/ 2147483647 w 470"/>
              <a:gd name="T89" fmla="*/ 2147483647 h 110"/>
              <a:gd name="T90" fmla="*/ 2147483647 w 470"/>
              <a:gd name="T91" fmla="*/ 2147483647 h 110"/>
              <a:gd name="T92" fmla="*/ 2147483647 w 470"/>
              <a:gd name="T93" fmla="*/ 2147483647 h 110"/>
              <a:gd name="T94" fmla="*/ 2147483647 w 470"/>
              <a:gd name="T95" fmla="*/ 2147483647 h 110"/>
              <a:gd name="T96" fmla="*/ 2147483647 w 470"/>
              <a:gd name="T97" fmla="*/ 2147483647 h 110"/>
              <a:gd name="T98" fmla="*/ 2147483647 w 470"/>
              <a:gd name="T99" fmla="*/ 2147483647 h 110"/>
              <a:gd name="T100" fmla="*/ 2147483647 w 470"/>
              <a:gd name="T101" fmla="*/ 2147483647 h 110"/>
              <a:gd name="T102" fmla="*/ 2147483647 w 470"/>
              <a:gd name="T103" fmla="*/ 2147483647 h 110"/>
              <a:gd name="T104" fmla="*/ 2147483647 w 470"/>
              <a:gd name="T105" fmla="*/ 2147483647 h 110"/>
              <a:gd name="T106" fmla="*/ 2147483647 w 470"/>
              <a:gd name="T107" fmla="*/ 2147483647 h 110"/>
              <a:gd name="T108" fmla="*/ 2147483647 w 470"/>
              <a:gd name="T109" fmla="*/ 2147483647 h 110"/>
              <a:gd name="T110" fmla="*/ 2147483647 w 470"/>
              <a:gd name="T111" fmla="*/ 2147483647 h 110"/>
              <a:gd name="T112" fmla="*/ 2147483647 w 470"/>
              <a:gd name="T113" fmla="*/ 2147483647 h 110"/>
              <a:gd name="T114" fmla="*/ 2147483647 w 470"/>
              <a:gd name="T115" fmla="*/ 2147483647 h 110"/>
              <a:gd name="T116" fmla="*/ 2147483647 w 470"/>
              <a:gd name="T117" fmla="*/ 2147483647 h 110"/>
              <a:gd name="T118" fmla="*/ 2147483647 w 470"/>
              <a:gd name="T119" fmla="*/ 2147483647 h 11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470"/>
              <a:gd name="T181" fmla="*/ 0 h 110"/>
              <a:gd name="T182" fmla="*/ 470 w 470"/>
              <a:gd name="T183" fmla="*/ 110 h 110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470" h="110">
                <a:moveTo>
                  <a:pt x="398" y="72"/>
                </a:moveTo>
                <a:cubicBezTo>
                  <a:pt x="402" y="72"/>
                  <a:pt x="406" y="69"/>
                  <a:pt x="406" y="64"/>
                </a:cubicBezTo>
                <a:cubicBezTo>
                  <a:pt x="406" y="60"/>
                  <a:pt x="402" y="56"/>
                  <a:pt x="398" y="56"/>
                </a:cubicBezTo>
                <a:cubicBezTo>
                  <a:pt x="393" y="56"/>
                  <a:pt x="390" y="60"/>
                  <a:pt x="390" y="64"/>
                </a:cubicBezTo>
                <a:cubicBezTo>
                  <a:pt x="390" y="69"/>
                  <a:pt x="393" y="72"/>
                  <a:pt x="398" y="72"/>
                </a:cubicBezTo>
                <a:close/>
                <a:moveTo>
                  <a:pt x="398" y="49"/>
                </a:moveTo>
                <a:cubicBezTo>
                  <a:pt x="402" y="49"/>
                  <a:pt x="406" y="45"/>
                  <a:pt x="406" y="40"/>
                </a:cubicBezTo>
                <a:cubicBezTo>
                  <a:pt x="406" y="36"/>
                  <a:pt x="402" y="32"/>
                  <a:pt x="398" y="32"/>
                </a:cubicBezTo>
                <a:cubicBezTo>
                  <a:pt x="393" y="32"/>
                  <a:pt x="390" y="36"/>
                  <a:pt x="390" y="40"/>
                </a:cubicBezTo>
                <a:cubicBezTo>
                  <a:pt x="390" y="45"/>
                  <a:pt x="393" y="49"/>
                  <a:pt x="398" y="49"/>
                </a:cubicBezTo>
                <a:close/>
                <a:moveTo>
                  <a:pt x="470" y="19"/>
                </a:moveTo>
                <a:cubicBezTo>
                  <a:pt x="470" y="9"/>
                  <a:pt x="461" y="0"/>
                  <a:pt x="451" y="0"/>
                </a:cubicBezTo>
                <a:cubicBezTo>
                  <a:pt x="408" y="0"/>
                  <a:pt x="408" y="0"/>
                  <a:pt x="408" y="0"/>
                </a:cubicBezTo>
                <a:cubicBezTo>
                  <a:pt x="403" y="0"/>
                  <a:pt x="400" y="4"/>
                  <a:pt x="400" y="8"/>
                </a:cubicBezTo>
                <a:cubicBezTo>
                  <a:pt x="400" y="12"/>
                  <a:pt x="403" y="16"/>
                  <a:pt x="408" y="16"/>
                </a:cubicBezTo>
                <a:cubicBezTo>
                  <a:pt x="423" y="16"/>
                  <a:pt x="423" y="16"/>
                  <a:pt x="423" y="16"/>
                </a:cubicBezTo>
                <a:cubicBezTo>
                  <a:pt x="423" y="94"/>
                  <a:pt x="423" y="94"/>
                  <a:pt x="423" y="94"/>
                </a:cubicBezTo>
                <a:cubicBezTo>
                  <a:pt x="47" y="94"/>
                  <a:pt x="47" y="94"/>
                  <a:pt x="47" y="94"/>
                </a:cubicBezTo>
                <a:cubicBezTo>
                  <a:pt x="47" y="16"/>
                  <a:pt x="47" y="16"/>
                  <a:pt x="47" y="16"/>
                </a:cubicBezTo>
                <a:cubicBezTo>
                  <a:pt x="379" y="16"/>
                  <a:pt x="379" y="16"/>
                  <a:pt x="379" y="16"/>
                </a:cubicBezTo>
                <a:cubicBezTo>
                  <a:pt x="383" y="16"/>
                  <a:pt x="386" y="12"/>
                  <a:pt x="386" y="8"/>
                </a:cubicBezTo>
                <a:cubicBezTo>
                  <a:pt x="386" y="4"/>
                  <a:pt x="383" y="0"/>
                  <a:pt x="379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9" y="0"/>
                  <a:pt x="0" y="9"/>
                  <a:pt x="0" y="19"/>
                </a:cubicBezTo>
                <a:cubicBezTo>
                  <a:pt x="0" y="91"/>
                  <a:pt x="0" y="91"/>
                  <a:pt x="0" y="91"/>
                </a:cubicBezTo>
                <a:cubicBezTo>
                  <a:pt x="0" y="101"/>
                  <a:pt x="9" y="110"/>
                  <a:pt x="19" y="110"/>
                </a:cubicBezTo>
                <a:cubicBezTo>
                  <a:pt x="451" y="110"/>
                  <a:pt x="451" y="110"/>
                  <a:pt x="451" y="110"/>
                </a:cubicBezTo>
                <a:cubicBezTo>
                  <a:pt x="461" y="110"/>
                  <a:pt x="470" y="101"/>
                  <a:pt x="470" y="91"/>
                </a:cubicBezTo>
                <a:cubicBezTo>
                  <a:pt x="470" y="34"/>
                  <a:pt x="470" y="34"/>
                  <a:pt x="470" y="34"/>
                </a:cubicBezTo>
                <a:lnTo>
                  <a:pt x="470" y="19"/>
                </a:lnTo>
                <a:close/>
                <a:moveTo>
                  <a:pt x="32" y="94"/>
                </a:moveTo>
                <a:cubicBezTo>
                  <a:pt x="19" y="94"/>
                  <a:pt x="19" y="94"/>
                  <a:pt x="19" y="94"/>
                </a:cubicBezTo>
                <a:cubicBezTo>
                  <a:pt x="17" y="94"/>
                  <a:pt x="15" y="93"/>
                  <a:pt x="15" y="91"/>
                </a:cubicBezTo>
                <a:cubicBezTo>
                  <a:pt x="15" y="19"/>
                  <a:pt x="15" y="19"/>
                  <a:pt x="15" y="19"/>
                </a:cubicBezTo>
                <a:cubicBezTo>
                  <a:pt x="15" y="17"/>
                  <a:pt x="17" y="16"/>
                  <a:pt x="19" y="16"/>
                </a:cubicBezTo>
                <a:cubicBezTo>
                  <a:pt x="32" y="16"/>
                  <a:pt x="32" y="16"/>
                  <a:pt x="32" y="16"/>
                </a:cubicBezTo>
                <a:lnTo>
                  <a:pt x="32" y="94"/>
                </a:lnTo>
                <a:close/>
                <a:moveTo>
                  <a:pt x="455" y="91"/>
                </a:moveTo>
                <a:cubicBezTo>
                  <a:pt x="455" y="92"/>
                  <a:pt x="453" y="94"/>
                  <a:pt x="451" y="94"/>
                </a:cubicBezTo>
                <a:cubicBezTo>
                  <a:pt x="451" y="94"/>
                  <a:pt x="451" y="94"/>
                  <a:pt x="451" y="94"/>
                </a:cubicBezTo>
                <a:cubicBezTo>
                  <a:pt x="438" y="94"/>
                  <a:pt x="438" y="94"/>
                  <a:pt x="438" y="94"/>
                </a:cubicBezTo>
                <a:cubicBezTo>
                  <a:pt x="438" y="16"/>
                  <a:pt x="438" y="16"/>
                  <a:pt x="438" y="16"/>
                </a:cubicBezTo>
                <a:cubicBezTo>
                  <a:pt x="451" y="16"/>
                  <a:pt x="451" y="16"/>
                  <a:pt x="451" y="16"/>
                </a:cubicBezTo>
                <a:cubicBezTo>
                  <a:pt x="451" y="16"/>
                  <a:pt x="451" y="16"/>
                  <a:pt x="451" y="16"/>
                </a:cubicBezTo>
                <a:cubicBezTo>
                  <a:pt x="451" y="16"/>
                  <a:pt x="451" y="16"/>
                  <a:pt x="451" y="16"/>
                </a:cubicBezTo>
                <a:cubicBezTo>
                  <a:pt x="451" y="16"/>
                  <a:pt x="451" y="16"/>
                  <a:pt x="451" y="16"/>
                </a:cubicBezTo>
                <a:cubicBezTo>
                  <a:pt x="451" y="16"/>
                  <a:pt x="451" y="16"/>
                  <a:pt x="451" y="16"/>
                </a:cubicBezTo>
                <a:cubicBezTo>
                  <a:pt x="453" y="16"/>
                  <a:pt x="455" y="18"/>
                  <a:pt x="455" y="19"/>
                </a:cubicBezTo>
                <a:cubicBezTo>
                  <a:pt x="455" y="34"/>
                  <a:pt x="455" y="34"/>
                  <a:pt x="455" y="34"/>
                </a:cubicBezTo>
                <a:cubicBezTo>
                  <a:pt x="455" y="34"/>
                  <a:pt x="455" y="34"/>
                  <a:pt x="455" y="34"/>
                </a:cubicBezTo>
                <a:lnTo>
                  <a:pt x="455" y="91"/>
                </a:lnTo>
                <a:close/>
                <a:moveTo>
                  <a:pt x="204" y="39"/>
                </a:moveTo>
                <a:cubicBezTo>
                  <a:pt x="200" y="39"/>
                  <a:pt x="196" y="42"/>
                  <a:pt x="196" y="47"/>
                </a:cubicBezTo>
                <a:cubicBezTo>
                  <a:pt x="196" y="59"/>
                  <a:pt x="196" y="59"/>
                  <a:pt x="196" y="59"/>
                </a:cubicBezTo>
                <a:cubicBezTo>
                  <a:pt x="196" y="63"/>
                  <a:pt x="200" y="67"/>
                  <a:pt x="204" y="67"/>
                </a:cubicBezTo>
                <a:cubicBezTo>
                  <a:pt x="358" y="67"/>
                  <a:pt x="358" y="67"/>
                  <a:pt x="358" y="67"/>
                </a:cubicBezTo>
                <a:cubicBezTo>
                  <a:pt x="363" y="67"/>
                  <a:pt x="366" y="63"/>
                  <a:pt x="366" y="59"/>
                </a:cubicBezTo>
                <a:cubicBezTo>
                  <a:pt x="366" y="47"/>
                  <a:pt x="366" y="47"/>
                  <a:pt x="366" y="47"/>
                </a:cubicBezTo>
                <a:cubicBezTo>
                  <a:pt x="366" y="42"/>
                  <a:pt x="363" y="39"/>
                  <a:pt x="358" y="39"/>
                </a:cubicBezTo>
                <a:lnTo>
                  <a:pt x="204" y="39"/>
                </a:lnTo>
                <a:close/>
              </a:path>
            </a:pathLst>
          </a:custGeom>
          <a:solidFill>
            <a:srgbClr val="8F3F7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189" name="Freeform 7"/>
          <p:cNvSpPr>
            <a:spLocks noChangeAspect="1" noEditPoints="1"/>
          </p:cNvSpPr>
          <p:nvPr/>
        </p:nvSpPr>
        <p:spPr bwMode="auto">
          <a:xfrm rot="5400000">
            <a:off x="5370536" y="4719655"/>
            <a:ext cx="360363" cy="84139"/>
          </a:xfrm>
          <a:custGeom>
            <a:avLst/>
            <a:gdLst>
              <a:gd name="T0" fmla="*/ 2147483647 w 470"/>
              <a:gd name="T1" fmla="*/ 2147483647 h 110"/>
              <a:gd name="T2" fmla="*/ 2147483647 w 470"/>
              <a:gd name="T3" fmla="*/ 2147483647 h 110"/>
              <a:gd name="T4" fmla="*/ 2147483647 w 470"/>
              <a:gd name="T5" fmla="*/ 2147483647 h 110"/>
              <a:gd name="T6" fmla="*/ 2147483647 w 470"/>
              <a:gd name="T7" fmla="*/ 2147483647 h 110"/>
              <a:gd name="T8" fmla="*/ 2147483647 w 470"/>
              <a:gd name="T9" fmla="*/ 2147483647 h 110"/>
              <a:gd name="T10" fmla="*/ 2147483647 w 470"/>
              <a:gd name="T11" fmla="*/ 2147483647 h 110"/>
              <a:gd name="T12" fmla="*/ 2147483647 w 470"/>
              <a:gd name="T13" fmla="*/ 2147483647 h 110"/>
              <a:gd name="T14" fmla="*/ 2147483647 w 470"/>
              <a:gd name="T15" fmla="*/ 2147483647 h 110"/>
              <a:gd name="T16" fmla="*/ 2147483647 w 470"/>
              <a:gd name="T17" fmla="*/ 2147483647 h 110"/>
              <a:gd name="T18" fmla="*/ 2147483647 w 470"/>
              <a:gd name="T19" fmla="*/ 2147483647 h 110"/>
              <a:gd name="T20" fmla="*/ 2147483647 w 470"/>
              <a:gd name="T21" fmla="*/ 2147483647 h 110"/>
              <a:gd name="T22" fmla="*/ 2147483647 w 470"/>
              <a:gd name="T23" fmla="*/ 0 h 110"/>
              <a:gd name="T24" fmla="*/ 2147483647 w 470"/>
              <a:gd name="T25" fmla="*/ 0 h 110"/>
              <a:gd name="T26" fmla="*/ 2147483647 w 470"/>
              <a:gd name="T27" fmla="*/ 2147483647 h 110"/>
              <a:gd name="T28" fmla="*/ 2147483647 w 470"/>
              <a:gd name="T29" fmla="*/ 2147483647 h 110"/>
              <a:gd name="T30" fmla="*/ 2147483647 w 470"/>
              <a:gd name="T31" fmla="*/ 2147483647 h 110"/>
              <a:gd name="T32" fmla="*/ 2147483647 w 470"/>
              <a:gd name="T33" fmla="*/ 2147483647 h 110"/>
              <a:gd name="T34" fmla="*/ 2147483647 w 470"/>
              <a:gd name="T35" fmla="*/ 2147483647 h 110"/>
              <a:gd name="T36" fmla="*/ 2147483647 w 470"/>
              <a:gd name="T37" fmla="*/ 2147483647 h 110"/>
              <a:gd name="T38" fmla="*/ 2147483647 w 470"/>
              <a:gd name="T39" fmla="*/ 2147483647 h 110"/>
              <a:gd name="T40" fmla="*/ 2147483647 w 470"/>
              <a:gd name="T41" fmla="*/ 2147483647 h 110"/>
              <a:gd name="T42" fmla="*/ 2147483647 w 470"/>
              <a:gd name="T43" fmla="*/ 0 h 110"/>
              <a:gd name="T44" fmla="*/ 2147483647 w 470"/>
              <a:gd name="T45" fmla="*/ 0 h 110"/>
              <a:gd name="T46" fmla="*/ 0 w 470"/>
              <a:gd name="T47" fmla="*/ 2147483647 h 110"/>
              <a:gd name="T48" fmla="*/ 0 w 470"/>
              <a:gd name="T49" fmla="*/ 2147483647 h 110"/>
              <a:gd name="T50" fmla="*/ 2147483647 w 470"/>
              <a:gd name="T51" fmla="*/ 2147483647 h 110"/>
              <a:gd name="T52" fmla="*/ 2147483647 w 470"/>
              <a:gd name="T53" fmla="*/ 2147483647 h 110"/>
              <a:gd name="T54" fmla="*/ 2147483647 w 470"/>
              <a:gd name="T55" fmla="*/ 2147483647 h 110"/>
              <a:gd name="T56" fmla="*/ 2147483647 w 470"/>
              <a:gd name="T57" fmla="*/ 2147483647 h 110"/>
              <a:gd name="T58" fmla="*/ 2147483647 w 470"/>
              <a:gd name="T59" fmla="*/ 2147483647 h 110"/>
              <a:gd name="T60" fmla="*/ 2147483647 w 470"/>
              <a:gd name="T61" fmla="*/ 2147483647 h 110"/>
              <a:gd name="T62" fmla="*/ 2147483647 w 470"/>
              <a:gd name="T63" fmla="*/ 2147483647 h 110"/>
              <a:gd name="T64" fmla="*/ 2147483647 w 470"/>
              <a:gd name="T65" fmla="*/ 2147483647 h 110"/>
              <a:gd name="T66" fmla="*/ 2147483647 w 470"/>
              <a:gd name="T67" fmla="*/ 2147483647 h 110"/>
              <a:gd name="T68" fmla="*/ 2147483647 w 470"/>
              <a:gd name="T69" fmla="*/ 2147483647 h 110"/>
              <a:gd name="T70" fmla="*/ 2147483647 w 470"/>
              <a:gd name="T71" fmla="*/ 2147483647 h 110"/>
              <a:gd name="T72" fmla="*/ 2147483647 w 470"/>
              <a:gd name="T73" fmla="*/ 2147483647 h 110"/>
              <a:gd name="T74" fmla="*/ 2147483647 w 470"/>
              <a:gd name="T75" fmla="*/ 2147483647 h 110"/>
              <a:gd name="T76" fmla="*/ 2147483647 w 470"/>
              <a:gd name="T77" fmla="*/ 2147483647 h 110"/>
              <a:gd name="T78" fmla="*/ 2147483647 w 470"/>
              <a:gd name="T79" fmla="*/ 2147483647 h 110"/>
              <a:gd name="T80" fmla="*/ 2147483647 w 470"/>
              <a:gd name="T81" fmla="*/ 2147483647 h 110"/>
              <a:gd name="T82" fmla="*/ 2147483647 w 470"/>
              <a:gd name="T83" fmla="*/ 2147483647 h 110"/>
              <a:gd name="T84" fmla="*/ 2147483647 w 470"/>
              <a:gd name="T85" fmla="*/ 2147483647 h 110"/>
              <a:gd name="T86" fmla="*/ 2147483647 w 470"/>
              <a:gd name="T87" fmla="*/ 2147483647 h 110"/>
              <a:gd name="T88" fmla="*/ 2147483647 w 470"/>
              <a:gd name="T89" fmla="*/ 2147483647 h 110"/>
              <a:gd name="T90" fmla="*/ 2147483647 w 470"/>
              <a:gd name="T91" fmla="*/ 2147483647 h 110"/>
              <a:gd name="T92" fmla="*/ 2147483647 w 470"/>
              <a:gd name="T93" fmla="*/ 2147483647 h 110"/>
              <a:gd name="T94" fmla="*/ 2147483647 w 470"/>
              <a:gd name="T95" fmla="*/ 2147483647 h 110"/>
              <a:gd name="T96" fmla="*/ 2147483647 w 470"/>
              <a:gd name="T97" fmla="*/ 2147483647 h 110"/>
              <a:gd name="T98" fmla="*/ 2147483647 w 470"/>
              <a:gd name="T99" fmla="*/ 2147483647 h 110"/>
              <a:gd name="T100" fmla="*/ 2147483647 w 470"/>
              <a:gd name="T101" fmla="*/ 2147483647 h 110"/>
              <a:gd name="T102" fmla="*/ 2147483647 w 470"/>
              <a:gd name="T103" fmla="*/ 2147483647 h 110"/>
              <a:gd name="T104" fmla="*/ 2147483647 w 470"/>
              <a:gd name="T105" fmla="*/ 2147483647 h 110"/>
              <a:gd name="T106" fmla="*/ 2147483647 w 470"/>
              <a:gd name="T107" fmla="*/ 2147483647 h 110"/>
              <a:gd name="T108" fmla="*/ 2147483647 w 470"/>
              <a:gd name="T109" fmla="*/ 2147483647 h 110"/>
              <a:gd name="T110" fmla="*/ 2147483647 w 470"/>
              <a:gd name="T111" fmla="*/ 2147483647 h 110"/>
              <a:gd name="T112" fmla="*/ 2147483647 w 470"/>
              <a:gd name="T113" fmla="*/ 2147483647 h 110"/>
              <a:gd name="T114" fmla="*/ 2147483647 w 470"/>
              <a:gd name="T115" fmla="*/ 2147483647 h 110"/>
              <a:gd name="T116" fmla="*/ 2147483647 w 470"/>
              <a:gd name="T117" fmla="*/ 2147483647 h 110"/>
              <a:gd name="T118" fmla="*/ 2147483647 w 470"/>
              <a:gd name="T119" fmla="*/ 2147483647 h 11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470"/>
              <a:gd name="T181" fmla="*/ 0 h 110"/>
              <a:gd name="T182" fmla="*/ 470 w 470"/>
              <a:gd name="T183" fmla="*/ 110 h 110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470" h="110">
                <a:moveTo>
                  <a:pt x="398" y="72"/>
                </a:moveTo>
                <a:cubicBezTo>
                  <a:pt x="402" y="72"/>
                  <a:pt x="406" y="69"/>
                  <a:pt x="406" y="64"/>
                </a:cubicBezTo>
                <a:cubicBezTo>
                  <a:pt x="406" y="60"/>
                  <a:pt x="402" y="56"/>
                  <a:pt x="398" y="56"/>
                </a:cubicBezTo>
                <a:cubicBezTo>
                  <a:pt x="393" y="56"/>
                  <a:pt x="390" y="60"/>
                  <a:pt x="390" y="64"/>
                </a:cubicBezTo>
                <a:cubicBezTo>
                  <a:pt x="390" y="69"/>
                  <a:pt x="393" y="72"/>
                  <a:pt x="398" y="72"/>
                </a:cubicBezTo>
                <a:close/>
                <a:moveTo>
                  <a:pt x="398" y="49"/>
                </a:moveTo>
                <a:cubicBezTo>
                  <a:pt x="402" y="49"/>
                  <a:pt x="406" y="45"/>
                  <a:pt x="406" y="40"/>
                </a:cubicBezTo>
                <a:cubicBezTo>
                  <a:pt x="406" y="36"/>
                  <a:pt x="402" y="32"/>
                  <a:pt x="398" y="32"/>
                </a:cubicBezTo>
                <a:cubicBezTo>
                  <a:pt x="393" y="32"/>
                  <a:pt x="390" y="36"/>
                  <a:pt x="390" y="40"/>
                </a:cubicBezTo>
                <a:cubicBezTo>
                  <a:pt x="390" y="45"/>
                  <a:pt x="393" y="49"/>
                  <a:pt x="398" y="49"/>
                </a:cubicBezTo>
                <a:close/>
                <a:moveTo>
                  <a:pt x="470" y="19"/>
                </a:moveTo>
                <a:cubicBezTo>
                  <a:pt x="470" y="9"/>
                  <a:pt x="461" y="0"/>
                  <a:pt x="451" y="0"/>
                </a:cubicBezTo>
                <a:cubicBezTo>
                  <a:pt x="408" y="0"/>
                  <a:pt x="408" y="0"/>
                  <a:pt x="408" y="0"/>
                </a:cubicBezTo>
                <a:cubicBezTo>
                  <a:pt x="403" y="0"/>
                  <a:pt x="400" y="4"/>
                  <a:pt x="400" y="8"/>
                </a:cubicBezTo>
                <a:cubicBezTo>
                  <a:pt x="400" y="12"/>
                  <a:pt x="403" y="16"/>
                  <a:pt x="408" y="16"/>
                </a:cubicBezTo>
                <a:cubicBezTo>
                  <a:pt x="423" y="16"/>
                  <a:pt x="423" y="16"/>
                  <a:pt x="423" y="16"/>
                </a:cubicBezTo>
                <a:cubicBezTo>
                  <a:pt x="423" y="94"/>
                  <a:pt x="423" y="94"/>
                  <a:pt x="423" y="94"/>
                </a:cubicBezTo>
                <a:cubicBezTo>
                  <a:pt x="47" y="94"/>
                  <a:pt x="47" y="94"/>
                  <a:pt x="47" y="94"/>
                </a:cubicBezTo>
                <a:cubicBezTo>
                  <a:pt x="47" y="16"/>
                  <a:pt x="47" y="16"/>
                  <a:pt x="47" y="16"/>
                </a:cubicBezTo>
                <a:cubicBezTo>
                  <a:pt x="379" y="16"/>
                  <a:pt x="379" y="16"/>
                  <a:pt x="379" y="16"/>
                </a:cubicBezTo>
                <a:cubicBezTo>
                  <a:pt x="383" y="16"/>
                  <a:pt x="386" y="12"/>
                  <a:pt x="386" y="8"/>
                </a:cubicBezTo>
                <a:cubicBezTo>
                  <a:pt x="386" y="4"/>
                  <a:pt x="383" y="0"/>
                  <a:pt x="379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9" y="0"/>
                  <a:pt x="0" y="9"/>
                  <a:pt x="0" y="19"/>
                </a:cubicBezTo>
                <a:cubicBezTo>
                  <a:pt x="0" y="91"/>
                  <a:pt x="0" y="91"/>
                  <a:pt x="0" y="91"/>
                </a:cubicBezTo>
                <a:cubicBezTo>
                  <a:pt x="0" y="101"/>
                  <a:pt x="9" y="110"/>
                  <a:pt x="19" y="110"/>
                </a:cubicBezTo>
                <a:cubicBezTo>
                  <a:pt x="451" y="110"/>
                  <a:pt x="451" y="110"/>
                  <a:pt x="451" y="110"/>
                </a:cubicBezTo>
                <a:cubicBezTo>
                  <a:pt x="461" y="110"/>
                  <a:pt x="470" y="101"/>
                  <a:pt x="470" y="91"/>
                </a:cubicBezTo>
                <a:cubicBezTo>
                  <a:pt x="470" y="34"/>
                  <a:pt x="470" y="34"/>
                  <a:pt x="470" y="34"/>
                </a:cubicBezTo>
                <a:lnTo>
                  <a:pt x="470" y="19"/>
                </a:lnTo>
                <a:close/>
                <a:moveTo>
                  <a:pt x="32" y="94"/>
                </a:moveTo>
                <a:cubicBezTo>
                  <a:pt x="19" y="94"/>
                  <a:pt x="19" y="94"/>
                  <a:pt x="19" y="94"/>
                </a:cubicBezTo>
                <a:cubicBezTo>
                  <a:pt x="17" y="94"/>
                  <a:pt x="15" y="93"/>
                  <a:pt x="15" y="91"/>
                </a:cubicBezTo>
                <a:cubicBezTo>
                  <a:pt x="15" y="19"/>
                  <a:pt x="15" y="19"/>
                  <a:pt x="15" y="19"/>
                </a:cubicBezTo>
                <a:cubicBezTo>
                  <a:pt x="15" y="17"/>
                  <a:pt x="17" y="16"/>
                  <a:pt x="19" y="16"/>
                </a:cubicBezTo>
                <a:cubicBezTo>
                  <a:pt x="32" y="16"/>
                  <a:pt x="32" y="16"/>
                  <a:pt x="32" y="16"/>
                </a:cubicBezTo>
                <a:lnTo>
                  <a:pt x="32" y="94"/>
                </a:lnTo>
                <a:close/>
                <a:moveTo>
                  <a:pt x="455" y="91"/>
                </a:moveTo>
                <a:cubicBezTo>
                  <a:pt x="455" y="92"/>
                  <a:pt x="453" y="94"/>
                  <a:pt x="451" y="94"/>
                </a:cubicBezTo>
                <a:cubicBezTo>
                  <a:pt x="451" y="94"/>
                  <a:pt x="451" y="94"/>
                  <a:pt x="451" y="94"/>
                </a:cubicBezTo>
                <a:cubicBezTo>
                  <a:pt x="438" y="94"/>
                  <a:pt x="438" y="94"/>
                  <a:pt x="438" y="94"/>
                </a:cubicBezTo>
                <a:cubicBezTo>
                  <a:pt x="438" y="16"/>
                  <a:pt x="438" y="16"/>
                  <a:pt x="438" y="16"/>
                </a:cubicBezTo>
                <a:cubicBezTo>
                  <a:pt x="451" y="16"/>
                  <a:pt x="451" y="16"/>
                  <a:pt x="451" y="16"/>
                </a:cubicBezTo>
                <a:cubicBezTo>
                  <a:pt x="451" y="16"/>
                  <a:pt x="451" y="16"/>
                  <a:pt x="451" y="16"/>
                </a:cubicBezTo>
                <a:cubicBezTo>
                  <a:pt x="451" y="16"/>
                  <a:pt x="451" y="16"/>
                  <a:pt x="451" y="16"/>
                </a:cubicBezTo>
                <a:cubicBezTo>
                  <a:pt x="451" y="16"/>
                  <a:pt x="451" y="16"/>
                  <a:pt x="451" y="16"/>
                </a:cubicBezTo>
                <a:cubicBezTo>
                  <a:pt x="451" y="16"/>
                  <a:pt x="451" y="16"/>
                  <a:pt x="451" y="16"/>
                </a:cubicBezTo>
                <a:cubicBezTo>
                  <a:pt x="453" y="16"/>
                  <a:pt x="455" y="18"/>
                  <a:pt x="455" y="19"/>
                </a:cubicBezTo>
                <a:cubicBezTo>
                  <a:pt x="455" y="34"/>
                  <a:pt x="455" y="34"/>
                  <a:pt x="455" y="34"/>
                </a:cubicBezTo>
                <a:cubicBezTo>
                  <a:pt x="455" y="34"/>
                  <a:pt x="455" y="34"/>
                  <a:pt x="455" y="34"/>
                </a:cubicBezTo>
                <a:lnTo>
                  <a:pt x="455" y="91"/>
                </a:lnTo>
                <a:close/>
                <a:moveTo>
                  <a:pt x="204" y="39"/>
                </a:moveTo>
                <a:cubicBezTo>
                  <a:pt x="200" y="39"/>
                  <a:pt x="196" y="42"/>
                  <a:pt x="196" y="47"/>
                </a:cubicBezTo>
                <a:cubicBezTo>
                  <a:pt x="196" y="59"/>
                  <a:pt x="196" y="59"/>
                  <a:pt x="196" y="59"/>
                </a:cubicBezTo>
                <a:cubicBezTo>
                  <a:pt x="196" y="63"/>
                  <a:pt x="200" y="67"/>
                  <a:pt x="204" y="67"/>
                </a:cubicBezTo>
                <a:cubicBezTo>
                  <a:pt x="358" y="67"/>
                  <a:pt x="358" y="67"/>
                  <a:pt x="358" y="67"/>
                </a:cubicBezTo>
                <a:cubicBezTo>
                  <a:pt x="363" y="67"/>
                  <a:pt x="366" y="63"/>
                  <a:pt x="366" y="59"/>
                </a:cubicBezTo>
                <a:cubicBezTo>
                  <a:pt x="366" y="47"/>
                  <a:pt x="366" y="47"/>
                  <a:pt x="366" y="47"/>
                </a:cubicBezTo>
                <a:cubicBezTo>
                  <a:pt x="366" y="42"/>
                  <a:pt x="363" y="39"/>
                  <a:pt x="358" y="39"/>
                </a:cubicBezTo>
                <a:lnTo>
                  <a:pt x="204" y="39"/>
                </a:lnTo>
                <a:close/>
              </a:path>
            </a:pathLst>
          </a:custGeom>
          <a:solidFill>
            <a:srgbClr val="8F3F7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190" name="Freeform 7"/>
          <p:cNvSpPr>
            <a:spLocks noChangeAspect="1" noEditPoints="1"/>
          </p:cNvSpPr>
          <p:nvPr/>
        </p:nvSpPr>
        <p:spPr bwMode="auto">
          <a:xfrm rot="5400000">
            <a:off x="6162699" y="4719674"/>
            <a:ext cx="360363" cy="84137"/>
          </a:xfrm>
          <a:custGeom>
            <a:avLst/>
            <a:gdLst>
              <a:gd name="T0" fmla="*/ 2147483647 w 470"/>
              <a:gd name="T1" fmla="*/ 2147483647 h 110"/>
              <a:gd name="T2" fmla="*/ 2147483647 w 470"/>
              <a:gd name="T3" fmla="*/ 2147483647 h 110"/>
              <a:gd name="T4" fmla="*/ 2147483647 w 470"/>
              <a:gd name="T5" fmla="*/ 2147483647 h 110"/>
              <a:gd name="T6" fmla="*/ 2147483647 w 470"/>
              <a:gd name="T7" fmla="*/ 2147483647 h 110"/>
              <a:gd name="T8" fmla="*/ 2147483647 w 470"/>
              <a:gd name="T9" fmla="*/ 2147483647 h 110"/>
              <a:gd name="T10" fmla="*/ 2147483647 w 470"/>
              <a:gd name="T11" fmla="*/ 2147483647 h 110"/>
              <a:gd name="T12" fmla="*/ 2147483647 w 470"/>
              <a:gd name="T13" fmla="*/ 2147483647 h 110"/>
              <a:gd name="T14" fmla="*/ 2147483647 w 470"/>
              <a:gd name="T15" fmla="*/ 2147483647 h 110"/>
              <a:gd name="T16" fmla="*/ 2147483647 w 470"/>
              <a:gd name="T17" fmla="*/ 2147483647 h 110"/>
              <a:gd name="T18" fmla="*/ 2147483647 w 470"/>
              <a:gd name="T19" fmla="*/ 2147483647 h 110"/>
              <a:gd name="T20" fmla="*/ 2147483647 w 470"/>
              <a:gd name="T21" fmla="*/ 2147483647 h 110"/>
              <a:gd name="T22" fmla="*/ 2147483647 w 470"/>
              <a:gd name="T23" fmla="*/ 0 h 110"/>
              <a:gd name="T24" fmla="*/ 2147483647 w 470"/>
              <a:gd name="T25" fmla="*/ 0 h 110"/>
              <a:gd name="T26" fmla="*/ 2147483647 w 470"/>
              <a:gd name="T27" fmla="*/ 2147483647 h 110"/>
              <a:gd name="T28" fmla="*/ 2147483647 w 470"/>
              <a:gd name="T29" fmla="*/ 2147483647 h 110"/>
              <a:gd name="T30" fmla="*/ 2147483647 w 470"/>
              <a:gd name="T31" fmla="*/ 2147483647 h 110"/>
              <a:gd name="T32" fmla="*/ 2147483647 w 470"/>
              <a:gd name="T33" fmla="*/ 2147483647 h 110"/>
              <a:gd name="T34" fmla="*/ 2147483647 w 470"/>
              <a:gd name="T35" fmla="*/ 2147483647 h 110"/>
              <a:gd name="T36" fmla="*/ 2147483647 w 470"/>
              <a:gd name="T37" fmla="*/ 2147483647 h 110"/>
              <a:gd name="T38" fmla="*/ 2147483647 w 470"/>
              <a:gd name="T39" fmla="*/ 2147483647 h 110"/>
              <a:gd name="T40" fmla="*/ 2147483647 w 470"/>
              <a:gd name="T41" fmla="*/ 2147483647 h 110"/>
              <a:gd name="T42" fmla="*/ 2147483647 w 470"/>
              <a:gd name="T43" fmla="*/ 0 h 110"/>
              <a:gd name="T44" fmla="*/ 2147483647 w 470"/>
              <a:gd name="T45" fmla="*/ 0 h 110"/>
              <a:gd name="T46" fmla="*/ 0 w 470"/>
              <a:gd name="T47" fmla="*/ 2147483647 h 110"/>
              <a:gd name="T48" fmla="*/ 0 w 470"/>
              <a:gd name="T49" fmla="*/ 2147483647 h 110"/>
              <a:gd name="T50" fmla="*/ 2147483647 w 470"/>
              <a:gd name="T51" fmla="*/ 2147483647 h 110"/>
              <a:gd name="T52" fmla="*/ 2147483647 w 470"/>
              <a:gd name="T53" fmla="*/ 2147483647 h 110"/>
              <a:gd name="T54" fmla="*/ 2147483647 w 470"/>
              <a:gd name="T55" fmla="*/ 2147483647 h 110"/>
              <a:gd name="T56" fmla="*/ 2147483647 w 470"/>
              <a:gd name="T57" fmla="*/ 2147483647 h 110"/>
              <a:gd name="T58" fmla="*/ 2147483647 w 470"/>
              <a:gd name="T59" fmla="*/ 2147483647 h 110"/>
              <a:gd name="T60" fmla="*/ 2147483647 w 470"/>
              <a:gd name="T61" fmla="*/ 2147483647 h 110"/>
              <a:gd name="T62" fmla="*/ 2147483647 w 470"/>
              <a:gd name="T63" fmla="*/ 2147483647 h 110"/>
              <a:gd name="T64" fmla="*/ 2147483647 w 470"/>
              <a:gd name="T65" fmla="*/ 2147483647 h 110"/>
              <a:gd name="T66" fmla="*/ 2147483647 w 470"/>
              <a:gd name="T67" fmla="*/ 2147483647 h 110"/>
              <a:gd name="T68" fmla="*/ 2147483647 w 470"/>
              <a:gd name="T69" fmla="*/ 2147483647 h 110"/>
              <a:gd name="T70" fmla="*/ 2147483647 w 470"/>
              <a:gd name="T71" fmla="*/ 2147483647 h 110"/>
              <a:gd name="T72" fmla="*/ 2147483647 w 470"/>
              <a:gd name="T73" fmla="*/ 2147483647 h 110"/>
              <a:gd name="T74" fmla="*/ 2147483647 w 470"/>
              <a:gd name="T75" fmla="*/ 2147483647 h 110"/>
              <a:gd name="T76" fmla="*/ 2147483647 w 470"/>
              <a:gd name="T77" fmla="*/ 2147483647 h 110"/>
              <a:gd name="T78" fmla="*/ 2147483647 w 470"/>
              <a:gd name="T79" fmla="*/ 2147483647 h 110"/>
              <a:gd name="T80" fmla="*/ 2147483647 w 470"/>
              <a:gd name="T81" fmla="*/ 2147483647 h 110"/>
              <a:gd name="T82" fmla="*/ 2147483647 w 470"/>
              <a:gd name="T83" fmla="*/ 2147483647 h 110"/>
              <a:gd name="T84" fmla="*/ 2147483647 w 470"/>
              <a:gd name="T85" fmla="*/ 2147483647 h 110"/>
              <a:gd name="T86" fmla="*/ 2147483647 w 470"/>
              <a:gd name="T87" fmla="*/ 2147483647 h 110"/>
              <a:gd name="T88" fmla="*/ 2147483647 w 470"/>
              <a:gd name="T89" fmla="*/ 2147483647 h 110"/>
              <a:gd name="T90" fmla="*/ 2147483647 w 470"/>
              <a:gd name="T91" fmla="*/ 2147483647 h 110"/>
              <a:gd name="T92" fmla="*/ 2147483647 w 470"/>
              <a:gd name="T93" fmla="*/ 2147483647 h 110"/>
              <a:gd name="T94" fmla="*/ 2147483647 w 470"/>
              <a:gd name="T95" fmla="*/ 2147483647 h 110"/>
              <a:gd name="T96" fmla="*/ 2147483647 w 470"/>
              <a:gd name="T97" fmla="*/ 2147483647 h 110"/>
              <a:gd name="T98" fmla="*/ 2147483647 w 470"/>
              <a:gd name="T99" fmla="*/ 2147483647 h 110"/>
              <a:gd name="T100" fmla="*/ 2147483647 w 470"/>
              <a:gd name="T101" fmla="*/ 2147483647 h 110"/>
              <a:gd name="T102" fmla="*/ 2147483647 w 470"/>
              <a:gd name="T103" fmla="*/ 2147483647 h 110"/>
              <a:gd name="T104" fmla="*/ 2147483647 w 470"/>
              <a:gd name="T105" fmla="*/ 2147483647 h 110"/>
              <a:gd name="T106" fmla="*/ 2147483647 w 470"/>
              <a:gd name="T107" fmla="*/ 2147483647 h 110"/>
              <a:gd name="T108" fmla="*/ 2147483647 w 470"/>
              <a:gd name="T109" fmla="*/ 2147483647 h 110"/>
              <a:gd name="T110" fmla="*/ 2147483647 w 470"/>
              <a:gd name="T111" fmla="*/ 2147483647 h 110"/>
              <a:gd name="T112" fmla="*/ 2147483647 w 470"/>
              <a:gd name="T113" fmla="*/ 2147483647 h 110"/>
              <a:gd name="T114" fmla="*/ 2147483647 w 470"/>
              <a:gd name="T115" fmla="*/ 2147483647 h 110"/>
              <a:gd name="T116" fmla="*/ 2147483647 w 470"/>
              <a:gd name="T117" fmla="*/ 2147483647 h 110"/>
              <a:gd name="T118" fmla="*/ 2147483647 w 470"/>
              <a:gd name="T119" fmla="*/ 2147483647 h 11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470"/>
              <a:gd name="T181" fmla="*/ 0 h 110"/>
              <a:gd name="T182" fmla="*/ 470 w 470"/>
              <a:gd name="T183" fmla="*/ 110 h 110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470" h="110">
                <a:moveTo>
                  <a:pt x="398" y="72"/>
                </a:moveTo>
                <a:cubicBezTo>
                  <a:pt x="402" y="72"/>
                  <a:pt x="406" y="69"/>
                  <a:pt x="406" y="64"/>
                </a:cubicBezTo>
                <a:cubicBezTo>
                  <a:pt x="406" y="60"/>
                  <a:pt x="402" y="56"/>
                  <a:pt x="398" y="56"/>
                </a:cubicBezTo>
                <a:cubicBezTo>
                  <a:pt x="393" y="56"/>
                  <a:pt x="390" y="60"/>
                  <a:pt x="390" y="64"/>
                </a:cubicBezTo>
                <a:cubicBezTo>
                  <a:pt x="390" y="69"/>
                  <a:pt x="393" y="72"/>
                  <a:pt x="398" y="72"/>
                </a:cubicBezTo>
                <a:close/>
                <a:moveTo>
                  <a:pt x="398" y="49"/>
                </a:moveTo>
                <a:cubicBezTo>
                  <a:pt x="402" y="49"/>
                  <a:pt x="406" y="45"/>
                  <a:pt x="406" y="40"/>
                </a:cubicBezTo>
                <a:cubicBezTo>
                  <a:pt x="406" y="36"/>
                  <a:pt x="402" y="32"/>
                  <a:pt x="398" y="32"/>
                </a:cubicBezTo>
                <a:cubicBezTo>
                  <a:pt x="393" y="32"/>
                  <a:pt x="390" y="36"/>
                  <a:pt x="390" y="40"/>
                </a:cubicBezTo>
                <a:cubicBezTo>
                  <a:pt x="390" y="45"/>
                  <a:pt x="393" y="49"/>
                  <a:pt x="398" y="49"/>
                </a:cubicBezTo>
                <a:close/>
                <a:moveTo>
                  <a:pt x="470" y="19"/>
                </a:moveTo>
                <a:cubicBezTo>
                  <a:pt x="470" y="9"/>
                  <a:pt x="461" y="0"/>
                  <a:pt x="451" y="0"/>
                </a:cubicBezTo>
                <a:cubicBezTo>
                  <a:pt x="408" y="0"/>
                  <a:pt x="408" y="0"/>
                  <a:pt x="408" y="0"/>
                </a:cubicBezTo>
                <a:cubicBezTo>
                  <a:pt x="403" y="0"/>
                  <a:pt x="400" y="4"/>
                  <a:pt x="400" y="8"/>
                </a:cubicBezTo>
                <a:cubicBezTo>
                  <a:pt x="400" y="12"/>
                  <a:pt x="403" y="16"/>
                  <a:pt x="408" y="16"/>
                </a:cubicBezTo>
                <a:cubicBezTo>
                  <a:pt x="423" y="16"/>
                  <a:pt x="423" y="16"/>
                  <a:pt x="423" y="16"/>
                </a:cubicBezTo>
                <a:cubicBezTo>
                  <a:pt x="423" y="94"/>
                  <a:pt x="423" y="94"/>
                  <a:pt x="423" y="94"/>
                </a:cubicBezTo>
                <a:cubicBezTo>
                  <a:pt x="47" y="94"/>
                  <a:pt x="47" y="94"/>
                  <a:pt x="47" y="94"/>
                </a:cubicBezTo>
                <a:cubicBezTo>
                  <a:pt x="47" y="16"/>
                  <a:pt x="47" y="16"/>
                  <a:pt x="47" y="16"/>
                </a:cubicBezTo>
                <a:cubicBezTo>
                  <a:pt x="379" y="16"/>
                  <a:pt x="379" y="16"/>
                  <a:pt x="379" y="16"/>
                </a:cubicBezTo>
                <a:cubicBezTo>
                  <a:pt x="383" y="16"/>
                  <a:pt x="386" y="12"/>
                  <a:pt x="386" y="8"/>
                </a:cubicBezTo>
                <a:cubicBezTo>
                  <a:pt x="386" y="4"/>
                  <a:pt x="383" y="0"/>
                  <a:pt x="379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9" y="0"/>
                  <a:pt x="0" y="9"/>
                  <a:pt x="0" y="19"/>
                </a:cubicBezTo>
                <a:cubicBezTo>
                  <a:pt x="0" y="91"/>
                  <a:pt x="0" y="91"/>
                  <a:pt x="0" y="91"/>
                </a:cubicBezTo>
                <a:cubicBezTo>
                  <a:pt x="0" y="101"/>
                  <a:pt x="9" y="110"/>
                  <a:pt x="19" y="110"/>
                </a:cubicBezTo>
                <a:cubicBezTo>
                  <a:pt x="451" y="110"/>
                  <a:pt x="451" y="110"/>
                  <a:pt x="451" y="110"/>
                </a:cubicBezTo>
                <a:cubicBezTo>
                  <a:pt x="461" y="110"/>
                  <a:pt x="470" y="101"/>
                  <a:pt x="470" y="91"/>
                </a:cubicBezTo>
                <a:cubicBezTo>
                  <a:pt x="470" y="34"/>
                  <a:pt x="470" y="34"/>
                  <a:pt x="470" y="34"/>
                </a:cubicBezTo>
                <a:lnTo>
                  <a:pt x="470" y="19"/>
                </a:lnTo>
                <a:close/>
                <a:moveTo>
                  <a:pt x="32" y="94"/>
                </a:moveTo>
                <a:cubicBezTo>
                  <a:pt x="19" y="94"/>
                  <a:pt x="19" y="94"/>
                  <a:pt x="19" y="94"/>
                </a:cubicBezTo>
                <a:cubicBezTo>
                  <a:pt x="17" y="94"/>
                  <a:pt x="15" y="93"/>
                  <a:pt x="15" y="91"/>
                </a:cubicBezTo>
                <a:cubicBezTo>
                  <a:pt x="15" y="19"/>
                  <a:pt x="15" y="19"/>
                  <a:pt x="15" y="19"/>
                </a:cubicBezTo>
                <a:cubicBezTo>
                  <a:pt x="15" y="17"/>
                  <a:pt x="17" y="16"/>
                  <a:pt x="19" y="16"/>
                </a:cubicBezTo>
                <a:cubicBezTo>
                  <a:pt x="32" y="16"/>
                  <a:pt x="32" y="16"/>
                  <a:pt x="32" y="16"/>
                </a:cubicBezTo>
                <a:lnTo>
                  <a:pt x="32" y="94"/>
                </a:lnTo>
                <a:close/>
                <a:moveTo>
                  <a:pt x="455" y="91"/>
                </a:moveTo>
                <a:cubicBezTo>
                  <a:pt x="455" y="92"/>
                  <a:pt x="453" y="94"/>
                  <a:pt x="451" y="94"/>
                </a:cubicBezTo>
                <a:cubicBezTo>
                  <a:pt x="451" y="94"/>
                  <a:pt x="451" y="94"/>
                  <a:pt x="451" y="94"/>
                </a:cubicBezTo>
                <a:cubicBezTo>
                  <a:pt x="438" y="94"/>
                  <a:pt x="438" y="94"/>
                  <a:pt x="438" y="94"/>
                </a:cubicBezTo>
                <a:cubicBezTo>
                  <a:pt x="438" y="16"/>
                  <a:pt x="438" y="16"/>
                  <a:pt x="438" y="16"/>
                </a:cubicBezTo>
                <a:cubicBezTo>
                  <a:pt x="451" y="16"/>
                  <a:pt x="451" y="16"/>
                  <a:pt x="451" y="16"/>
                </a:cubicBezTo>
                <a:cubicBezTo>
                  <a:pt x="451" y="16"/>
                  <a:pt x="451" y="16"/>
                  <a:pt x="451" y="16"/>
                </a:cubicBezTo>
                <a:cubicBezTo>
                  <a:pt x="451" y="16"/>
                  <a:pt x="451" y="16"/>
                  <a:pt x="451" y="16"/>
                </a:cubicBezTo>
                <a:cubicBezTo>
                  <a:pt x="451" y="16"/>
                  <a:pt x="451" y="16"/>
                  <a:pt x="451" y="16"/>
                </a:cubicBezTo>
                <a:cubicBezTo>
                  <a:pt x="451" y="16"/>
                  <a:pt x="451" y="16"/>
                  <a:pt x="451" y="16"/>
                </a:cubicBezTo>
                <a:cubicBezTo>
                  <a:pt x="453" y="16"/>
                  <a:pt x="455" y="18"/>
                  <a:pt x="455" y="19"/>
                </a:cubicBezTo>
                <a:cubicBezTo>
                  <a:pt x="455" y="34"/>
                  <a:pt x="455" y="34"/>
                  <a:pt x="455" y="34"/>
                </a:cubicBezTo>
                <a:cubicBezTo>
                  <a:pt x="455" y="34"/>
                  <a:pt x="455" y="34"/>
                  <a:pt x="455" y="34"/>
                </a:cubicBezTo>
                <a:lnTo>
                  <a:pt x="455" y="91"/>
                </a:lnTo>
                <a:close/>
                <a:moveTo>
                  <a:pt x="204" y="39"/>
                </a:moveTo>
                <a:cubicBezTo>
                  <a:pt x="200" y="39"/>
                  <a:pt x="196" y="42"/>
                  <a:pt x="196" y="47"/>
                </a:cubicBezTo>
                <a:cubicBezTo>
                  <a:pt x="196" y="59"/>
                  <a:pt x="196" y="59"/>
                  <a:pt x="196" y="59"/>
                </a:cubicBezTo>
                <a:cubicBezTo>
                  <a:pt x="196" y="63"/>
                  <a:pt x="200" y="67"/>
                  <a:pt x="204" y="67"/>
                </a:cubicBezTo>
                <a:cubicBezTo>
                  <a:pt x="358" y="67"/>
                  <a:pt x="358" y="67"/>
                  <a:pt x="358" y="67"/>
                </a:cubicBezTo>
                <a:cubicBezTo>
                  <a:pt x="363" y="67"/>
                  <a:pt x="366" y="63"/>
                  <a:pt x="366" y="59"/>
                </a:cubicBezTo>
                <a:cubicBezTo>
                  <a:pt x="366" y="47"/>
                  <a:pt x="366" y="47"/>
                  <a:pt x="366" y="47"/>
                </a:cubicBezTo>
                <a:cubicBezTo>
                  <a:pt x="366" y="42"/>
                  <a:pt x="363" y="39"/>
                  <a:pt x="358" y="39"/>
                </a:cubicBezTo>
                <a:lnTo>
                  <a:pt x="204" y="39"/>
                </a:lnTo>
                <a:close/>
              </a:path>
            </a:pathLst>
          </a:custGeom>
          <a:solidFill>
            <a:srgbClr val="8F3F7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191" name="AutoShape 101"/>
          <p:cNvSpPr>
            <a:spLocks noChangeArrowheads="1"/>
          </p:cNvSpPr>
          <p:nvPr/>
        </p:nvSpPr>
        <p:spPr bwMode="auto">
          <a:xfrm>
            <a:off x="5160988" y="3789363"/>
            <a:ext cx="1368425" cy="647700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353536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192" name="Line 102"/>
          <p:cNvSpPr>
            <a:spLocks noChangeShapeType="1"/>
          </p:cNvSpPr>
          <p:nvPr/>
        </p:nvSpPr>
        <p:spPr bwMode="auto">
          <a:xfrm>
            <a:off x="5808665" y="4024313"/>
            <a:ext cx="360363" cy="0"/>
          </a:xfrm>
          <a:prstGeom prst="line">
            <a:avLst/>
          </a:prstGeom>
          <a:noFill/>
          <a:ln w="2857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353536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193" name="Freeform 8"/>
          <p:cNvSpPr>
            <a:spLocks noChangeAspect="1" noEditPoints="1"/>
          </p:cNvSpPr>
          <p:nvPr/>
        </p:nvSpPr>
        <p:spPr bwMode="auto">
          <a:xfrm>
            <a:off x="9194801" y="2563849"/>
            <a:ext cx="312739" cy="504825"/>
          </a:xfrm>
          <a:custGeom>
            <a:avLst/>
            <a:gdLst>
              <a:gd name="T0" fmla="*/ 2147483647 w 255"/>
              <a:gd name="T1" fmla="*/ 2147483647 h 412"/>
              <a:gd name="T2" fmla="*/ 2147483647 w 255"/>
              <a:gd name="T3" fmla="*/ 2147483647 h 412"/>
              <a:gd name="T4" fmla="*/ 2147483647 w 255"/>
              <a:gd name="T5" fmla="*/ 2147483647 h 412"/>
              <a:gd name="T6" fmla="*/ 2147483647 w 255"/>
              <a:gd name="T7" fmla="*/ 2147483647 h 412"/>
              <a:gd name="T8" fmla="*/ 2147483647 w 255"/>
              <a:gd name="T9" fmla="*/ 2147483647 h 412"/>
              <a:gd name="T10" fmla="*/ 2147483647 w 255"/>
              <a:gd name="T11" fmla="*/ 2147483647 h 412"/>
              <a:gd name="T12" fmla="*/ 2147483647 w 255"/>
              <a:gd name="T13" fmla="*/ 2147483647 h 412"/>
              <a:gd name="T14" fmla="*/ 2147483647 w 255"/>
              <a:gd name="T15" fmla="*/ 2147483647 h 412"/>
              <a:gd name="T16" fmla="*/ 2147483647 w 255"/>
              <a:gd name="T17" fmla="*/ 2147483647 h 412"/>
              <a:gd name="T18" fmla="*/ 2147483647 w 255"/>
              <a:gd name="T19" fmla="*/ 2147483647 h 412"/>
              <a:gd name="T20" fmla="*/ 2147483647 w 255"/>
              <a:gd name="T21" fmla="*/ 2147483647 h 412"/>
              <a:gd name="T22" fmla="*/ 2147483647 w 255"/>
              <a:gd name="T23" fmla="*/ 2147483647 h 412"/>
              <a:gd name="T24" fmla="*/ 2147483647 w 255"/>
              <a:gd name="T25" fmla="*/ 2147483647 h 412"/>
              <a:gd name="T26" fmla="*/ 2147483647 w 255"/>
              <a:gd name="T27" fmla="*/ 2147483647 h 412"/>
              <a:gd name="T28" fmla="*/ 2147483647 w 255"/>
              <a:gd name="T29" fmla="*/ 2147483647 h 412"/>
              <a:gd name="T30" fmla="*/ 2147483647 w 255"/>
              <a:gd name="T31" fmla="*/ 2147483647 h 412"/>
              <a:gd name="T32" fmla="*/ 2147483647 w 255"/>
              <a:gd name="T33" fmla="*/ 2147483647 h 412"/>
              <a:gd name="T34" fmla="*/ 2147483647 w 255"/>
              <a:gd name="T35" fmla="*/ 2147483647 h 412"/>
              <a:gd name="T36" fmla="*/ 2147483647 w 255"/>
              <a:gd name="T37" fmla="*/ 2147483647 h 412"/>
              <a:gd name="T38" fmla="*/ 2147483647 w 255"/>
              <a:gd name="T39" fmla="*/ 2147483647 h 412"/>
              <a:gd name="T40" fmla="*/ 2147483647 w 255"/>
              <a:gd name="T41" fmla="*/ 2147483647 h 412"/>
              <a:gd name="T42" fmla="*/ 2147483647 w 255"/>
              <a:gd name="T43" fmla="*/ 2147483647 h 412"/>
              <a:gd name="T44" fmla="*/ 2147483647 w 255"/>
              <a:gd name="T45" fmla="*/ 2147483647 h 412"/>
              <a:gd name="T46" fmla="*/ 2147483647 w 255"/>
              <a:gd name="T47" fmla="*/ 2147483647 h 412"/>
              <a:gd name="T48" fmla="*/ 2147483647 w 255"/>
              <a:gd name="T49" fmla="*/ 2147483647 h 412"/>
              <a:gd name="T50" fmla="*/ 2147483647 w 255"/>
              <a:gd name="T51" fmla="*/ 2147483647 h 412"/>
              <a:gd name="T52" fmla="*/ 2147483647 w 255"/>
              <a:gd name="T53" fmla="*/ 2147483647 h 412"/>
              <a:gd name="T54" fmla="*/ 2147483647 w 255"/>
              <a:gd name="T55" fmla="*/ 2147483647 h 412"/>
              <a:gd name="T56" fmla="*/ 2147483647 w 255"/>
              <a:gd name="T57" fmla="*/ 2147483647 h 412"/>
              <a:gd name="T58" fmla="*/ 2147483647 w 255"/>
              <a:gd name="T59" fmla="*/ 2147483647 h 412"/>
              <a:gd name="T60" fmla="*/ 2147483647 w 255"/>
              <a:gd name="T61" fmla="*/ 2147483647 h 412"/>
              <a:gd name="T62" fmla="*/ 2147483647 w 255"/>
              <a:gd name="T63" fmla="*/ 2147483647 h 412"/>
              <a:gd name="T64" fmla="*/ 2147483647 w 255"/>
              <a:gd name="T65" fmla="*/ 2147483647 h 412"/>
              <a:gd name="T66" fmla="*/ 2147483647 w 255"/>
              <a:gd name="T67" fmla="*/ 2147483647 h 412"/>
              <a:gd name="T68" fmla="*/ 2147483647 w 255"/>
              <a:gd name="T69" fmla="*/ 2147483647 h 412"/>
              <a:gd name="T70" fmla="*/ 2147483647 w 255"/>
              <a:gd name="T71" fmla="*/ 2147483647 h 412"/>
              <a:gd name="T72" fmla="*/ 2147483647 w 255"/>
              <a:gd name="T73" fmla="*/ 2147483647 h 412"/>
              <a:gd name="T74" fmla="*/ 2147483647 w 255"/>
              <a:gd name="T75" fmla="*/ 2147483647 h 412"/>
              <a:gd name="T76" fmla="*/ 2147483647 w 255"/>
              <a:gd name="T77" fmla="*/ 2147483647 h 412"/>
              <a:gd name="T78" fmla="*/ 2147483647 w 255"/>
              <a:gd name="T79" fmla="*/ 2147483647 h 412"/>
              <a:gd name="T80" fmla="*/ 2147483647 w 255"/>
              <a:gd name="T81" fmla="*/ 2147483647 h 412"/>
              <a:gd name="T82" fmla="*/ 2147483647 w 255"/>
              <a:gd name="T83" fmla="*/ 2147483647 h 412"/>
              <a:gd name="T84" fmla="*/ 2147483647 w 255"/>
              <a:gd name="T85" fmla="*/ 2147483647 h 412"/>
              <a:gd name="T86" fmla="*/ 2147483647 w 255"/>
              <a:gd name="T87" fmla="*/ 2147483647 h 412"/>
              <a:gd name="T88" fmla="*/ 2147483647 w 255"/>
              <a:gd name="T89" fmla="*/ 2147483647 h 412"/>
              <a:gd name="T90" fmla="*/ 2147483647 w 255"/>
              <a:gd name="T91" fmla="*/ 2147483647 h 412"/>
              <a:gd name="T92" fmla="*/ 2147483647 w 255"/>
              <a:gd name="T93" fmla="*/ 2147483647 h 412"/>
              <a:gd name="T94" fmla="*/ 2147483647 w 255"/>
              <a:gd name="T95" fmla="*/ 2147483647 h 412"/>
              <a:gd name="T96" fmla="*/ 2147483647 w 255"/>
              <a:gd name="T97" fmla="*/ 2147483647 h 412"/>
              <a:gd name="T98" fmla="*/ 2147483647 w 255"/>
              <a:gd name="T99" fmla="*/ 2147483647 h 412"/>
              <a:gd name="T100" fmla="*/ 0 w 255"/>
              <a:gd name="T101" fmla="*/ 2147483647 h 412"/>
              <a:gd name="T102" fmla="*/ 2147483647 w 255"/>
              <a:gd name="T103" fmla="*/ 2147483647 h 412"/>
              <a:gd name="T104" fmla="*/ 2147483647 w 255"/>
              <a:gd name="T105" fmla="*/ 2147483647 h 412"/>
              <a:gd name="T106" fmla="*/ 2147483647 w 255"/>
              <a:gd name="T107" fmla="*/ 2147483647 h 412"/>
              <a:gd name="T108" fmla="*/ 2147483647 w 255"/>
              <a:gd name="T109" fmla="*/ 2147483647 h 412"/>
              <a:gd name="T110" fmla="*/ 2147483647 w 255"/>
              <a:gd name="T111" fmla="*/ 2147483647 h 41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55"/>
              <a:gd name="T169" fmla="*/ 0 h 412"/>
              <a:gd name="T170" fmla="*/ 255 w 255"/>
              <a:gd name="T171" fmla="*/ 412 h 412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55" h="412">
                <a:moveTo>
                  <a:pt x="169" y="344"/>
                </a:moveTo>
                <a:cubicBezTo>
                  <a:pt x="45" y="344"/>
                  <a:pt x="45" y="344"/>
                  <a:pt x="45" y="344"/>
                </a:cubicBezTo>
                <a:cubicBezTo>
                  <a:pt x="37" y="344"/>
                  <a:pt x="30" y="349"/>
                  <a:pt x="29" y="358"/>
                </a:cubicBezTo>
                <a:cubicBezTo>
                  <a:pt x="29" y="370"/>
                  <a:pt x="29" y="370"/>
                  <a:pt x="29" y="370"/>
                </a:cubicBezTo>
                <a:cubicBezTo>
                  <a:pt x="30" y="380"/>
                  <a:pt x="37" y="385"/>
                  <a:pt x="45" y="385"/>
                </a:cubicBezTo>
                <a:cubicBezTo>
                  <a:pt x="169" y="385"/>
                  <a:pt x="169" y="385"/>
                  <a:pt x="169" y="385"/>
                </a:cubicBezTo>
                <a:cubicBezTo>
                  <a:pt x="177" y="385"/>
                  <a:pt x="185" y="380"/>
                  <a:pt x="185" y="370"/>
                </a:cubicBezTo>
                <a:cubicBezTo>
                  <a:pt x="185" y="358"/>
                  <a:pt x="185" y="358"/>
                  <a:pt x="185" y="358"/>
                </a:cubicBezTo>
                <a:cubicBezTo>
                  <a:pt x="184" y="349"/>
                  <a:pt x="177" y="344"/>
                  <a:pt x="169" y="344"/>
                </a:cubicBezTo>
                <a:close/>
                <a:moveTo>
                  <a:pt x="169" y="369"/>
                </a:moveTo>
                <a:cubicBezTo>
                  <a:pt x="45" y="369"/>
                  <a:pt x="45" y="369"/>
                  <a:pt x="45" y="369"/>
                </a:cubicBezTo>
                <a:cubicBezTo>
                  <a:pt x="45" y="369"/>
                  <a:pt x="45" y="369"/>
                  <a:pt x="45" y="369"/>
                </a:cubicBezTo>
                <a:cubicBezTo>
                  <a:pt x="45" y="360"/>
                  <a:pt x="45" y="360"/>
                  <a:pt x="45" y="360"/>
                </a:cubicBezTo>
                <a:cubicBezTo>
                  <a:pt x="45" y="360"/>
                  <a:pt x="45" y="360"/>
                  <a:pt x="45" y="360"/>
                </a:cubicBezTo>
                <a:cubicBezTo>
                  <a:pt x="169" y="360"/>
                  <a:pt x="169" y="360"/>
                  <a:pt x="169" y="360"/>
                </a:cubicBezTo>
                <a:lnTo>
                  <a:pt x="169" y="369"/>
                </a:lnTo>
                <a:close/>
                <a:moveTo>
                  <a:pt x="185" y="306"/>
                </a:moveTo>
                <a:cubicBezTo>
                  <a:pt x="185" y="297"/>
                  <a:pt x="177" y="291"/>
                  <a:pt x="169" y="291"/>
                </a:cubicBezTo>
                <a:cubicBezTo>
                  <a:pt x="45" y="291"/>
                  <a:pt x="45" y="291"/>
                  <a:pt x="45" y="291"/>
                </a:cubicBezTo>
                <a:cubicBezTo>
                  <a:pt x="37" y="291"/>
                  <a:pt x="30" y="297"/>
                  <a:pt x="29" y="306"/>
                </a:cubicBezTo>
                <a:cubicBezTo>
                  <a:pt x="29" y="318"/>
                  <a:pt x="29" y="318"/>
                  <a:pt x="29" y="318"/>
                </a:cubicBezTo>
                <a:cubicBezTo>
                  <a:pt x="30" y="327"/>
                  <a:pt x="37" y="333"/>
                  <a:pt x="45" y="333"/>
                </a:cubicBezTo>
                <a:cubicBezTo>
                  <a:pt x="169" y="333"/>
                  <a:pt x="169" y="333"/>
                  <a:pt x="169" y="333"/>
                </a:cubicBezTo>
                <a:cubicBezTo>
                  <a:pt x="177" y="333"/>
                  <a:pt x="184" y="327"/>
                  <a:pt x="185" y="318"/>
                </a:cubicBezTo>
                <a:lnTo>
                  <a:pt x="185" y="306"/>
                </a:lnTo>
                <a:close/>
                <a:moveTo>
                  <a:pt x="169" y="317"/>
                </a:moveTo>
                <a:cubicBezTo>
                  <a:pt x="45" y="317"/>
                  <a:pt x="45" y="317"/>
                  <a:pt x="45" y="317"/>
                </a:cubicBezTo>
                <a:cubicBezTo>
                  <a:pt x="45" y="317"/>
                  <a:pt x="45" y="317"/>
                  <a:pt x="45" y="317"/>
                </a:cubicBezTo>
                <a:cubicBezTo>
                  <a:pt x="45" y="307"/>
                  <a:pt x="45" y="307"/>
                  <a:pt x="45" y="307"/>
                </a:cubicBezTo>
                <a:cubicBezTo>
                  <a:pt x="45" y="307"/>
                  <a:pt x="45" y="307"/>
                  <a:pt x="45" y="307"/>
                </a:cubicBezTo>
                <a:cubicBezTo>
                  <a:pt x="169" y="307"/>
                  <a:pt x="169" y="307"/>
                  <a:pt x="169" y="307"/>
                </a:cubicBezTo>
                <a:lnTo>
                  <a:pt x="169" y="317"/>
                </a:lnTo>
                <a:close/>
                <a:moveTo>
                  <a:pt x="185" y="253"/>
                </a:moveTo>
                <a:cubicBezTo>
                  <a:pt x="184" y="244"/>
                  <a:pt x="177" y="239"/>
                  <a:pt x="169" y="239"/>
                </a:cubicBezTo>
                <a:cubicBezTo>
                  <a:pt x="45" y="239"/>
                  <a:pt x="45" y="239"/>
                  <a:pt x="45" y="239"/>
                </a:cubicBezTo>
                <a:cubicBezTo>
                  <a:pt x="37" y="239"/>
                  <a:pt x="30" y="244"/>
                  <a:pt x="29" y="253"/>
                </a:cubicBezTo>
                <a:cubicBezTo>
                  <a:pt x="29" y="265"/>
                  <a:pt x="29" y="265"/>
                  <a:pt x="29" y="265"/>
                </a:cubicBezTo>
                <a:cubicBezTo>
                  <a:pt x="30" y="275"/>
                  <a:pt x="37" y="280"/>
                  <a:pt x="45" y="280"/>
                </a:cubicBezTo>
                <a:cubicBezTo>
                  <a:pt x="169" y="280"/>
                  <a:pt x="169" y="280"/>
                  <a:pt x="169" y="280"/>
                </a:cubicBezTo>
                <a:cubicBezTo>
                  <a:pt x="177" y="280"/>
                  <a:pt x="185" y="275"/>
                  <a:pt x="185" y="265"/>
                </a:cubicBezTo>
                <a:lnTo>
                  <a:pt x="185" y="253"/>
                </a:lnTo>
                <a:close/>
                <a:moveTo>
                  <a:pt x="169" y="264"/>
                </a:moveTo>
                <a:cubicBezTo>
                  <a:pt x="45" y="264"/>
                  <a:pt x="45" y="264"/>
                  <a:pt x="45" y="264"/>
                </a:cubicBezTo>
                <a:cubicBezTo>
                  <a:pt x="45" y="264"/>
                  <a:pt x="45" y="264"/>
                  <a:pt x="45" y="264"/>
                </a:cubicBezTo>
                <a:cubicBezTo>
                  <a:pt x="45" y="255"/>
                  <a:pt x="45" y="255"/>
                  <a:pt x="45" y="255"/>
                </a:cubicBezTo>
                <a:cubicBezTo>
                  <a:pt x="45" y="255"/>
                  <a:pt x="45" y="255"/>
                  <a:pt x="45" y="255"/>
                </a:cubicBezTo>
                <a:cubicBezTo>
                  <a:pt x="169" y="255"/>
                  <a:pt x="169" y="255"/>
                  <a:pt x="169" y="255"/>
                </a:cubicBezTo>
                <a:lnTo>
                  <a:pt x="169" y="264"/>
                </a:lnTo>
                <a:close/>
                <a:moveTo>
                  <a:pt x="185" y="201"/>
                </a:moveTo>
                <a:cubicBezTo>
                  <a:pt x="185" y="192"/>
                  <a:pt x="177" y="186"/>
                  <a:pt x="169" y="186"/>
                </a:cubicBezTo>
                <a:cubicBezTo>
                  <a:pt x="45" y="186"/>
                  <a:pt x="45" y="186"/>
                  <a:pt x="45" y="186"/>
                </a:cubicBezTo>
                <a:cubicBezTo>
                  <a:pt x="37" y="186"/>
                  <a:pt x="30" y="192"/>
                  <a:pt x="29" y="201"/>
                </a:cubicBezTo>
                <a:cubicBezTo>
                  <a:pt x="29" y="213"/>
                  <a:pt x="29" y="213"/>
                  <a:pt x="29" y="213"/>
                </a:cubicBezTo>
                <a:cubicBezTo>
                  <a:pt x="30" y="222"/>
                  <a:pt x="37" y="228"/>
                  <a:pt x="45" y="228"/>
                </a:cubicBezTo>
                <a:cubicBezTo>
                  <a:pt x="169" y="228"/>
                  <a:pt x="169" y="228"/>
                  <a:pt x="169" y="228"/>
                </a:cubicBezTo>
                <a:cubicBezTo>
                  <a:pt x="177" y="228"/>
                  <a:pt x="184" y="222"/>
                  <a:pt x="185" y="213"/>
                </a:cubicBezTo>
                <a:lnTo>
                  <a:pt x="185" y="201"/>
                </a:lnTo>
                <a:close/>
                <a:moveTo>
                  <a:pt x="169" y="212"/>
                </a:moveTo>
                <a:cubicBezTo>
                  <a:pt x="45" y="212"/>
                  <a:pt x="45" y="212"/>
                  <a:pt x="45" y="212"/>
                </a:cubicBezTo>
                <a:cubicBezTo>
                  <a:pt x="45" y="212"/>
                  <a:pt x="45" y="212"/>
                  <a:pt x="45" y="212"/>
                </a:cubicBezTo>
                <a:cubicBezTo>
                  <a:pt x="45" y="202"/>
                  <a:pt x="45" y="202"/>
                  <a:pt x="45" y="202"/>
                </a:cubicBezTo>
                <a:cubicBezTo>
                  <a:pt x="45" y="202"/>
                  <a:pt x="45" y="202"/>
                  <a:pt x="45" y="202"/>
                </a:cubicBezTo>
                <a:cubicBezTo>
                  <a:pt x="169" y="202"/>
                  <a:pt x="169" y="202"/>
                  <a:pt x="169" y="202"/>
                </a:cubicBezTo>
                <a:lnTo>
                  <a:pt x="169" y="212"/>
                </a:lnTo>
                <a:close/>
                <a:moveTo>
                  <a:pt x="185" y="148"/>
                </a:moveTo>
                <a:cubicBezTo>
                  <a:pt x="184" y="139"/>
                  <a:pt x="177" y="134"/>
                  <a:pt x="169" y="134"/>
                </a:cubicBezTo>
                <a:cubicBezTo>
                  <a:pt x="45" y="134"/>
                  <a:pt x="45" y="134"/>
                  <a:pt x="45" y="134"/>
                </a:cubicBezTo>
                <a:cubicBezTo>
                  <a:pt x="37" y="134"/>
                  <a:pt x="30" y="139"/>
                  <a:pt x="29" y="148"/>
                </a:cubicBezTo>
                <a:cubicBezTo>
                  <a:pt x="29" y="161"/>
                  <a:pt x="29" y="161"/>
                  <a:pt x="29" y="161"/>
                </a:cubicBezTo>
                <a:cubicBezTo>
                  <a:pt x="30" y="170"/>
                  <a:pt x="37" y="175"/>
                  <a:pt x="45" y="175"/>
                </a:cubicBezTo>
                <a:cubicBezTo>
                  <a:pt x="169" y="175"/>
                  <a:pt x="169" y="175"/>
                  <a:pt x="169" y="175"/>
                </a:cubicBezTo>
                <a:cubicBezTo>
                  <a:pt x="177" y="175"/>
                  <a:pt x="185" y="170"/>
                  <a:pt x="185" y="161"/>
                </a:cubicBezTo>
                <a:lnTo>
                  <a:pt x="185" y="148"/>
                </a:lnTo>
                <a:close/>
                <a:moveTo>
                  <a:pt x="169" y="159"/>
                </a:moveTo>
                <a:cubicBezTo>
                  <a:pt x="45" y="159"/>
                  <a:pt x="45" y="159"/>
                  <a:pt x="45" y="159"/>
                </a:cubicBezTo>
                <a:cubicBezTo>
                  <a:pt x="45" y="159"/>
                  <a:pt x="45" y="159"/>
                  <a:pt x="45" y="159"/>
                </a:cubicBezTo>
                <a:cubicBezTo>
                  <a:pt x="45" y="150"/>
                  <a:pt x="45" y="150"/>
                  <a:pt x="45" y="150"/>
                </a:cubicBezTo>
                <a:cubicBezTo>
                  <a:pt x="45" y="150"/>
                  <a:pt x="45" y="150"/>
                  <a:pt x="45" y="150"/>
                </a:cubicBezTo>
                <a:cubicBezTo>
                  <a:pt x="169" y="150"/>
                  <a:pt x="169" y="150"/>
                  <a:pt x="169" y="150"/>
                </a:cubicBezTo>
                <a:lnTo>
                  <a:pt x="169" y="159"/>
                </a:lnTo>
                <a:close/>
                <a:moveTo>
                  <a:pt x="185" y="96"/>
                </a:moveTo>
                <a:cubicBezTo>
                  <a:pt x="185" y="87"/>
                  <a:pt x="177" y="81"/>
                  <a:pt x="169" y="81"/>
                </a:cubicBezTo>
                <a:cubicBezTo>
                  <a:pt x="45" y="81"/>
                  <a:pt x="45" y="81"/>
                  <a:pt x="45" y="81"/>
                </a:cubicBezTo>
                <a:cubicBezTo>
                  <a:pt x="37" y="81"/>
                  <a:pt x="30" y="87"/>
                  <a:pt x="29" y="96"/>
                </a:cubicBezTo>
                <a:cubicBezTo>
                  <a:pt x="29" y="108"/>
                  <a:pt x="29" y="108"/>
                  <a:pt x="29" y="108"/>
                </a:cubicBezTo>
                <a:cubicBezTo>
                  <a:pt x="30" y="117"/>
                  <a:pt x="37" y="123"/>
                  <a:pt x="45" y="123"/>
                </a:cubicBezTo>
                <a:cubicBezTo>
                  <a:pt x="169" y="123"/>
                  <a:pt x="169" y="123"/>
                  <a:pt x="169" y="123"/>
                </a:cubicBezTo>
                <a:cubicBezTo>
                  <a:pt x="177" y="123"/>
                  <a:pt x="184" y="117"/>
                  <a:pt x="185" y="108"/>
                </a:cubicBezTo>
                <a:lnTo>
                  <a:pt x="185" y="96"/>
                </a:lnTo>
                <a:close/>
                <a:moveTo>
                  <a:pt x="169" y="107"/>
                </a:moveTo>
                <a:cubicBezTo>
                  <a:pt x="45" y="107"/>
                  <a:pt x="45" y="107"/>
                  <a:pt x="45" y="107"/>
                </a:cubicBezTo>
                <a:cubicBezTo>
                  <a:pt x="45" y="107"/>
                  <a:pt x="45" y="107"/>
                  <a:pt x="45" y="107"/>
                </a:cubicBezTo>
                <a:cubicBezTo>
                  <a:pt x="45" y="97"/>
                  <a:pt x="45" y="97"/>
                  <a:pt x="45" y="97"/>
                </a:cubicBezTo>
                <a:cubicBezTo>
                  <a:pt x="45" y="97"/>
                  <a:pt x="45" y="97"/>
                  <a:pt x="45" y="97"/>
                </a:cubicBezTo>
                <a:cubicBezTo>
                  <a:pt x="169" y="97"/>
                  <a:pt x="169" y="97"/>
                  <a:pt x="169" y="97"/>
                </a:cubicBezTo>
                <a:lnTo>
                  <a:pt x="169" y="107"/>
                </a:lnTo>
                <a:close/>
                <a:moveTo>
                  <a:pt x="185" y="44"/>
                </a:moveTo>
                <a:cubicBezTo>
                  <a:pt x="184" y="34"/>
                  <a:pt x="177" y="29"/>
                  <a:pt x="169" y="29"/>
                </a:cubicBezTo>
                <a:cubicBezTo>
                  <a:pt x="45" y="29"/>
                  <a:pt x="45" y="29"/>
                  <a:pt x="45" y="29"/>
                </a:cubicBezTo>
                <a:cubicBezTo>
                  <a:pt x="37" y="29"/>
                  <a:pt x="30" y="34"/>
                  <a:pt x="29" y="44"/>
                </a:cubicBezTo>
                <a:cubicBezTo>
                  <a:pt x="29" y="56"/>
                  <a:pt x="29" y="56"/>
                  <a:pt x="29" y="56"/>
                </a:cubicBezTo>
                <a:cubicBezTo>
                  <a:pt x="30" y="65"/>
                  <a:pt x="37" y="70"/>
                  <a:pt x="45" y="70"/>
                </a:cubicBezTo>
                <a:cubicBezTo>
                  <a:pt x="169" y="70"/>
                  <a:pt x="169" y="70"/>
                  <a:pt x="169" y="70"/>
                </a:cubicBezTo>
                <a:cubicBezTo>
                  <a:pt x="177" y="70"/>
                  <a:pt x="185" y="65"/>
                  <a:pt x="185" y="56"/>
                </a:cubicBezTo>
                <a:lnTo>
                  <a:pt x="185" y="44"/>
                </a:lnTo>
                <a:close/>
                <a:moveTo>
                  <a:pt x="169" y="54"/>
                </a:moveTo>
                <a:cubicBezTo>
                  <a:pt x="45" y="54"/>
                  <a:pt x="45" y="54"/>
                  <a:pt x="45" y="54"/>
                </a:cubicBezTo>
                <a:cubicBezTo>
                  <a:pt x="45" y="54"/>
                  <a:pt x="45" y="54"/>
                  <a:pt x="45" y="54"/>
                </a:cubicBezTo>
                <a:cubicBezTo>
                  <a:pt x="45" y="45"/>
                  <a:pt x="45" y="45"/>
                  <a:pt x="45" y="45"/>
                </a:cubicBezTo>
                <a:cubicBezTo>
                  <a:pt x="45" y="45"/>
                  <a:pt x="45" y="45"/>
                  <a:pt x="45" y="45"/>
                </a:cubicBezTo>
                <a:cubicBezTo>
                  <a:pt x="169" y="45"/>
                  <a:pt x="169" y="45"/>
                  <a:pt x="169" y="45"/>
                </a:cubicBezTo>
                <a:lnTo>
                  <a:pt x="169" y="54"/>
                </a:lnTo>
                <a:close/>
                <a:moveTo>
                  <a:pt x="212" y="88"/>
                </a:moveTo>
                <a:cubicBezTo>
                  <a:pt x="204" y="88"/>
                  <a:pt x="198" y="94"/>
                  <a:pt x="198" y="102"/>
                </a:cubicBezTo>
                <a:cubicBezTo>
                  <a:pt x="198" y="110"/>
                  <a:pt x="204" y="116"/>
                  <a:pt x="212" y="116"/>
                </a:cubicBezTo>
                <a:cubicBezTo>
                  <a:pt x="220" y="116"/>
                  <a:pt x="226" y="110"/>
                  <a:pt x="226" y="102"/>
                </a:cubicBezTo>
                <a:cubicBezTo>
                  <a:pt x="226" y="94"/>
                  <a:pt x="220" y="88"/>
                  <a:pt x="212" y="88"/>
                </a:cubicBezTo>
                <a:close/>
                <a:moveTo>
                  <a:pt x="212" y="35"/>
                </a:moveTo>
                <a:cubicBezTo>
                  <a:pt x="204" y="35"/>
                  <a:pt x="198" y="42"/>
                  <a:pt x="198" y="50"/>
                </a:cubicBezTo>
                <a:cubicBezTo>
                  <a:pt x="198" y="57"/>
                  <a:pt x="204" y="64"/>
                  <a:pt x="212" y="64"/>
                </a:cubicBezTo>
                <a:cubicBezTo>
                  <a:pt x="220" y="64"/>
                  <a:pt x="226" y="57"/>
                  <a:pt x="226" y="50"/>
                </a:cubicBezTo>
                <a:cubicBezTo>
                  <a:pt x="226" y="42"/>
                  <a:pt x="220" y="35"/>
                  <a:pt x="212" y="35"/>
                </a:cubicBezTo>
                <a:close/>
                <a:moveTo>
                  <a:pt x="212" y="140"/>
                </a:moveTo>
                <a:cubicBezTo>
                  <a:pt x="204" y="140"/>
                  <a:pt x="198" y="147"/>
                  <a:pt x="198" y="155"/>
                </a:cubicBezTo>
                <a:cubicBezTo>
                  <a:pt x="198" y="162"/>
                  <a:pt x="204" y="169"/>
                  <a:pt x="212" y="169"/>
                </a:cubicBezTo>
                <a:cubicBezTo>
                  <a:pt x="220" y="169"/>
                  <a:pt x="226" y="162"/>
                  <a:pt x="226" y="155"/>
                </a:cubicBezTo>
                <a:cubicBezTo>
                  <a:pt x="226" y="147"/>
                  <a:pt x="220" y="140"/>
                  <a:pt x="212" y="140"/>
                </a:cubicBezTo>
                <a:close/>
                <a:moveTo>
                  <a:pt x="212" y="193"/>
                </a:moveTo>
                <a:cubicBezTo>
                  <a:pt x="204" y="193"/>
                  <a:pt x="198" y="199"/>
                  <a:pt x="198" y="207"/>
                </a:cubicBezTo>
                <a:cubicBezTo>
                  <a:pt x="198" y="215"/>
                  <a:pt x="204" y="221"/>
                  <a:pt x="212" y="221"/>
                </a:cubicBezTo>
                <a:cubicBezTo>
                  <a:pt x="220" y="221"/>
                  <a:pt x="226" y="215"/>
                  <a:pt x="226" y="207"/>
                </a:cubicBezTo>
                <a:cubicBezTo>
                  <a:pt x="226" y="199"/>
                  <a:pt x="220" y="193"/>
                  <a:pt x="212" y="193"/>
                </a:cubicBezTo>
                <a:close/>
                <a:moveTo>
                  <a:pt x="212" y="245"/>
                </a:moveTo>
                <a:cubicBezTo>
                  <a:pt x="204" y="245"/>
                  <a:pt x="198" y="252"/>
                  <a:pt x="198" y="259"/>
                </a:cubicBezTo>
                <a:cubicBezTo>
                  <a:pt x="198" y="267"/>
                  <a:pt x="204" y="274"/>
                  <a:pt x="212" y="274"/>
                </a:cubicBezTo>
                <a:cubicBezTo>
                  <a:pt x="220" y="274"/>
                  <a:pt x="226" y="267"/>
                  <a:pt x="226" y="259"/>
                </a:cubicBezTo>
                <a:cubicBezTo>
                  <a:pt x="226" y="252"/>
                  <a:pt x="220" y="245"/>
                  <a:pt x="212" y="245"/>
                </a:cubicBezTo>
                <a:close/>
                <a:moveTo>
                  <a:pt x="212" y="298"/>
                </a:moveTo>
                <a:cubicBezTo>
                  <a:pt x="204" y="298"/>
                  <a:pt x="198" y="304"/>
                  <a:pt x="198" y="312"/>
                </a:cubicBezTo>
                <a:cubicBezTo>
                  <a:pt x="198" y="320"/>
                  <a:pt x="204" y="326"/>
                  <a:pt x="212" y="326"/>
                </a:cubicBezTo>
                <a:cubicBezTo>
                  <a:pt x="220" y="326"/>
                  <a:pt x="226" y="320"/>
                  <a:pt x="226" y="312"/>
                </a:cubicBezTo>
                <a:cubicBezTo>
                  <a:pt x="226" y="304"/>
                  <a:pt x="220" y="298"/>
                  <a:pt x="212" y="298"/>
                </a:cubicBezTo>
                <a:close/>
                <a:moveTo>
                  <a:pt x="212" y="350"/>
                </a:moveTo>
                <a:cubicBezTo>
                  <a:pt x="204" y="350"/>
                  <a:pt x="198" y="356"/>
                  <a:pt x="198" y="364"/>
                </a:cubicBezTo>
                <a:cubicBezTo>
                  <a:pt x="198" y="372"/>
                  <a:pt x="204" y="379"/>
                  <a:pt x="212" y="379"/>
                </a:cubicBezTo>
                <a:cubicBezTo>
                  <a:pt x="220" y="379"/>
                  <a:pt x="226" y="372"/>
                  <a:pt x="226" y="364"/>
                </a:cubicBezTo>
                <a:cubicBezTo>
                  <a:pt x="226" y="356"/>
                  <a:pt x="220" y="350"/>
                  <a:pt x="212" y="350"/>
                </a:cubicBezTo>
                <a:close/>
                <a:moveTo>
                  <a:pt x="247" y="44"/>
                </a:moveTo>
                <a:cubicBezTo>
                  <a:pt x="251" y="44"/>
                  <a:pt x="255" y="41"/>
                  <a:pt x="255" y="36"/>
                </a:cubicBezTo>
                <a:cubicBezTo>
                  <a:pt x="255" y="16"/>
                  <a:pt x="255" y="16"/>
                  <a:pt x="255" y="16"/>
                </a:cubicBezTo>
                <a:cubicBezTo>
                  <a:pt x="255" y="7"/>
                  <a:pt x="248" y="0"/>
                  <a:pt x="23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7" y="0"/>
                  <a:pt x="0" y="7"/>
                  <a:pt x="0" y="16"/>
                </a:cubicBezTo>
                <a:cubicBezTo>
                  <a:pt x="0" y="396"/>
                  <a:pt x="0" y="396"/>
                  <a:pt x="0" y="396"/>
                </a:cubicBezTo>
                <a:cubicBezTo>
                  <a:pt x="0" y="405"/>
                  <a:pt x="7" y="412"/>
                  <a:pt x="16" y="412"/>
                </a:cubicBezTo>
                <a:cubicBezTo>
                  <a:pt x="239" y="412"/>
                  <a:pt x="239" y="412"/>
                  <a:pt x="239" y="412"/>
                </a:cubicBezTo>
                <a:cubicBezTo>
                  <a:pt x="248" y="412"/>
                  <a:pt x="255" y="405"/>
                  <a:pt x="255" y="396"/>
                </a:cubicBezTo>
                <a:cubicBezTo>
                  <a:pt x="255" y="60"/>
                  <a:pt x="255" y="60"/>
                  <a:pt x="255" y="60"/>
                </a:cubicBezTo>
                <a:cubicBezTo>
                  <a:pt x="255" y="56"/>
                  <a:pt x="251" y="52"/>
                  <a:pt x="247" y="52"/>
                </a:cubicBezTo>
                <a:cubicBezTo>
                  <a:pt x="242" y="52"/>
                  <a:pt x="239" y="56"/>
                  <a:pt x="239" y="60"/>
                </a:cubicBezTo>
                <a:cubicBezTo>
                  <a:pt x="239" y="396"/>
                  <a:pt x="239" y="396"/>
                  <a:pt x="239" y="396"/>
                </a:cubicBezTo>
                <a:cubicBezTo>
                  <a:pt x="16" y="396"/>
                  <a:pt x="16" y="396"/>
                  <a:pt x="16" y="396"/>
                </a:cubicBezTo>
                <a:cubicBezTo>
                  <a:pt x="16" y="396"/>
                  <a:pt x="16" y="396"/>
                  <a:pt x="16" y="396"/>
                </a:cubicBezTo>
                <a:cubicBezTo>
                  <a:pt x="16" y="16"/>
                  <a:pt x="16" y="16"/>
                  <a:pt x="16" y="16"/>
                </a:cubicBezTo>
                <a:cubicBezTo>
                  <a:pt x="16" y="16"/>
                  <a:pt x="16" y="16"/>
                  <a:pt x="16" y="16"/>
                </a:cubicBezTo>
                <a:cubicBezTo>
                  <a:pt x="239" y="16"/>
                  <a:pt x="239" y="16"/>
                  <a:pt x="239" y="16"/>
                </a:cubicBezTo>
                <a:cubicBezTo>
                  <a:pt x="239" y="36"/>
                  <a:pt x="239" y="36"/>
                  <a:pt x="239" y="36"/>
                </a:cubicBezTo>
                <a:cubicBezTo>
                  <a:pt x="239" y="41"/>
                  <a:pt x="242" y="44"/>
                  <a:pt x="247" y="44"/>
                </a:cubicBezTo>
                <a:close/>
              </a:path>
            </a:pathLst>
          </a:custGeom>
          <a:solidFill>
            <a:srgbClr val="5858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194" name="Freeform 8"/>
          <p:cNvSpPr>
            <a:spLocks noChangeAspect="1" noEditPoints="1"/>
          </p:cNvSpPr>
          <p:nvPr/>
        </p:nvSpPr>
        <p:spPr bwMode="auto">
          <a:xfrm>
            <a:off x="9529788" y="2563849"/>
            <a:ext cx="312737" cy="504825"/>
          </a:xfrm>
          <a:custGeom>
            <a:avLst/>
            <a:gdLst>
              <a:gd name="T0" fmla="*/ 2147483647 w 255"/>
              <a:gd name="T1" fmla="*/ 2147483647 h 412"/>
              <a:gd name="T2" fmla="*/ 2147483647 w 255"/>
              <a:gd name="T3" fmla="*/ 2147483647 h 412"/>
              <a:gd name="T4" fmla="*/ 2147483647 w 255"/>
              <a:gd name="T5" fmla="*/ 2147483647 h 412"/>
              <a:gd name="T6" fmla="*/ 2147483647 w 255"/>
              <a:gd name="T7" fmla="*/ 2147483647 h 412"/>
              <a:gd name="T8" fmla="*/ 2147483647 w 255"/>
              <a:gd name="T9" fmla="*/ 2147483647 h 412"/>
              <a:gd name="T10" fmla="*/ 2147483647 w 255"/>
              <a:gd name="T11" fmla="*/ 2147483647 h 412"/>
              <a:gd name="T12" fmla="*/ 2147483647 w 255"/>
              <a:gd name="T13" fmla="*/ 2147483647 h 412"/>
              <a:gd name="T14" fmla="*/ 2147483647 w 255"/>
              <a:gd name="T15" fmla="*/ 2147483647 h 412"/>
              <a:gd name="T16" fmla="*/ 2147483647 w 255"/>
              <a:gd name="T17" fmla="*/ 2147483647 h 412"/>
              <a:gd name="T18" fmla="*/ 2147483647 w 255"/>
              <a:gd name="T19" fmla="*/ 2147483647 h 412"/>
              <a:gd name="T20" fmla="*/ 2147483647 w 255"/>
              <a:gd name="T21" fmla="*/ 2147483647 h 412"/>
              <a:gd name="T22" fmla="*/ 2147483647 w 255"/>
              <a:gd name="T23" fmla="*/ 2147483647 h 412"/>
              <a:gd name="T24" fmla="*/ 2147483647 w 255"/>
              <a:gd name="T25" fmla="*/ 2147483647 h 412"/>
              <a:gd name="T26" fmla="*/ 2147483647 w 255"/>
              <a:gd name="T27" fmla="*/ 2147483647 h 412"/>
              <a:gd name="T28" fmla="*/ 2147483647 w 255"/>
              <a:gd name="T29" fmla="*/ 2147483647 h 412"/>
              <a:gd name="T30" fmla="*/ 2147483647 w 255"/>
              <a:gd name="T31" fmla="*/ 2147483647 h 412"/>
              <a:gd name="T32" fmla="*/ 2147483647 w 255"/>
              <a:gd name="T33" fmla="*/ 2147483647 h 412"/>
              <a:gd name="T34" fmla="*/ 2147483647 w 255"/>
              <a:gd name="T35" fmla="*/ 2147483647 h 412"/>
              <a:gd name="T36" fmla="*/ 2147483647 w 255"/>
              <a:gd name="T37" fmla="*/ 2147483647 h 412"/>
              <a:gd name="T38" fmla="*/ 2147483647 w 255"/>
              <a:gd name="T39" fmla="*/ 2147483647 h 412"/>
              <a:gd name="T40" fmla="*/ 2147483647 w 255"/>
              <a:gd name="T41" fmla="*/ 2147483647 h 412"/>
              <a:gd name="T42" fmla="*/ 2147483647 w 255"/>
              <a:gd name="T43" fmla="*/ 2147483647 h 412"/>
              <a:gd name="T44" fmla="*/ 2147483647 w 255"/>
              <a:gd name="T45" fmla="*/ 2147483647 h 412"/>
              <a:gd name="T46" fmla="*/ 2147483647 w 255"/>
              <a:gd name="T47" fmla="*/ 2147483647 h 412"/>
              <a:gd name="T48" fmla="*/ 2147483647 w 255"/>
              <a:gd name="T49" fmla="*/ 2147483647 h 412"/>
              <a:gd name="T50" fmla="*/ 2147483647 w 255"/>
              <a:gd name="T51" fmla="*/ 2147483647 h 412"/>
              <a:gd name="T52" fmla="*/ 2147483647 w 255"/>
              <a:gd name="T53" fmla="*/ 2147483647 h 412"/>
              <a:gd name="T54" fmla="*/ 2147483647 w 255"/>
              <a:gd name="T55" fmla="*/ 2147483647 h 412"/>
              <a:gd name="T56" fmla="*/ 2147483647 w 255"/>
              <a:gd name="T57" fmla="*/ 2147483647 h 412"/>
              <a:gd name="T58" fmla="*/ 2147483647 w 255"/>
              <a:gd name="T59" fmla="*/ 2147483647 h 412"/>
              <a:gd name="T60" fmla="*/ 2147483647 w 255"/>
              <a:gd name="T61" fmla="*/ 2147483647 h 412"/>
              <a:gd name="T62" fmla="*/ 2147483647 w 255"/>
              <a:gd name="T63" fmla="*/ 2147483647 h 412"/>
              <a:gd name="T64" fmla="*/ 2147483647 w 255"/>
              <a:gd name="T65" fmla="*/ 2147483647 h 412"/>
              <a:gd name="T66" fmla="*/ 2147483647 w 255"/>
              <a:gd name="T67" fmla="*/ 2147483647 h 412"/>
              <a:gd name="T68" fmla="*/ 2147483647 w 255"/>
              <a:gd name="T69" fmla="*/ 2147483647 h 412"/>
              <a:gd name="T70" fmla="*/ 2147483647 w 255"/>
              <a:gd name="T71" fmla="*/ 2147483647 h 412"/>
              <a:gd name="T72" fmla="*/ 2147483647 w 255"/>
              <a:gd name="T73" fmla="*/ 2147483647 h 412"/>
              <a:gd name="T74" fmla="*/ 2147483647 w 255"/>
              <a:gd name="T75" fmla="*/ 2147483647 h 412"/>
              <a:gd name="T76" fmla="*/ 2147483647 w 255"/>
              <a:gd name="T77" fmla="*/ 2147483647 h 412"/>
              <a:gd name="T78" fmla="*/ 2147483647 w 255"/>
              <a:gd name="T79" fmla="*/ 2147483647 h 412"/>
              <a:gd name="T80" fmla="*/ 2147483647 w 255"/>
              <a:gd name="T81" fmla="*/ 2147483647 h 412"/>
              <a:gd name="T82" fmla="*/ 2147483647 w 255"/>
              <a:gd name="T83" fmla="*/ 2147483647 h 412"/>
              <a:gd name="T84" fmla="*/ 2147483647 w 255"/>
              <a:gd name="T85" fmla="*/ 2147483647 h 412"/>
              <a:gd name="T86" fmla="*/ 2147483647 w 255"/>
              <a:gd name="T87" fmla="*/ 2147483647 h 412"/>
              <a:gd name="T88" fmla="*/ 2147483647 w 255"/>
              <a:gd name="T89" fmla="*/ 2147483647 h 412"/>
              <a:gd name="T90" fmla="*/ 2147483647 w 255"/>
              <a:gd name="T91" fmla="*/ 2147483647 h 412"/>
              <a:gd name="T92" fmla="*/ 2147483647 w 255"/>
              <a:gd name="T93" fmla="*/ 2147483647 h 412"/>
              <a:gd name="T94" fmla="*/ 2147483647 w 255"/>
              <a:gd name="T95" fmla="*/ 2147483647 h 412"/>
              <a:gd name="T96" fmla="*/ 2147483647 w 255"/>
              <a:gd name="T97" fmla="*/ 2147483647 h 412"/>
              <a:gd name="T98" fmla="*/ 2147483647 w 255"/>
              <a:gd name="T99" fmla="*/ 2147483647 h 412"/>
              <a:gd name="T100" fmla="*/ 0 w 255"/>
              <a:gd name="T101" fmla="*/ 2147483647 h 412"/>
              <a:gd name="T102" fmla="*/ 2147483647 w 255"/>
              <a:gd name="T103" fmla="*/ 2147483647 h 412"/>
              <a:gd name="T104" fmla="*/ 2147483647 w 255"/>
              <a:gd name="T105" fmla="*/ 2147483647 h 412"/>
              <a:gd name="T106" fmla="*/ 2147483647 w 255"/>
              <a:gd name="T107" fmla="*/ 2147483647 h 412"/>
              <a:gd name="T108" fmla="*/ 2147483647 w 255"/>
              <a:gd name="T109" fmla="*/ 2147483647 h 412"/>
              <a:gd name="T110" fmla="*/ 2147483647 w 255"/>
              <a:gd name="T111" fmla="*/ 2147483647 h 41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55"/>
              <a:gd name="T169" fmla="*/ 0 h 412"/>
              <a:gd name="T170" fmla="*/ 255 w 255"/>
              <a:gd name="T171" fmla="*/ 412 h 412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55" h="412">
                <a:moveTo>
                  <a:pt x="169" y="344"/>
                </a:moveTo>
                <a:cubicBezTo>
                  <a:pt x="45" y="344"/>
                  <a:pt x="45" y="344"/>
                  <a:pt x="45" y="344"/>
                </a:cubicBezTo>
                <a:cubicBezTo>
                  <a:pt x="37" y="344"/>
                  <a:pt x="30" y="349"/>
                  <a:pt x="29" y="358"/>
                </a:cubicBezTo>
                <a:cubicBezTo>
                  <a:pt x="29" y="370"/>
                  <a:pt x="29" y="370"/>
                  <a:pt x="29" y="370"/>
                </a:cubicBezTo>
                <a:cubicBezTo>
                  <a:pt x="30" y="380"/>
                  <a:pt x="37" y="385"/>
                  <a:pt x="45" y="385"/>
                </a:cubicBezTo>
                <a:cubicBezTo>
                  <a:pt x="169" y="385"/>
                  <a:pt x="169" y="385"/>
                  <a:pt x="169" y="385"/>
                </a:cubicBezTo>
                <a:cubicBezTo>
                  <a:pt x="177" y="385"/>
                  <a:pt x="185" y="380"/>
                  <a:pt x="185" y="370"/>
                </a:cubicBezTo>
                <a:cubicBezTo>
                  <a:pt x="185" y="358"/>
                  <a:pt x="185" y="358"/>
                  <a:pt x="185" y="358"/>
                </a:cubicBezTo>
                <a:cubicBezTo>
                  <a:pt x="184" y="349"/>
                  <a:pt x="177" y="344"/>
                  <a:pt x="169" y="344"/>
                </a:cubicBezTo>
                <a:close/>
                <a:moveTo>
                  <a:pt x="169" y="369"/>
                </a:moveTo>
                <a:cubicBezTo>
                  <a:pt x="45" y="369"/>
                  <a:pt x="45" y="369"/>
                  <a:pt x="45" y="369"/>
                </a:cubicBezTo>
                <a:cubicBezTo>
                  <a:pt x="45" y="369"/>
                  <a:pt x="45" y="369"/>
                  <a:pt x="45" y="369"/>
                </a:cubicBezTo>
                <a:cubicBezTo>
                  <a:pt x="45" y="360"/>
                  <a:pt x="45" y="360"/>
                  <a:pt x="45" y="360"/>
                </a:cubicBezTo>
                <a:cubicBezTo>
                  <a:pt x="45" y="360"/>
                  <a:pt x="45" y="360"/>
                  <a:pt x="45" y="360"/>
                </a:cubicBezTo>
                <a:cubicBezTo>
                  <a:pt x="169" y="360"/>
                  <a:pt x="169" y="360"/>
                  <a:pt x="169" y="360"/>
                </a:cubicBezTo>
                <a:lnTo>
                  <a:pt x="169" y="369"/>
                </a:lnTo>
                <a:close/>
                <a:moveTo>
                  <a:pt x="185" y="306"/>
                </a:moveTo>
                <a:cubicBezTo>
                  <a:pt x="185" y="297"/>
                  <a:pt x="177" y="291"/>
                  <a:pt x="169" y="291"/>
                </a:cubicBezTo>
                <a:cubicBezTo>
                  <a:pt x="45" y="291"/>
                  <a:pt x="45" y="291"/>
                  <a:pt x="45" y="291"/>
                </a:cubicBezTo>
                <a:cubicBezTo>
                  <a:pt x="37" y="291"/>
                  <a:pt x="30" y="297"/>
                  <a:pt x="29" y="306"/>
                </a:cubicBezTo>
                <a:cubicBezTo>
                  <a:pt x="29" y="318"/>
                  <a:pt x="29" y="318"/>
                  <a:pt x="29" y="318"/>
                </a:cubicBezTo>
                <a:cubicBezTo>
                  <a:pt x="30" y="327"/>
                  <a:pt x="37" y="333"/>
                  <a:pt x="45" y="333"/>
                </a:cubicBezTo>
                <a:cubicBezTo>
                  <a:pt x="169" y="333"/>
                  <a:pt x="169" y="333"/>
                  <a:pt x="169" y="333"/>
                </a:cubicBezTo>
                <a:cubicBezTo>
                  <a:pt x="177" y="333"/>
                  <a:pt x="184" y="327"/>
                  <a:pt x="185" y="318"/>
                </a:cubicBezTo>
                <a:lnTo>
                  <a:pt x="185" y="306"/>
                </a:lnTo>
                <a:close/>
                <a:moveTo>
                  <a:pt x="169" y="317"/>
                </a:moveTo>
                <a:cubicBezTo>
                  <a:pt x="45" y="317"/>
                  <a:pt x="45" y="317"/>
                  <a:pt x="45" y="317"/>
                </a:cubicBezTo>
                <a:cubicBezTo>
                  <a:pt x="45" y="317"/>
                  <a:pt x="45" y="317"/>
                  <a:pt x="45" y="317"/>
                </a:cubicBezTo>
                <a:cubicBezTo>
                  <a:pt x="45" y="307"/>
                  <a:pt x="45" y="307"/>
                  <a:pt x="45" y="307"/>
                </a:cubicBezTo>
                <a:cubicBezTo>
                  <a:pt x="45" y="307"/>
                  <a:pt x="45" y="307"/>
                  <a:pt x="45" y="307"/>
                </a:cubicBezTo>
                <a:cubicBezTo>
                  <a:pt x="169" y="307"/>
                  <a:pt x="169" y="307"/>
                  <a:pt x="169" y="307"/>
                </a:cubicBezTo>
                <a:lnTo>
                  <a:pt x="169" y="317"/>
                </a:lnTo>
                <a:close/>
                <a:moveTo>
                  <a:pt x="185" y="253"/>
                </a:moveTo>
                <a:cubicBezTo>
                  <a:pt x="184" y="244"/>
                  <a:pt x="177" y="239"/>
                  <a:pt x="169" y="239"/>
                </a:cubicBezTo>
                <a:cubicBezTo>
                  <a:pt x="45" y="239"/>
                  <a:pt x="45" y="239"/>
                  <a:pt x="45" y="239"/>
                </a:cubicBezTo>
                <a:cubicBezTo>
                  <a:pt x="37" y="239"/>
                  <a:pt x="30" y="244"/>
                  <a:pt x="29" y="253"/>
                </a:cubicBezTo>
                <a:cubicBezTo>
                  <a:pt x="29" y="265"/>
                  <a:pt x="29" y="265"/>
                  <a:pt x="29" y="265"/>
                </a:cubicBezTo>
                <a:cubicBezTo>
                  <a:pt x="30" y="275"/>
                  <a:pt x="37" y="280"/>
                  <a:pt x="45" y="280"/>
                </a:cubicBezTo>
                <a:cubicBezTo>
                  <a:pt x="169" y="280"/>
                  <a:pt x="169" y="280"/>
                  <a:pt x="169" y="280"/>
                </a:cubicBezTo>
                <a:cubicBezTo>
                  <a:pt x="177" y="280"/>
                  <a:pt x="185" y="275"/>
                  <a:pt x="185" y="265"/>
                </a:cubicBezTo>
                <a:lnTo>
                  <a:pt x="185" y="253"/>
                </a:lnTo>
                <a:close/>
                <a:moveTo>
                  <a:pt x="169" y="264"/>
                </a:moveTo>
                <a:cubicBezTo>
                  <a:pt x="45" y="264"/>
                  <a:pt x="45" y="264"/>
                  <a:pt x="45" y="264"/>
                </a:cubicBezTo>
                <a:cubicBezTo>
                  <a:pt x="45" y="264"/>
                  <a:pt x="45" y="264"/>
                  <a:pt x="45" y="264"/>
                </a:cubicBezTo>
                <a:cubicBezTo>
                  <a:pt x="45" y="255"/>
                  <a:pt x="45" y="255"/>
                  <a:pt x="45" y="255"/>
                </a:cubicBezTo>
                <a:cubicBezTo>
                  <a:pt x="45" y="255"/>
                  <a:pt x="45" y="255"/>
                  <a:pt x="45" y="255"/>
                </a:cubicBezTo>
                <a:cubicBezTo>
                  <a:pt x="169" y="255"/>
                  <a:pt x="169" y="255"/>
                  <a:pt x="169" y="255"/>
                </a:cubicBezTo>
                <a:lnTo>
                  <a:pt x="169" y="264"/>
                </a:lnTo>
                <a:close/>
                <a:moveTo>
                  <a:pt x="185" y="201"/>
                </a:moveTo>
                <a:cubicBezTo>
                  <a:pt x="185" y="192"/>
                  <a:pt x="177" y="186"/>
                  <a:pt x="169" y="186"/>
                </a:cubicBezTo>
                <a:cubicBezTo>
                  <a:pt x="45" y="186"/>
                  <a:pt x="45" y="186"/>
                  <a:pt x="45" y="186"/>
                </a:cubicBezTo>
                <a:cubicBezTo>
                  <a:pt x="37" y="186"/>
                  <a:pt x="30" y="192"/>
                  <a:pt x="29" y="201"/>
                </a:cubicBezTo>
                <a:cubicBezTo>
                  <a:pt x="29" y="213"/>
                  <a:pt x="29" y="213"/>
                  <a:pt x="29" y="213"/>
                </a:cubicBezTo>
                <a:cubicBezTo>
                  <a:pt x="30" y="222"/>
                  <a:pt x="37" y="228"/>
                  <a:pt x="45" y="228"/>
                </a:cubicBezTo>
                <a:cubicBezTo>
                  <a:pt x="169" y="228"/>
                  <a:pt x="169" y="228"/>
                  <a:pt x="169" y="228"/>
                </a:cubicBezTo>
                <a:cubicBezTo>
                  <a:pt x="177" y="228"/>
                  <a:pt x="184" y="222"/>
                  <a:pt x="185" y="213"/>
                </a:cubicBezTo>
                <a:lnTo>
                  <a:pt x="185" y="201"/>
                </a:lnTo>
                <a:close/>
                <a:moveTo>
                  <a:pt x="169" y="212"/>
                </a:moveTo>
                <a:cubicBezTo>
                  <a:pt x="45" y="212"/>
                  <a:pt x="45" y="212"/>
                  <a:pt x="45" y="212"/>
                </a:cubicBezTo>
                <a:cubicBezTo>
                  <a:pt x="45" y="212"/>
                  <a:pt x="45" y="212"/>
                  <a:pt x="45" y="212"/>
                </a:cubicBezTo>
                <a:cubicBezTo>
                  <a:pt x="45" y="202"/>
                  <a:pt x="45" y="202"/>
                  <a:pt x="45" y="202"/>
                </a:cubicBezTo>
                <a:cubicBezTo>
                  <a:pt x="45" y="202"/>
                  <a:pt x="45" y="202"/>
                  <a:pt x="45" y="202"/>
                </a:cubicBezTo>
                <a:cubicBezTo>
                  <a:pt x="169" y="202"/>
                  <a:pt x="169" y="202"/>
                  <a:pt x="169" y="202"/>
                </a:cubicBezTo>
                <a:lnTo>
                  <a:pt x="169" y="212"/>
                </a:lnTo>
                <a:close/>
                <a:moveTo>
                  <a:pt x="185" y="148"/>
                </a:moveTo>
                <a:cubicBezTo>
                  <a:pt x="184" y="139"/>
                  <a:pt x="177" y="134"/>
                  <a:pt x="169" y="134"/>
                </a:cubicBezTo>
                <a:cubicBezTo>
                  <a:pt x="45" y="134"/>
                  <a:pt x="45" y="134"/>
                  <a:pt x="45" y="134"/>
                </a:cubicBezTo>
                <a:cubicBezTo>
                  <a:pt x="37" y="134"/>
                  <a:pt x="30" y="139"/>
                  <a:pt x="29" y="148"/>
                </a:cubicBezTo>
                <a:cubicBezTo>
                  <a:pt x="29" y="161"/>
                  <a:pt x="29" y="161"/>
                  <a:pt x="29" y="161"/>
                </a:cubicBezTo>
                <a:cubicBezTo>
                  <a:pt x="30" y="170"/>
                  <a:pt x="37" y="175"/>
                  <a:pt x="45" y="175"/>
                </a:cubicBezTo>
                <a:cubicBezTo>
                  <a:pt x="169" y="175"/>
                  <a:pt x="169" y="175"/>
                  <a:pt x="169" y="175"/>
                </a:cubicBezTo>
                <a:cubicBezTo>
                  <a:pt x="177" y="175"/>
                  <a:pt x="185" y="170"/>
                  <a:pt x="185" y="161"/>
                </a:cubicBezTo>
                <a:lnTo>
                  <a:pt x="185" y="148"/>
                </a:lnTo>
                <a:close/>
                <a:moveTo>
                  <a:pt x="169" y="159"/>
                </a:moveTo>
                <a:cubicBezTo>
                  <a:pt x="45" y="159"/>
                  <a:pt x="45" y="159"/>
                  <a:pt x="45" y="159"/>
                </a:cubicBezTo>
                <a:cubicBezTo>
                  <a:pt x="45" y="159"/>
                  <a:pt x="45" y="159"/>
                  <a:pt x="45" y="159"/>
                </a:cubicBezTo>
                <a:cubicBezTo>
                  <a:pt x="45" y="150"/>
                  <a:pt x="45" y="150"/>
                  <a:pt x="45" y="150"/>
                </a:cubicBezTo>
                <a:cubicBezTo>
                  <a:pt x="45" y="150"/>
                  <a:pt x="45" y="150"/>
                  <a:pt x="45" y="150"/>
                </a:cubicBezTo>
                <a:cubicBezTo>
                  <a:pt x="169" y="150"/>
                  <a:pt x="169" y="150"/>
                  <a:pt x="169" y="150"/>
                </a:cubicBezTo>
                <a:lnTo>
                  <a:pt x="169" y="159"/>
                </a:lnTo>
                <a:close/>
                <a:moveTo>
                  <a:pt x="185" y="96"/>
                </a:moveTo>
                <a:cubicBezTo>
                  <a:pt x="185" y="87"/>
                  <a:pt x="177" y="81"/>
                  <a:pt x="169" y="81"/>
                </a:cubicBezTo>
                <a:cubicBezTo>
                  <a:pt x="45" y="81"/>
                  <a:pt x="45" y="81"/>
                  <a:pt x="45" y="81"/>
                </a:cubicBezTo>
                <a:cubicBezTo>
                  <a:pt x="37" y="81"/>
                  <a:pt x="30" y="87"/>
                  <a:pt x="29" y="96"/>
                </a:cubicBezTo>
                <a:cubicBezTo>
                  <a:pt x="29" y="108"/>
                  <a:pt x="29" y="108"/>
                  <a:pt x="29" y="108"/>
                </a:cubicBezTo>
                <a:cubicBezTo>
                  <a:pt x="30" y="117"/>
                  <a:pt x="37" y="123"/>
                  <a:pt x="45" y="123"/>
                </a:cubicBezTo>
                <a:cubicBezTo>
                  <a:pt x="169" y="123"/>
                  <a:pt x="169" y="123"/>
                  <a:pt x="169" y="123"/>
                </a:cubicBezTo>
                <a:cubicBezTo>
                  <a:pt x="177" y="123"/>
                  <a:pt x="184" y="117"/>
                  <a:pt x="185" y="108"/>
                </a:cubicBezTo>
                <a:lnTo>
                  <a:pt x="185" y="96"/>
                </a:lnTo>
                <a:close/>
                <a:moveTo>
                  <a:pt x="169" y="107"/>
                </a:moveTo>
                <a:cubicBezTo>
                  <a:pt x="45" y="107"/>
                  <a:pt x="45" y="107"/>
                  <a:pt x="45" y="107"/>
                </a:cubicBezTo>
                <a:cubicBezTo>
                  <a:pt x="45" y="107"/>
                  <a:pt x="45" y="107"/>
                  <a:pt x="45" y="107"/>
                </a:cubicBezTo>
                <a:cubicBezTo>
                  <a:pt x="45" y="97"/>
                  <a:pt x="45" y="97"/>
                  <a:pt x="45" y="97"/>
                </a:cubicBezTo>
                <a:cubicBezTo>
                  <a:pt x="45" y="97"/>
                  <a:pt x="45" y="97"/>
                  <a:pt x="45" y="97"/>
                </a:cubicBezTo>
                <a:cubicBezTo>
                  <a:pt x="169" y="97"/>
                  <a:pt x="169" y="97"/>
                  <a:pt x="169" y="97"/>
                </a:cubicBezTo>
                <a:lnTo>
                  <a:pt x="169" y="107"/>
                </a:lnTo>
                <a:close/>
                <a:moveTo>
                  <a:pt x="185" y="44"/>
                </a:moveTo>
                <a:cubicBezTo>
                  <a:pt x="184" y="34"/>
                  <a:pt x="177" y="29"/>
                  <a:pt x="169" y="29"/>
                </a:cubicBezTo>
                <a:cubicBezTo>
                  <a:pt x="45" y="29"/>
                  <a:pt x="45" y="29"/>
                  <a:pt x="45" y="29"/>
                </a:cubicBezTo>
                <a:cubicBezTo>
                  <a:pt x="37" y="29"/>
                  <a:pt x="30" y="34"/>
                  <a:pt x="29" y="44"/>
                </a:cubicBezTo>
                <a:cubicBezTo>
                  <a:pt x="29" y="56"/>
                  <a:pt x="29" y="56"/>
                  <a:pt x="29" y="56"/>
                </a:cubicBezTo>
                <a:cubicBezTo>
                  <a:pt x="30" y="65"/>
                  <a:pt x="37" y="70"/>
                  <a:pt x="45" y="70"/>
                </a:cubicBezTo>
                <a:cubicBezTo>
                  <a:pt x="169" y="70"/>
                  <a:pt x="169" y="70"/>
                  <a:pt x="169" y="70"/>
                </a:cubicBezTo>
                <a:cubicBezTo>
                  <a:pt x="177" y="70"/>
                  <a:pt x="185" y="65"/>
                  <a:pt x="185" y="56"/>
                </a:cubicBezTo>
                <a:lnTo>
                  <a:pt x="185" y="44"/>
                </a:lnTo>
                <a:close/>
                <a:moveTo>
                  <a:pt x="169" y="54"/>
                </a:moveTo>
                <a:cubicBezTo>
                  <a:pt x="45" y="54"/>
                  <a:pt x="45" y="54"/>
                  <a:pt x="45" y="54"/>
                </a:cubicBezTo>
                <a:cubicBezTo>
                  <a:pt x="45" y="54"/>
                  <a:pt x="45" y="54"/>
                  <a:pt x="45" y="54"/>
                </a:cubicBezTo>
                <a:cubicBezTo>
                  <a:pt x="45" y="45"/>
                  <a:pt x="45" y="45"/>
                  <a:pt x="45" y="45"/>
                </a:cubicBezTo>
                <a:cubicBezTo>
                  <a:pt x="45" y="45"/>
                  <a:pt x="45" y="45"/>
                  <a:pt x="45" y="45"/>
                </a:cubicBezTo>
                <a:cubicBezTo>
                  <a:pt x="169" y="45"/>
                  <a:pt x="169" y="45"/>
                  <a:pt x="169" y="45"/>
                </a:cubicBezTo>
                <a:lnTo>
                  <a:pt x="169" y="54"/>
                </a:lnTo>
                <a:close/>
                <a:moveTo>
                  <a:pt x="212" y="88"/>
                </a:moveTo>
                <a:cubicBezTo>
                  <a:pt x="204" y="88"/>
                  <a:pt x="198" y="94"/>
                  <a:pt x="198" y="102"/>
                </a:cubicBezTo>
                <a:cubicBezTo>
                  <a:pt x="198" y="110"/>
                  <a:pt x="204" y="116"/>
                  <a:pt x="212" y="116"/>
                </a:cubicBezTo>
                <a:cubicBezTo>
                  <a:pt x="220" y="116"/>
                  <a:pt x="226" y="110"/>
                  <a:pt x="226" y="102"/>
                </a:cubicBezTo>
                <a:cubicBezTo>
                  <a:pt x="226" y="94"/>
                  <a:pt x="220" y="88"/>
                  <a:pt x="212" y="88"/>
                </a:cubicBezTo>
                <a:close/>
                <a:moveTo>
                  <a:pt x="212" y="35"/>
                </a:moveTo>
                <a:cubicBezTo>
                  <a:pt x="204" y="35"/>
                  <a:pt x="198" y="42"/>
                  <a:pt x="198" y="50"/>
                </a:cubicBezTo>
                <a:cubicBezTo>
                  <a:pt x="198" y="57"/>
                  <a:pt x="204" y="64"/>
                  <a:pt x="212" y="64"/>
                </a:cubicBezTo>
                <a:cubicBezTo>
                  <a:pt x="220" y="64"/>
                  <a:pt x="226" y="57"/>
                  <a:pt x="226" y="50"/>
                </a:cubicBezTo>
                <a:cubicBezTo>
                  <a:pt x="226" y="42"/>
                  <a:pt x="220" y="35"/>
                  <a:pt x="212" y="35"/>
                </a:cubicBezTo>
                <a:close/>
                <a:moveTo>
                  <a:pt x="212" y="140"/>
                </a:moveTo>
                <a:cubicBezTo>
                  <a:pt x="204" y="140"/>
                  <a:pt x="198" y="147"/>
                  <a:pt x="198" y="155"/>
                </a:cubicBezTo>
                <a:cubicBezTo>
                  <a:pt x="198" y="162"/>
                  <a:pt x="204" y="169"/>
                  <a:pt x="212" y="169"/>
                </a:cubicBezTo>
                <a:cubicBezTo>
                  <a:pt x="220" y="169"/>
                  <a:pt x="226" y="162"/>
                  <a:pt x="226" y="155"/>
                </a:cubicBezTo>
                <a:cubicBezTo>
                  <a:pt x="226" y="147"/>
                  <a:pt x="220" y="140"/>
                  <a:pt x="212" y="140"/>
                </a:cubicBezTo>
                <a:close/>
                <a:moveTo>
                  <a:pt x="212" y="193"/>
                </a:moveTo>
                <a:cubicBezTo>
                  <a:pt x="204" y="193"/>
                  <a:pt x="198" y="199"/>
                  <a:pt x="198" y="207"/>
                </a:cubicBezTo>
                <a:cubicBezTo>
                  <a:pt x="198" y="215"/>
                  <a:pt x="204" y="221"/>
                  <a:pt x="212" y="221"/>
                </a:cubicBezTo>
                <a:cubicBezTo>
                  <a:pt x="220" y="221"/>
                  <a:pt x="226" y="215"/>
                  <a:pt x="226" y="207"/>
                </a:cubicBezTo>
                <a:cubicBezTo>
                  <a:pt x="226" y="199"/>
                  <a:pt x="220" y="193"/>
                  <a:pt x="212" y="193"/>
                </a:cubicBezTo>
                <a:close/>
                <a:moveTo>
                  <a:pt x="212" y="245"/>
                </a:moveTo>
                <a:cubicBezTo>
                  <a:pt x="204" y="245"/>
                  <a:pt x="198" y="252"/>
                  <a:pt x="198" y="259"/>
                </a:cubicBezTo>
                <a:cubicBezTo>
                  <a:pt x="198" y="267"/>
                  <a:pt x="204" y="274"/>
                  <a:pt x="212" y="274"/>
                </a:cubicBezTo>
                <a:cubicBezTo>
                  <a:pt x="220" y="274"/>
                  <a:pt x="226" y="267"/>
                  <a:pt x="226" y="259"/>
                </a:cubicBezTo>
                <a:cubicBezTo>
                  <a:pt x="226" y="252"/>
                  <a:pt x="220" y="245"/>
                  <a:pt x="212" y="245"/>
                </a:cubicBezTo>
                <a:close/>
                <a:moveTo>
                  <a:pt x="212" y="298"/>
                </a:moveTo>
                <a:cubicBezTo>
                  <a:pt x="204" y="298"/>
                  <a:pt x="198" y="304"/>
                  <a:pt x="198" y="312"/>
                </a:cubicBezTo>
                <a:cubicBezTo>
                  <a:pt x="198" y="320"/>
                  <a:pt x="204" y="326"/>
                  <a:pt x="212" y="326"/>
                </a:cubicBezTo>
                <a:cubicBezTo>
                  <a:pt x="220" y="326"/>
                  <a:pt x="226" y="320"/>
                  <a:pt x="226" y="312"/>
                </a:cubicBezTo>
                <a:cubicBezTo>
                  <a:pt x="226" y="304"/>
                  <a:pt x="220" y="298"/>
                  <a:pt x="212" y="298"/>
                </a:cubicBezTo>
                <a:close/>
                <a:moveTo>
                  <a:pt x="212" y="350"/>
                </a:moveTo>
                <a:cubicBezTo>
                  <a:pt x="204" y="350"/>
                  <a:pt x="198" y="356"/>
                  <a:pt x="198" y="364"/>
                </a:cubicBezTo>
                <a:cubicBezTo>
                  <a:pt x="198" y="372"/>
                  <a:pt x="204" y="379"/>
                  <a:pt x="212" y="379"/>
                </a:cubicBezTo>
                <a:cubicBezTo>
                  <a:pt x="220" y="379"/>
                  <a:pt x="226" y="372"/>
                  <a:pt x="226" y="364"/>
                </a:cubicBezTo>
                <a:cubicBezTo>
                  <a:pt x="226" y="356"/>
                  <a:pt x="220" y="350"/>
                  <a:pt x="212" y="350"/>
                </a:cubicBezTo>
                <a:close/>
                <a:moveTo>
                  <a:pt x="247" y="44"/>
                </a:moveTo>
                <a:cubicBezTo>
                  <a:pt x="251" y="44"/>
                  <a:pt x="255" y="41"/>
                  <a:pt x="255" y="36"/>
                </a:cubicBezTo>
                <a:cubicBezTo>
                  <a:pt x="255" y="16"/>
                  <a:pt x="255" y="16"/>
                  <a:pt x="255" y="16"/>
                </a:cubicBezTo>
                <a:cubicBezTo>
                  <a:pt x="255" y="7"/>
                  <a:pt x="248" y="0"/>
                  <a:pt x="23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7" y="0"/>
                  <a:pt x="0" y="7"/>
                  <a:pt x="0" y="16"/>
                </a:cubicBezTo>
                <a:cubicBezTo>
                  <a:pt x="0" y="396"/>
                  <a:pt x="0" y="396"/>
                  <a:pt x="0" y="396"/>
                </a:cubicBezTo>
                <a:cubicBezTo>
                  <a:pt x="0" y="405"/>
                  <a:pt x="7" y="412"/>
                  <a:pt x="16" y="412"/>
                </a:cubicBezTo>
                <a:cubicBezTo>
                  <a:pt x="239" y="412"/>
                  <a:pt x="239" y="412"/>
                  <a:pt x="239" y="412"/>
                </a:cubicBezTo>
                <a:cubicBezTo>
                  <a:pt x="248" y="412"/>
                  <a:pt x="255" y="405"/>
                  <a:pt x="255" y="396"/>
                </a:cubicBezTo>
                <a:cubicBezTo>
                  <a:pt x="255" y="60"/>
                  <a:pt x="255" y="60"/>
                  <a:pt x="255" y="60"/>
                </a:cubicBezTo>
                <a:cubicBezTo>
                  <a:pt x="255" y="56"/>
                  <a:pt x="251" y="52"/>
                  <a:pt x="247" y="52"/>
                </a:cubicBezTo>
                <a:cubicBezTo>
                  <a:pt x="242" y="52"/>
                  <a:pt x="239" y="56"/>
                  <a:pt x="239" y="60"/>
                </a:cubicBezTo>
                <a:cubicBezTo>
                  <a:pt x="239" y="396"/>
                  <a:pt x="239" y="396"/>
                  <a:pt x="239" y="396"/>
                </a:cubicBezTo>
                <a:cubicBezTo>
                  <a:pt x="16" y="396"/>
                  <a:pt x="16" y="396"/>
                  <a:pt x="16" y="396"/>
                </a:cubicBezTo>
                <a:cubicBezTo>
                  <a:pt x="16" y="396"/>
                  <a:pt x="16" y="396"/>
                  <a:pt x="16" y="396"/>
                </a:cubicBezTo>
                <a:cubicBezTo>
                  <a:pt x="16" y="16"/>
                  <a:pt x="16" y="16"/>
                  <a:pt x="16" y="16"/>
                </a:cubicBezTo>
                <a:cubicBezTo>
                  <a:pt x="16" y="16"/>
                  <a:pt x="16" y="16"/>
                  <a:pt x="16" y="16"/>
                </a:cubicBezTo>
                <a:cubicBezTo>
                  <a:pt x="239" y="16"/>
                  <a:pt x="239" y="16"/>
                  <a:pt x="239" y="16"/>
                </a:cubicBezTo>
                <a:cubicBezTo>
                  <a:pt x="239" y="36"/>
                  <a:pt x="239" y="36"/>
                  <a:pt x="239" y="36"/>
                </a:cubicBezTo>
                <a:cubicBezTo>
                  <a:pt x="239" y="41"/>
                  <a:pt x="242" y="44"/>
                  <a:pt x="247" y="44"/>
                </a:cubicBezTo>
                <a:close/>
              </a:path>
            </a:pathLst>
          </a:custGeom>
          <a:solidFill>
            <a:srgbClr val="5858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195" name="Freeform 8"/>
          <p:cNvSpPr>
            <a:spLocks noChangeAspect="1" noEditPoints="1"/>
          </p:cNvSpPr>
          <p:nvPr/>
        </p:nvSpPr>
        <p:spPr bwMode="auto">
          <a:xfrm>
            <a:off x="9861549" y="2563849"/>
            <a:ext cx="312739" cy="504825"/>
          </a:xfrm>
          <a:custGeom>
            <a:avLst/>
            <a:gdLst>
              <a:gd name="T0" fmla="*/ 2147483647 w 255"/>
              <a:gd name="T1" fmla="*/ 2147483647 h 412"/>
              <a:gd name="T2" fmla="*/ 2147483647 w 255"/>
              <a:gd name="T3" fmla="*/ 2147483647 h 412"/>
              <a:gd name="T4" fmla="*/ 2147483647 w 255"/>
              <a:gd name="T5" fmla="*/ 2147483647 h 412"/>
              <a:gd name="T6" fmla="*/ 2147483647 w 255"/>
              <a:gd name="T7" fmla="*/ 2147483647 h 412"/>
              <a:gd name="T8" fmla="*/ 2147483647 w 255"/>
              <a:gd name="T9" fmla="*/ 2147483647 h 412"/>
              <a:gd name="T10" fmla="*/ 2147483647 w 255"/>
              <a:gd name="T11" fmla="*/ 2147483647 h 412"/>
              <a:gd name="T12" fmla="*/ 2147483647 w 255"/>
              <a:gd name="T13" fmla="*/ 2147483647 h 412"/>
              <a:gd name="T14" fmla="*/ 2147483647 w 255"/>
              <a:gd name="T15" fmla="*/ 2147483647 h 412"/>
              <a:gd name="T16" fmla="*/ 2147483647 w 255"/>
              <a:gd name="T17" fmla="*/ 2147483647 h 412"/>
              <a:gd name="T18" fmla="*/ 2147483647 w 255"/>
              <a:gd name="T19" fmla="*/ 2147483647 h 412"/>
              <a:gd name="T20" fmla="*/ 2147483647 w 255"/>
              <a:gd name="T21" fmla="*/ 2147483647 h 412"/>
              <a:gd name="T22" fmla="*/ 2147483647 w 255"/>
              <a:gd name="T23" fmla="*/ 2147483647 h 412"/>
              <a:gd name="T24" fmla="*/ 2147483647 w 255"/>
              <a:gd name="T25" fmla="*/ 2147483647 h 412"/>
              <a:gd name="T26" fmla="*/ 2147483647 w 255"/>
              <a:gd name="T27" fmla="*/ 2147483647 h 412"/>
              <a:gd name="T28" fmla="*/ 2147483647 w 255"/>
              <a:gd name="T29" fmla="*/ 2147483647 h 412"/>
              <a:gd name="T30" fmla="*/ 2147483647 w 255"/>
              <a:gd name="T31" fmla="*/ 2147483647 h 412"/>
              <a:gd name="T32" fmla="*/ 2147483647 w 255"/>
              <a:gd name="T33" fmla="*/ 2147483647 h 412"/>
              <a:gd name="T34" fmla="*/ 2147483647 w 255"/>
              <a:gd name="T35" fmla="*/ 2147483647 h 412"/>
              <a:gd name="T36" fmla="*/ 2147483647 w 255"/>
              <a:gd name="T37" fmla="*/ 2147483647 h 412"/>
              <a:gd name="T38" fmla="*/ 2147483647 w 255"/>
              <a:gd name="T39" fmla="*/ 2147483647 h 412"/>
              <a:gd name="T40" fmla="*/ 2147483647 w 255"/>
              <a:gd name="T41" fmla="*/ 2147483647 h 412"/>
              <a:gd name="T42" fmla="*/ 2147483647 w 255"/>
              <a:gd name="T43" fmla="*/ 2147483647 h 412"/>
              <a:gd name="T44" fmla="*/ 2147483647 w 255"/>
              <a:gd name="T45" fmla="*/ 2147483647 h 412"/>
              <a:gd name="T46" fmla="*/ 2147483647 w 255"/>
              <a:gd name="T47" fmla="*/ 2147483647 h 412"/>
              <a:gd name="T48" fmla="*/ 2147483647 w 255"/>
              <a:gd name="T49" fmla="*/ 2147483647 h 412"/>
              <a:gd name="T50" fmla="*/ 2147483647 w 255"/>
              <a:gd name="T51" fmla="*/ 2147483647 h 412"/>
              <a:gd name="T52" fmla="*/ 2147483647 w 255"/>
              <a:gd name="T53" fmla="*/ 2147483647 h 412"/>
              <a:gd name="T54" fmla="*/ 2147483647 w 255"/>
              <a:gd name="T55" fmla="*/ 2147483647 h 412"/>
              <a:gd name="T56" fmla="*/ 2147483647 w 255"/>
              <a:gd name="T57" fmla="*/ 2147483647 h 412"/>
              <a:gd name="T58" fmla="*/ 2147483647 w 255"/>
              <a:gd name="T59" fmla="*/ 2147483647 h 412"/>
              <a:gd name="T60" fmla="*/ 2147483647 w 255"/>
              <a:gd name="T61" fmla="*/ 2147483647 h 412"/>
              <a:gd name="T62" fmla="*/ 2147483647 w 255"/>
              <a:gd name="T63" fmla="*/ 2147483647 h 412"/>
              <a:gd name="T64" fmla="*/ 2147483647 w 255"/>
              <a:gd name="T65" fmla="*/ 2147483647 h 412"/>
              <a:gd name="T66" fmla="*/ 2147483647 w 255"/>
              <a:gd name="T67" fmla="*/ 2147483647 h 412"/>
              <a:gd name="T68" fmla="*/ 2147483647 w 255"/>
              <a:gd name="T69" fmla="*/ 2147483647 h 412"/>
              <a:gd name="T70" fmla="*/ 2147483647 w 255"/>
              <a:gd name="T71" fmla="*/ 2147483647 h 412"/>
              <a:gd name="T72" fmla="*/ 2147483647 w 255"/>
              <a:gd name="T73" fmla="*/ 2147483647 h 412"/>
              <a:gd name="T74" fmla="*/ 2147483647 w 255"/>
              <a:gd name="T75" fmla="*/ 2147483647 h 412"/>
              <a:gd name="T76" fmla="*/ 2147483647 w 255"/>
              <a:gd name="T77" fmla="*/ 2147483647 h 412"/>
              <a:gd name="T78" fmla="*/ 2147483647 w 255"/>
              <a:gd name="T79" fmla="*/ 2147483647 h 412"/>
              <a:gd name="T80" fmla="*/ 2147483647 w 255"/>
              <a:gd name="T81" fmla="*/ 2147483647 h 412"/>
              <a:gd name="T82" fmla="*/ 2147483647 w 255"/>
              <a:gd name="T83" fmla="*/ 2147483647 h 412"/>
              <a:gd name="T84" fmla="*/ 2147483647 w 255"/>
              <a:gd name="T85" fmla="*/ 2147483647 h 412"/>
              <a:gd name="T86" fmla="*/ 2147483647 w 255"/>
              <a:gd name="T87" fmla="*/ 2147483647 h 412"/>
              <a:gd name="T88" fmla="*/ 2147483647 w 255"/>
              <a:gd name="T89" fmla="*/ 2147483647 h 412"/>
              <a:gd name="T90" fmla="*/ 2147483647 w 255"/>
              <a:gd name="T91" fmla="*/ 2147483647 h 412"/>
              <a:gd name="T92" fmla="*/ 2147483647 w 255"/>
              <a:gd name="T93" fmla="*/ 2147483647 h 412"/>
              <a:gd name="T94" fmla="*/ 2147483647 w 255"/>
              <a:gd name="T95" fmla="*/ 2147483647 h 412"/>
              <a:gd name="T96" fmla="*/ 2147483647 w 255"/>
              <a:gd name="T97" fmla="*/ 2147483647 h 412"/>
              <a:gd name="T98" fmla="*/ 2147483647 w 255"/>
              <a:gd name="T99" fmla="*/ 2147483647 h 412"/>
              <a:gd name="T100" fmla="*/ 0 w 255"/>
              <a:gd name="T101" fmla="*/ 2147483647 h 412"/>
              <a:gd name="T102" fmla="*/ 2147483647 w 255"/>
              <a:gd name="T103" fmla="*/ 2147483647 h 412"/>
              <a:gd name="T104" fmla="*/ 2147483647 w 255"/>
              <a:gd name="T105" fmla="*/ 2147483647 h 412"/>
              <a:gd name="T106" fmla="*/ 2147483647 w 255"/>
              <a:gd name="T107" fmla="*/ 2147483647 h 412"/>
              <a:gd name="T108" fmla="*/ 2147483647 w 255"/>
              <a:gd name="T109" fmla="*/ 2147483647 h 412"/>
              <a:gd name="T110" fmla="*/ 2147483647 w 255"/>
              <a:gd name="T111" fmla="*/ 2147483647 h 41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55"/>
              <a:gd name="T169" fmla="*/ 0 h 412"/>
              <a:gd name="T170" fmla="*/ 255 w 255"/>
              <a:gd name="T171" fmla="*/ 412 h 412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55" h="412">
                <a:moveTo>
                  <a:pt x="169" y="344"/>
                </a:moveTo>
                <a:cubicBezTo>
                  <a:pt x="45" y="344"/>
                  <a:pt x="45" y="344"/>
                  <a:pt x="45" y="344"/>
                </a:cubicBezTo>
                <a:cubicBezTo>
                  <a:pt x="37" y="344"/>
                  <a:pt x="30" y="349"/>
                  <a:pt x="29" y="358"/>
                </a:cubicBezTo>
                <a:cubicBezTo>
                  <a:pt x="29" y="370"/>
                  <a:pt x="29" y="370"/>
                  <a:pt x="29" y="370"/>
                </a:cubicBezTo>
                <a:cubicBezTo>
                  <a:pt x="30" y="380"/>
                  <a:pt x="37" y="385"/>
                  <a:pt x="45" y="385"/>
                </a:cubicBezTo>
                <a:cubicBezTo>
                  <a:pt x="169" y="385"/>
                  <a:pt x="169" y="385"/>
                  <a:pt x="169" y="385"/>
                </a:cubicBezTo>
                <a:cubicBezTo>
                  <a:pt x="177" y="385"/>
                  <a:pt x="185" y="380"/>
                  <a:pt x="185" y="370"/>
                </a:cubicBezTo>
                <a:cubicBezTo>
                  <a:pt x="185" y="358"/>
                  <a:pt x="185" y="358"/>
                  <a:pt x="185" y="358"/>
                </a:cubicBezTo>
                <a:cubicBezTo>
                  <a:pt x="184" y="349"/>
                  <a:pt x="177" y="344"/>
                  <a:pt x="169" y="344"/>
                </a:cubicBezTo>
                <a:close/>
                <a:moveTo>
                  <a:pt x="169" y="369"/>
                </a:moveTo>
                <a:cubicBezTo>
                  <a:pt x="45" y="369"/>
                  <a:pt x="45" y="369"/>
                  <a:pt x="45" y="369"/>
                </a:cubicBezTo>
                <a:cubicBezTo>
                  <a:pt x="45" y="369"/>
                  <a:pt x="45" y="369"/>
                  <a:pt x="45" y="369"/>
                </a:cubicBezTo>
                <a:cubicBezTo>
                  <a:pt x="45" y="360"/>
                  <a:pt x="45" y="360"/>
                  <a:pt x="45" y="360"/>
                </a:cubicBezTo>
                <a:cubicBezTo>
                  <a:pt x="45" y="360"/>
                  <a:pt x="45" y="360"/>
                  <a:pt x="45" y="360"/>
                </a:cubicBezTo>
                <a:cubicBezTo>
                  <a:pt x="169" y="360"/>
                  <a:pt x="169" y="360"/>
                  <a:pt x="169" y="360"/>
                </a:cubicBezTo>
                <a:lnTo>
                  <a:pt x="169" y="369"/>
                </a:lnTo>
                <a:close/>
                <a:moveTo>
                  <a:pt x="185" y="306"/>
                </a:moveTo>
                <a:cubicBezTo>
                  <a:pt x="185" y="297"/>
                  <a:pt x="177" y="291"/>
                  <a:pt x="169" y="291"/>
                </a:cubicBezTo>
                <a:cubicBezTo>
                  <a:pt x="45" y="291"/>
                  <a:pt x="45" y="291"/>
                  <a:pt x="45" y="291"/>
                </a:cubicBezTo>
                <a:cubicBezTo>
                  <a:pt x="37" y="291"/>
                  <a:pt x="30" y="297"/>
                  <a:pt x="29" y="306"/>
                </a:cubicBezTo>
                <a:cubicBezTo>
                  <a:pt x="29" y="318"/>
                  <a:pt x="29" y="318"/>
                  <a:pt x="29" y="318"/>
                </a:cubicBezTo>
                <a:cubicBezTo>
                  <a:pt x="30" y="327"/>
                  <a:pt x="37" y="333"/>
                  <a:pt x="45" y="333"/>
                </a:cubicBezTo>
                <a:cubicBezTo>
                  <a:pt x="169" y="333"/>
                  <a:pt x="169" y="333"/>
                  <a:pt x="169" y="333"/>
                </a:cubicBezTo>
                <a:cubicBezTo>
                  <a:pt x="177" y="333"/>
                  <a:pt x="184" y="327"/>
                  <a:pt x="185" y="318"/>
                </a:cubicBezTo>
                <a:lnTo>
                  <a:pt x="185" y="306"/>
                </a:lnTo>
                <a:close/>
                <a:moveTo>
                  <a:pt x="169" y="317"/>
                </a:moveTo>
                <a:cubicBezTo>
                  <a:pt x="45" y="317"/>
                  <a:pt x="45" y="317"/>
                  <a:pt x="45" y="317"/>
                </a:cubicBezTo>
                <a:cubicBezTo>
                  <a:pt x="45" y="317"/>
                  <a:pt x="45" y="317"/>
                  <a:pt x="45" y="317"/>
                </a:cubicBezTo>
                <a:cubicBezTo>
                  <a:pt x="45" y="307"/>
                  <a:pt x="45" y="307"/>
                  <a:pt x="45" y="307"/>
                </a:cubicBezTo>
                <a:cubicBezTo>
                  <a:pt x="45" y="307"/>
                  <a:pt x="45" y="307"/>
                  <a:pt x="45" y="307"/>
                </a:cubicBezTo>
                <a:cubicBezTo>
                  <a:pt x="169" y="307"/>
                  <a:pt x="169" y="307"/>
                  <a:pt x="169" y="307"/>
                </a:cubicBezTo>
                <a:lnTo>
                  <a:pt x="169" y="317"/>
                </a:lnTo>
                <a:close/>
                <a:moveTo>
                  <a:pt x="185" y="253"/>
                </a:moveTo>
                <a:cubicBezTo>
                  <a:pt x="184" y="244"/>
                  <a:pt x="177" y="239"/>
                  <a:pt x="169" y="239"/>
                </a:cubicBezTo>
                <a:cubicBezTo>
                  <a:pt x="45" y="239"/>
                  <a:pt x="45" y="239"/>
                  <a:pt x="45" y="239"/>
                </a:cubicBezTo>
                <a:cubicBezTo>
                  <a:pt x="37" y="239"/>
                  <a:pt x="30" y="244"/>
                  <a:pt x="29" y="253"/>
                </a:cubicBezTo>
                <a:cubicBezTo>
                  <a:pt x="29" y="265"/>
                  <a:pt x="29" y="265"/>
                  <a:pt x="29" y="265"/>
                </a:cubicBezTo>
                <a:cubicBezTo>
                  <a:pt x="30" y="275"/>
                  <a:pt x="37" y="280"/>
                  <a:pt x="45" y="280"/>
                </a:cubicBezTo>
                <a:cubicBezTo>
                  <a:pt x="169" y="280"/>
                  <a:pt x="169" y="280"/>
                  <a:pt x="169" y="280"/>
                </a:cubicBezTo>
                <a:cubicBezTo>
                  <a:pt x="177" y="280"/>
                  <a:pt x="185" y="275"/>
                  <a:pt x="185" y="265"/>
                </a:cubicBezTo>
                <a:lnTo>
                  <a:pt x="185" y="253"/>
                </a:lnTo>
                <a:close/>
                <a:moveTo>
                  <a:pt x="169" y="264"/>
                </a:moveTo>
                <a:cubicBezTo>
                  <a:pt x="45" y="264"/>
                  <a:pt x="45" y="264"/>
                  <a:pt x="45" y="264"/>
                </a:cubicBezTo>
                <a:cubicBezTo>
                  <a:pt x="45" y="264"/>
                  <a:pt x="45" y="264"/>
                  <a:pt x="45" y="264"/>
                </a:cubicBezTo>
                <a:cubicBezTo>
                  <a:pt x="45" y="255"/>
                  <a:pt x="45" y="255"/>
                  <a:pt x="45" y="255"/>
                </a:cubicBezTo>
                <a:cubicBezTo>
                  <a:pt x="45" y="255"/>
                  <a:pt x="45" y="255"/>
                  <a:pt x="45" y="255"/>
                </a:cubicBezTo>
                <a:cubicBezTo>
                  <a:pt x="169" y="255"/>
                  <a:pt x="169" y="255"/>
                  <a:pt x="169" y="255"/>
                </a:cubicBezTo>
                <a:lnTo>
                  <a:pt x="169" y="264"/>
                </a:lnTo>
                <a:close/>
                <a:moveTo>
                  <a:pt x="185" y="201"/>
                </a:moveTo>
                <a:cubicBezTo>
                  <a:pt x="185" y="192"/>
                  <a:pt x="177" y="186"/>
                  <a:pt x="169" y="186"/>
                </a:cubicBezTo>
                <a:cubicBezTo>
                  <a:pt x="45" y="186"/>
                  <a:pt x="45" y="186"/>
                  <a:pt x="45" y="186"/>
                </a:cubicBezTo>
                <a:cubicBezTo>
                  <a:pt x="37" y="186"/>
                  <a:pt x="30" y="192"/>
                  <a:pt x="29" y="201"/>
                </a:cubicBezTo>
                <a:cubicBezTo>
                  <a:pt x="29" y="213"/>
                  <a:pt x="29" y="213"/>
                  <a:pt x="29" y="213"/>
                </a:cubicBezTo>
                <a:cubicBezTo>
                  <a:pt x="30" y="222"/>
                  <a:pt x="37" y="228"/>
                  <a:pt x="45" y="228"/>
                </a:cubicBezTo>
                <a:cubicBezTo>
                  <a:pt x="169" y="228"/>
                  <a:pt x="169" y="228"/>
                  <a:pt x="169" y="228"/>
                </a:cubicBezTo>
                <a:cubicBezTo>
                  <a:pt x="177" y="228"/>
                  <a:pt x="184" y="222"/>
                  <a:pt x="185" y="213"/>
                </a:cubicBezTo>
                <a:lnTo>
                  <a:pt x="185" y="201"/>
                </a:lnTo>
                <a:close/>
                <a:moveTo>
                  <a:pt x="169" y="212"/>
                </a:moveTo>
                <a:cubicBezTo>
                  <a:pt x="45" y="212"/>
                  <a:pt x="45" y="212"/>
                  <a:pt x="45" y="212"/>
                </a:cubicBezTo>
                <a:cubicBezTo>
                  <a:pt x="45" y="212"/>
                  <a:pt x="45" y="212"/>
                  <a:pt x="45" y="212"/>
                </a:cubicBezTo>
                <a:cubicBezTo>
                  <a:pt x="45" y="202"/>
                  <a:pt x="45" y="202"/>
                  <a:pt x="45" y="202"/>
                </a:cubicBezTo>
                <a:cubicBezTo>
                  <a:pt x="45" y="202"/>
                  <a:pt x="45" y="202"/>
                  <a:pt x="45" y="202"/>
                </a:cubicBezTo>
                <a:cubicBezTo>
                  <a:pt x="169" y="202"/>
                  <a:pt x="169" y="202"/>
                  <a:pt x="169" y="202"/>
                </a:cubicBezTo>
                <a:lnTo>
                  <a:pt x="169" y="212"/>
                </a:lnTo>
                <a:close/>
                <a:moveTo>
                  <a:pt x="185" y="148"/>
                </a:moveTo>
                <a:cubicBezTo>
                  <a:pt x="184" y="139"/>
                  <a:pt x="177" y="134"/>
                  <a:pt x="169" y="134"/>
                </a:cubicBezTo>
                <a:cubicBezTo>
                  <a:pt x="45" y="134"/>
                  <a:pt x="45" y="134"/>
                  <a:pt x="45" y="134"/>
                </a:cubicBezTo>
                <a:cubicBezTo>
                  <a:pt x="37" y="134"/>
                  <a:pt x="30" y="139"/>
                  <a:pt x="29" y="148"/>
                </a:cubicBezTo>
                <a:cubicBezTo>
                  <a:pt x="29" y="161"/>
                  <a:pt x="29" y="161"/>
                  <a:pt x="29" y="161"/>
                </a:cubicBezTo>
                <a:cubicBezTo>
                  <a:pt x="30" y="170"/>
                  <a:pt x="37" y="175"/>
                  <a:pt x="45" y="175"/>
                </a:cubicBezTo>
                <a:cubicBezTo>
                  <a:pt x="169" y="175"/>
                  <a:pt x="169" y="175"/>
                  <a:pt x="169" y="175"/>
                </a:cubicBezTo>
                <a:cubicBezTo>
                  <a:pt x="177" y="175"/>
                  <a:pt x="185" y="170"/>
                  <a:pt x="185" y="161"/>
                </a:cubicBezTo>
                <a:lnTo>
                  <a:pt x="185" y="148"/>
                </a:lnTo>
                <a:close/>
                <a:moveTo>
                  <a:pt x="169" y="159"/>
                </a:moveTo>
                <a:cubicBezTo>
                  <a:pt x="45" y="159"/>
                  <a:pt x="45" y="159"/>
                  <a:pt x="45" y="159"/>
                </a:cubicBezTo>
                <a:cubicBezTo>
                  <a:pt x="45" y="159"/>
                  <a:pt x="45" y="159"/>
                  <a:pt x="45" y="159"/>
                </a:cubicBezTo>
                <a:cubicBezTo>
                  <a:pt x="45" y="150"/>
                  <a:pt x="45" y="150"/>
                  <a:pt x="45" y="150"/>
                </a:cubicBezTo>
                <a:cubicBezTo>
                  <a:pt x="45" y="150"/>
                  <a:pt x="45" y="150"/>
                  <a:pt x="45" y="150"/>
                </a:cubicBezTo>
                <a:cubicBezTo>
                  <a:pt x="169" y="150"/>
                  <a:pt x="169" y="150"/>
                  <a:pt x="169" y="150"/>
                </a:cubicBezTo>
                <a:lnTo>
                  <a:pt x="169" y="159"/>
                </a:lnTo>
                <a:close/>
                <a:moveTo>
                  <a:pt x="185" y="96"/>
                </a:moveTo>
                <a:cubicBezTo>
                  <a:pt x="185" y="87"/>
                  <a:pt x="177" y="81"/>
                  <a:pt x="169" y="81"/>
                </a:cubicBezTo>
                <a:cubicBezTo>
                  <a:pt x="45" y="81"/>
                  <a:pt x="45" y="81"/>
                  <a:pt x="45" y="81"/>
                </a:cubicBezTo>
                <a:cubicBezTo>
                  <a:pt x="37" y="81"/>
                  <a:pt x="30" y="87"/>
                  <a:pt x="29" y="96"/>
                </a:cubicBezTo>
                <a:cubicBezTo>
                  <a:pt x="29" y="108"/>
                  <a:pt x="29" y="108"/>
                  <a:pt x="29" y="108"/>
                </a:cubicBezTo>
                <a:cubicBezTo>
                  <a:pt x="30" y="117"/>
                  <a:pt x="37" y="123"/>
                  <a:pt x="45" y="123"/>
                </a:cubicBezTo>
                <a:cubicBezTo>
                  <a:pt x="169" y="123"/>
                  <a:pt x="169" y="123"/>
                  <a:pt x="169" y="123"/>
                </a:cubicBezTo>
                <a:cubicBezTo>
                  <a:pt x="177" y="123"/>
                  <a:pt x="184" y="117"/>
                  <a:pt x="185" y="108"/>
                </a:cubicBezTo>
                <a:lnTo>
                  <a:pt x="185" y="96"/>
                </a:lnTo>
                <a:close/>
                <a:moveTo>
                  <a:pt x="169" y="107"/>
                </a:moveTo>
                <a:cubicBezTo>
                  <a:pt x="45" y="107"/>
                  <a:pt x="45" y="107"/>
                  <a:pt x="45" y="107"/>
                </a:cubicBezTo>
                <a:cubicBezTo>
                  <a:pt x="45" y="107"/>
                  <a:pt x="45" y="107"/>
                  <a:pt x="45" y="107"/>
                </a:cubicBezTo>
                <a:cubicBezTo>
                  <a:pt x="45" y="97"/>
                  <a:pt x="45" y="97"/>
                  <a:pt x="45" y="97"/>
                </a:cubicBezTo>
                <a:cubicBezTo>
                  <a:pt x="45" y="97"/>
                  <a:pt x="45" y="97"/>
                  <a:pt x="45" y="97"/>
                </a:cubicBezTo>
                <a:cubicBezTo>
                  <a:pt x="169" y="97"/>
                  <a:pt x="169" y="97"/>
                  <a:pt x="169" y="97"/>
                </a:cubicBezTo>
                <a:lnTo>
                  <a:pt x="169" y="107"/>
                </a:lnTo>
                <a:close/>
                <a:moveTo>
                  <a:pt x="185" y="44"/>
                </a:moveTo>
                <a:cubicBezTo>
                  <a:pt x="184" y="34"/>
                  <a:pt x="177" y="29"/>
                  <a:pt x="169" y="29"/>
                </a:cubicBezTo>
                <a:cubicBezTo>
                  <a:pt x="45" y="29"/>
                  <a:pt x="45" y="29"/>
                  <a:pt x="45" y="29"/>
                </a:cubicBezTo>
                <a:cubicBezTo>
                  <a:pt x="37" y="29"/>
                  <a:pt x="30" y="34"/>
                  <a:pt x="29" y="44"/>
                </a:cubicBezTo>
                <a:cubicBezTo>
                  <a:pt x="29" y="56"/>
                  <a:pt x="29" y="56"/>
                  <a:pt x="29" y="56"/>
                </a:cubicBezTo>
                <a:cubicBezTo>
                  <a:pt x="30" y="65"/>
                  <a:pt x="37" y="70"/>
                  <a:pt x="45" y="70"/>
                </a:cubicBezTo>
                <a:cubicBezTo>
                  <a:pt x="169" y="70"/>
                  <a:pt x="169" y="70"/>
                  <a:pt x="169" y="70"/>
                </a:cubicBezTo>
                <a:cubicBezTo>
                  <a:pt x="177" y="70"/>
                  <a:pt x="185" y="65"/>
                  <a:pt x="185" y="56"/>
                </a:cubicBezTo>
                <a:lnTo>
                  <a:pt x="185" y="44"/>
                </a:lnTo>
                <a:close/>
                <a:moveTo>
                  <a:pt x="169" y="54"/>
                </a:moveTo>
                <a:cubicBezTo>
                  <a:pt x="45" y="54"/>
                  <a:pt x="45" y="54"/>
                  <a:pt x="45" y="54"/>
                </a:cubicBezTo>
                <a:cubicBezTo>
                  <a:pt x="45" y="54"/>
                  <a:pt x="45" y="54"/>
                  <a:pt x="45" y="54"/>
                </a:cubicBezTo>
                <a:cubicBezTo>
                  <a:pt x="45" y="45"/>
                  <a:pt x="45" y="45"/>
                  <a:pt x="45" y="45"/>
                </a:cubicBezTo>
                <a:cubicBezTo>
                  <a:pt x="45" y="45"/>
                  <a:pt x="45" y="45"/>
                  <a:pt x="45" y="45"/>
                </a:cubicBezTo>
                <a:cubicBezTo>
                  <a:pt x="169" y="45"/>
                  <a:pt x="169" y="45"/>
                  <a:pt x="169" y="45"/>
                </a:cubicBezTo>
                <a:lnTo>
                  <a:pt x="169" y="54"/>
                </a:lnTo>
                <a:close/>
                <a:moveTo>
                  <a:pt x="212" y="88"/>
                </a:moveTo>
                <a:cubicBezTo>
                  <a:pt x="204" y="88"/>
                  <a:pt x="198" y="94"/>
                  <a:pt x="198" y="102"/>
                </a:cubicBezTo>
                <a:cubicBezTo>
                  <a:pt x="198" y="110"/>
                  <a:pt x="204" y="116"/>
                  <a:pt x="212" y="116"/>
                </a:cubicBezTo>
                <a:cubicBezTo>
                  <a:pt x="220" y="116"/>
                  <a:pt x="226" y="110"/>
                  <a:pt x="226" y="102"/>
                </a:cubicBezTo>
                <a:cubicBezTo>
                  <a:pt x="226" y="94"/>
                  <a:pt x="220" y="88"/>
                  <a:pt x="212" y="88"/>
                </a:cubicBezTo>
                <a:close/>
                <a:moveTo>
                  <a:pt x="212" y="35"/>
                </a:moveTo>
                <a:cubicBezTo>
                  <a:pt x="204" y="35"/>
                  <a:pt x="198" y="42"/>
                  <a:pt x="198" y="50"/>
                </a:cubicBezTo>
                <a:cubicBezTo>
                  <a:pt x="198" y="57"/>
                  <a:pt x="204" y="64"/>
                  <a:pt x="212" y="64"/>
                </a:cubicBezTo>
                <a:cubicBezTo>
                  <a:pt x="220" y="64"/>
                  <a:pt x="226" y="57"/>
                  <a:pt x="226" y="50"/>
                </a:cubicBezTo>
                <a:cubicBezTo>
                  <a:pt x="226" y="42"/>
                  <a:pt x="220" y="35"/>
                  <a:pt x="212" y="35"/>
                </a:cubicBezTo>
                <a:close/>
                <a:moveTo>
                  <a:pt x="212" y="140"/>
                </a:moveTo>
                <a:cubicBezTo>
                  <a:pt x="204" y="140"/>
                  <a:pt x="198" y="147"/>
                  <a:pt x="198" y="155"/>
                </a:cubicBezTo>
                <a:cubicBezTo>
                  <a:pt x="198" y="162"/>
                  <a:pt x="204" y="169"/>
                  <a:pt x="212" y="169"/>
                </a:cubicBezTo>
                <a:cubicBezTo>
                  <a:pt x="220" y="169"/>
                  <a:pt x="226" y="162"/>
                  <a:pt x="226" y="155"/>
                </a:cubicBezTo>
                <a:cubicBezTo>
                  <a:pt x="226" y="147"/>
                  <a:pt x="220" y="140"/>
                  <a:pt x="212" y="140"/>
                </a:cubicBezTo>
                <a:close/>
                <a:moveTo>
                  <a:pt x="212" y="193"/>
                </a:moveTo>
                <a:cubicBezTo>
                  <a:pt x="204" y="193"/>
                  <a:pt x="198" y="199"/>
                  <a:pt x="198" y="207"/>
                </a:cubicBezTo>
                <a:cubicBezTo>
                  <a:pt x="198" y="215"/>
                  <a:pt x="204" y="221"/>
                  <a:pt x="212" y="221"/>
                </a:cubicBezTo>
                <a:cubicBezTo>
                  <a:pt x="220" y="221"/>
                  <a:pt x="226" y="215"/>
                  <a:pt x="226" y="207"/>
                </a:cubicBezTo>
                <a:cubicBezTo>
                  <a:pt x="226" y="199"/>
                  <a:pt x="220" y="193"/>
                  <a:pt x="212" y="193"/>
                </a:cubicBezTo>
                <a:close/>
                <a:moveTo>
                  <a:pt x="212" y="245"/>
                </a:moveTo>
                <a:cubicBezTo>
                  <a:pt x="204" y="245"/>
                  <a:pt x="198" y="252"/>
                  <a:pt x="198" y="259"/>
                </a:cubicBezTo>
                <a:cubicBezTo>
                  <a:pt x="198" y="267"/>
                  <a:pt x="204" y="274"/>
                  <a:pt x="212" y="274"/>
                </a:cubicBezTo>
                <a:cubicBezTo>
                  <a:pt x="220" y="274"/>
                  <a:pt x="226" y="267"/>
                  <a:pt x="226" y="259"/>
                </a:cubicBezTo>
                <a:cubicBezTo>
                  <a:pt x="226" y="252"/>
                  <a:pt x="220" y="245"/>
                  <a:pt x="212" y="245"/>
                </a:cubicBezTo>
                <a:close/>
                <a:moveTo>
                  <a:pt x="212" y="298"/>
                </a:moveTo>
                <a:cubicBezTo>
                  <a:pt x="204" y="298"/>
                  <a:pt x="198" y="304"/>
                  <a:pt x="198" y="312"/>
                </a:cubicBezTo>
                <a:cubicBezTo>
                  <a:pt x="198" y="320"/>
                  <a:pt x="204" y="326"/>
                  <a:pt x="212" y="326"/>
                </a:cubicBezTo>
                <a:cubicBezTo>
                  <a:pt x="220" y="326"/>
                  <a:pt x="226" y="320"/>
                  <a:pt x="226" y="312"/>
                </a:cubicBezTo>
                <a:cubicBezTo>
                  <a:pt x="226" y="304"/>
                  <a:pt x="220" y="298"/>
                  <a:pt x="212" y="298"/>
                </a:cubicBezTo>
                <a:close/>
                <a:moveTo>
                  <a:pt x="212" y="350"/>
                </a:moveTo>
                <a:cubicBezTo>
                  <a:pt x="204" y="350"/>
                  <a:pt x="198" y="356"/>
                  <a:pt x="198" y="364"/>
                </a:cubicBezTo>
                <a:cubicBezTo>
                  <a:pt x="198" y="372"/>
                  <a:pt x="204" y="379"/>
                  <a:pt x="212" y="379"/>
                </a:cubicBezTo>
                <a:cubicBezTo>
                  <a:pt x="220" y="379"/>
                  <a:pt x="226" y="372"/>
                  <a:pt x="226" y="364"/>
                </a:cubicBezTo>
                <a:cubicBezTo>
                  <a:pt x="226" y="356"/>
                  <a:pt x="220" y="350"/>
                  <a:pt x="212" y="350"/>
                </a:cubicBezTo>
                <a:close/>
                <a:moveTo>
                  <a:pt x="247" y="44"/>
                </a:moveTo>
                <a:cubicBezTo>
                  <a:pt x="251" y="44"/>
                  <a:pt x="255" y="41"/>
                  <a:pt x="255" y="36"/>
                </a:cubicBezTo>
                <a:cubicBezTo>
                  <a:pt x="255" y="16"/>
                  <a:pt x="255" y="16"/>
                  <a:pt x="255" y="16"/>
                </a:cubicBezTo>
                <a:cubicBezTo>
                  <a:pt x="255" y="7"/>
                  <a:pt x="248" y="0"/>
                  <a:pt x="23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7" y="0"/>
                  <a:pt x="0" y="7"/>
                  <a:pt x="0" y="16"/>
                </a:cubicBezTo>
                <a:cubicBezTo>
                  <a:pt x="0" y="396"/>
                  <a:pt x="0" y="396"/>
                  <a:pt x="0" y="396"/>
                </a:cubicBezTo>
                <a:cubicBezTo>
                  <a:pt x="0" y="405"/>
                  <a:pt x="7" y="412"/>
                  <a:pt x="16" y="412"/>
                </a:cubicBezTo>
                <a:cubicBezTo>
                  <a:pt x="239" y="412"/>
                  <a:pt x="239" y="412"/>
                  <a:pt x="239" y="412"/>
                </a:cubicBezTo>
                <a:cubicBezTo>
                  <a:pt x="248" y="412"/>
                  <a:pt x="255" y="405"/>
                  <a:pt x="255" y="396"/>
                </a:cubicBezTo>
                <a:cubicBezTo>
                  <a:pt x="255" y="60"/>
                  <a:pt x="255" y="60"/>
                  <a:pt x="255" y="60"/>
                </a:cubicBezTo>
                <a:cubicBezTo>
                  <a:pt x="255" y="56"/>
                  <a:pt x="251" y="52"/>
                  <a:pt x="247" y="52"/>
                </a:cubicBezTo>
                <a:cubicBezTo>
                  <a:pt x="242" y="52"/>
                  <a:pt x="239" y="56"/>
                  <a:pt x="239" y="60"/>
                </a:cubicBezTo>
                <a:cubicBezTo>
                  <a:pt x="239" y="396"/>
                  <a:pt x="239" y="396"/>
                  <a:pt x="239" y="396"/>
                </a:cubicBezTo>
                <a:cubicBezTo>
                  <a:pt x="16" y="396"/>
                  <a:pt x="16" y="396"/>
                  <a:pt x="16" y="396"/>
                </a:cubicBezTo>
                <a:cubicBezTo>
                  <a:pt x="16" y="396"/>
                  <a:pt x="16" y="396"/>
                  <a:pt x="16" y="396"/>
                </a:cubicBezTo>
                <a:cubicBezTo>
                  <a:pt x="16" y="16"/>
                  <a:pt x="16" y="16"/>
                  <a:pt x="16" y="16"/>
                </a:cubicBezTo>
                <a:cubicBezTo>
                  <a:pt x="16" y="16"/>
                  <a:pt x="16" y="16"/>
                  <a:pt x="16" y="16"/>
                </a:cubicBezTo>
                <a:cubicBezTo>
                  <a:pt x="239" y="16"/>
                  <a:pt x="239" y="16"/>
                  <a:pt x="239" y="16"/>
                </a:cubicBezTo>
                <a:cubicBezTo>
                  <a:pt x="239" y="36"/>
                  <a:pt x="239" y="36"/>
                  <a:pt x="239" y="36"/>
                </a:cubicBezTo>
                <a:cubicBezTo>
                  <a:pt x="239" y="41"/>
                  <a:pt x="242" y="44"/>
                  <a:pt x="247" y="44"/>
                </a:cubicBezTo>
                <a:close/>
              </a:path>
            </a:pathLst>
          </a:custGeom>
          <a:solidFill>
            <a:srgbClr val="5858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196" name="Freeform 8"/>
          <p:cNvSpPr>
            <a:spLocks noChangeAspect="1" noEditPoints="1"/>
          </p:cNvSpPr>
          <p:nvPr/>
        </p:nvSpPr>
        <p:spPr bwMode="auto">
          <a:xfrm>
            <a:off x="10202888" y="2565436"/>
            <a:ext cx="312737" cy="504825"/>
          </a:xfrm>
          <a:custGeom>
            <a:avLst/>
            <a:gdLst>
              <a:gd name="T0" fmla="*/ 2147483647 w 255"/>
              <a:gd name="T1" fmla="*/ 2147483647 h 412"/>
              <a:gd name="T2" fmla="*/ 2147483647 w 255"/>
              <a:gd name="T3" fmla="*/ 2147483647 h 412"/>
              <a:gd name="T4" fmla="*/ 2147483647 w 255"/>
              <a:gd name="T5" fmla="*/ 2147483647 h 412"/>
              <a:gd name="T6" fmla="*/ 2147483647 w 255"/>
              <a:gd name="T7" fmla="*/ 2147483647 h 412"/>
              <a:gd name="T8" fmla="*/ 2147483647 w 255"/>
              <a:gd name="T9" fmla="*/ 2147483647 h 412"/>
              <a:gd name="T10" fmla="*/ 2147483647 w 255"/>
              <a:gd name="T11" fmla="*/ 2147483647 h 412"/>
              <a:gd name="T12" fmla="*/ 2147483647 w 255"/>
              <a:gd name="T13" fmla="*/ 2147483647 h 412"/>
              <a:gd name="T14" fmla="*/ 2147483647 w 255"/>
              <a:gd name="T15" fmla="*/ 2147483647 h 412"/>
              <a:gd name="T16" fmla="*/ 2147483647 w 255"/>
              <a:gd name="T17" fmla="*/ 2147483647 h 412"/>
              <a:gd name="T18" fmla="*/ 2147483647 w 255"/>
              <a:gd name="T19" fmla="*/ 2147483647 h 412"/>
              <a:gd name="T20" fmla="*/ 2147483647 w 255"/>
              <a:gd name="T21" fmla="*/ 2147483647 h 412"/>
              <a:gd name="T22" fmla="*/ 2147483647 w 255"/>
              <a:gd name="T23" fmla="*/ 2147483647 h 412"/>
              <a:gd name="T24" fmla="*/ 2147483647 w 255"/>
              <a:gd name="T25" fmla="*/ 2147483647 h 412"/>
              <a:gd name="T26" fmla="*/ 2147483647 w 255"/>
              <a:gd name="T27" fmla="*/ 2147483647 h 412"/>
              <a:gd name="T28" fmla="*/ 2147483647 w 255"/>
              <a:gd name="T29" fmla="*/ 2147483647 h 412"/>
              <a:gd name="T30" fmla="*/ 2147483647 w 255"/>
              <a:gd name="T31" fmla="*/ 2147483647 h 412"/>
              <a:gd name="T32" fmla="*/ 2147483647 w 255"/>
              <a:gd name="T33" fmla="*/ 2147483647 h 412"/>
              <a:gd name="T34" fmla="*/ 2147483647 w 255"/>
              <a:gd name="T35" fmla="*/ 2147483647 h 412"/>
              <a:gd name="T36" fmla="*/ 2147483647 w 255"/>
              <a:gd name="T37" fmla="*/ 2147483647 h 412"/>
              <a:gd name="T38" fmla="*/ 2147483647 w 255"/>
              <a:gd name="T39" fmla="*/ 2147483647 h 412"/>
              <a:gd name="T40" fmla="*/ 2147483647 w 255"/>
              <a:gd name="T41" fmla="*/ 2147483647 h 412"/>
              <a:gd name="T42" fmla="*/ 2147483647 w 255"/>
              <a:gd name="T43" fmla="*/ 2147483647 h 412"/>
              <a:gd name="T44" fmla="*/ 2147483647 w 255"/>
              <a:gd name="T45" fmla="*/ 2147483647 h 412"/>
              <a:gd name="T46" fmla="*/ 2147483647 w 255"/>
              <a:gd name="T47" fmla="*/ 2147483647 h 412"/>
              <a:gd name="T48" fmla="*/ 2147483647 w 255"/>
              <a:gd name="T49" fmla="*/ 2147483647 h 412"/>
              <a:gd name="T50" fmla="*/ 2147483647 w 255"/>
              <a:gd name="T51" fmla="*/ 2147483647 h 412"/>
              <a:gd name="T52" fmla="*/ 2147483647 w 255"/>
              <a:gd name="T53" fmla="*/ 2147483647 h 412"/>
              <a:gd name="T54" fmla="*/ 2147483647 w 255"/>
              <a:gd name="T55" fmla="*/ 2147483647 h 412"/>
              <a:gd name="T56" fmla="*/ 2147483647 w 255"/>
              <a:gd name="T57" fmla="*/ 2147483647 h 412"/>
              <a:gd name="T58" fmla="*/ 2147483647 w 255"/>
              <a:gd name="T59" fmla="*/ 2147483647 h 412"/>
              <a:gd name="T60" fmla="*/ 2147483647 w 255"/>
              <a:gd name="T61" fmla="*/ 2147483647 h 412"/>
              <a:gd name="T62" fmla="*/ 2147483647 w 255"/>
              <a:gd name="T63" fmla="*/ 2147483647 h 412"/>
              <a:gd name="T64" fmla="*/ 2147483647 w 255"/>
              <a:gd name="T65" fmla="*/ 2147483647 h 412"/>
              <a:gd name="T66" fmla="*/ 2147483647 w 255"/>
              <a:gd name="T67" fmla="*/ 2147483647 h 412"/>
              <a:gd name="T68" fmla="*/ 2147483647 w 255"/>
              <a:gd name="T69" fmla="*/ 2147483647 h 412"/>
              <a:gd name="T70" fmla="*/ 2147483647 w 255"/>
              <a:gd name="T71" fmla="*/ 2147483647 h 412"/>
              <a:gd name="T72" fmla="*/ 2147483647 w 255"/>
              <a:gd name="T73" fmla="*/ 2147483647 h 412"/>
              <a:gd name="T74" fmla="*/ 2147483647 w 255"/>
              <a:gd name="T75" fmla="*/ 2147483647 h 412"/>
              <a:gd name="T76" fmla="*/ 2147483647 w 255"/>
              <a:gd name="T77" fmla="*/ 2147483647 h 412"/>
              <a:gd name="T78" fmla="*/ 2147483647 w 255"/>
              <a:gd name="T79" fmla="*/ 2147483647 h 412"/>
              <a:gd name="T80" fmla="*/ 2147483647 w 255"/>
              <a:gd name="T81" fmla="*/ 2147483647 h 412"/>
              <a:gd name="T82" fmla="*/ 2147483647 w 255"/>
              <a:gd name="T83" fmla="*/ 2147483647 h 412"/>
              <a:gd name="T84" fmla="*/ 2147483647 w 255"/>
              <a:gd name="T85" fmla="*/ 2147483647 h 412"/>
              <a:gd name="T86" fmla="*/ 2147483647 w 255"/>
              <a:gd name="T87" fmla="*/ 2147483647 h 412"/>
              <a:gd name="T88" fmla="*/ 2147483647 w 255"/>
              <a:gd name="T89" fmla="*/ 2147483647 h 412"/>
              <a:gd name="T90" fmla="*/ 2147483647 w 255"/>
              <a:gd name="T91" fmla="*/ 2147483647 h 412"/>
              <a:gd name="T92" fmla="*/ 2147483647 w 255"/>
              <a:gd name="T93" fmla="*/ 2147483647 h 412"/>
              <a:gd name="T94" fmla="*/ 2147483647 w 255"/>
              <a:gd name="T95" fmla="*/ 2147483647 h 412"/>
              <a:gd name="T96" fmla="*/ 2147483647 w 255"/>
              <a:gd name="T97" fmla="*/ 2147483647 h 412"/>
              <a:gd name="T98" fmla="*/ 2147483647 w 255"/>
              <a:gd name="T99" fmla="*/ 2147483647 h 412"/>
              <a:gd name="T100" fmla="*/ 0 w 255"/>
              <a:gd name="T101" fmla="*/ 2147483647 h 412"/>
              <a:gd name="T102" fmla="*/ 2147483647 w 255"/>
              <a:gd name="T103" fmla="*/ 2147483647 h 412"/>
              <a:gd name="T104" fmla="*/ 2147483647 w 255"/>
              <a:gd name="T105" fmla="*/ 2147483647 h 412"/>
              <a:gd name="T106" fmla="*/ 2147483647 w 255"/>
              <a:gd name="T107" fmla="*/ 2147483647 h 412"/>
              <a:gd name="T108" fmla="*/ 2147483647 w 255"/>
              <a:gd name="T109" fmla="*/ 2147483647 h 412"/>
              <a:gd name="T110" fmla="*/ 2147483647 w 255"/>
              <a:gd name="T111" fmla="*/ 2147483647 h 41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55"/>
              <a:gd name="T169" fmla="*/ 0 h 412"/>
              <a:gd name="T170" fmla="*/ 255 w 255"/>
              <a:gd name="T171" fmla="*/ 412 h 412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55" h="412">
                <a:moveTo>
                  <a:pt x="169" y="344"/>
                </a:moveTo>
                <a:cubicBezTo>
                  <a:pt x="45" y="344"/>
                  <a:pt x="45" y="344"/>
                  <a:pt x="45" y="344"/>
                </a:cubicBezTo>
                <a:cubicBezTo>
                  <a:pt x="37" y="344"/>
                  <a:pt x="30" y="349"/>
                  <a:pt x="29" y="358"/>
                </a:cubicBezTo>
                <a:cubicBezTo>
                  <a:pt x="29" y="370"/>
                  <a:pt x="29" y="370"/>
                  <a:pt x="29" y="370"/>
                </a:cubicBezTo>
                <a:cubicBezTo>
                  <a:pt x="30" y="380"/>
                  <a:pt x="37" y="385"/>
                  <a:pt x="45" y="385"/>
                </a:cubicBezTo>
                <a:cubicBezTo>
                  <a:pt x="169" y="385"/>
                  <a:pt x="169" y="385"/>
                  <a:pt x="169" y="385"/>
                </a:cubicBezTo>
                <a:cubicBezTo>
                  <a:pt x="177" y="385"/>
                  <a:pt x="185" y="380"/>
                  <a:pt x="185" y="370"/>
                </a:cubicBezTo>
                <a:cubicBezTo>
                  <a:pt x="185" y="358"/>
                  <a:pt x="185" y="358"/>
                  <a:pt x="185" y="358"/>
                </a:cubicBezTo>
                <a:cubicBezTo>
                  <a:pt x="184" y="349"/>
                  <a:pt x="177" y="344"/>
                  <a:pt x="169" y="344"/>
                </a:cubicBezTo>
                <a:close/>
                <a:moveTo>
                  <a:pt x="169" y="369"/>
                </a:moveTo>
                <a:cubicBezTo>
                  <a:pt x="45" y="369"/>
                  <a:pt x="45" y="369"/>
                  <a:pt x="45" y="369"/>
                </a:cubicBezTo>
                <a:cubicBezTo>
                  <a:pt x="45" y="369"/>
                  <a:pt x="45" y="369"/>
                  <a:pt x="45" y="369"/>
                </a:cubicBezTo>
                <a:cubicBezTo>
                  <a:pt x="45" y="360"/>
                  <a:pt x="45" y="360"/>
                  <a:pt x="45" y="360"/>
                </a:cubicBezTo>
                <a:cubicBezTo>
                  <a:pt x="45" y="360"/>
                  <a:pt x="45" y="360"/>
                  <a:pt x="45" y="360"/>
                </a:cubicBezTo>
                <a:cubicBezTo>
                  <a:pt x="169" y="360"/>
                  <a:pt x="169" y="360"/>
                  <a:pt x="169" y="360"/>
                </a:cubicBezTo>
                <a:lnTo>
                  <a:pt x="169" y="369"/>
                </a:lnTo>
                <a:close/>
                <a:moveTo>
                  <a:pt x="185" y="306"/>
                </a:moveTo>
                <a:cubicBezTo>
                  <a:pt x="185" y="297"/>
                  <a:pt x="177" y="291"/>
                  <a:pt x="169" y="291"/>
                </a:cubicBezTo>
                <a:cubicBezTo>
                  <a:pt x="45" y="291"/>
                  <a:pt x="45" y="291"/>
                  <a:pt x="45" y="291"/>
                </a:cubicBezTo>
                <a:cubicBezTo>
                  <a:pt x="37" y="291"/>
                  <a:pt x="30" y="297"/>
                  <a:pt x="29" y="306"/>
                </a:cubicBezTo>
                <a:cubicBezTo>
                  <a:pt x="29" y="318"/>
                  <a:pt x="29" y="318"/>
                  <a:pt x="29" y="318"/>
                </a:cubicBezTo>
                <a:cubicBezTo>
                  <a:pt x="30" y="327"/>
                  <a:pt x="37" y="333"/>
                  <a:pt x="45" y="333"/>
                </a:cubicBezTo>
                <a:cubicBezTo>
                  <a:pt x="169" y="333"/>
                  <a:pt x="169" y="333"/>
                  <a:pt x="169" y="333"/>
                </a:cubicBezTo>
                <a:cubicBezTo>
                  <a:pt x="177" y="333"/>
                  <a:pt x="184" y="327"/>
                  <a:pt x="185" y="318"/>
                </a:cubicBezTo>
                <a:lnTo>
                  <a:pt x="185" y="306"/>
                </a:lnTo>
                <a:close/>
                <a:moveTo>
                  <a:pt x="169" y="317"/>
                </a:moveTo>
                <a:cubicBezTo>
                  <a:pt x="45" y="317"/>
                  <a:pt x="45" y="317"/>
                  <a:pt x="45" y="317"/>
                </a:cubicBezTo>
                <a:cubicBezTo>
                  <a:pt x="45" y="317"/>
                  <a:pt x="45" y="317"/>
                  <a:pt x="45" y="317"/>
                </a:cubicBezTo>
                <a:cubicBezTo>
                  <a:pt x="45" y="307"/>
                  <a:pt x="45" y="307"/>
                  <a:pt x="45" y="307"/>
                </a:cubicBezTo>
                <a:cubicBezTo>
                  <a:pt x="45" y="307"/>
                  <a:pt x="45" y="307"/>
                  <a:pt x="45" y="307"/>
                </a:cubicBezTo>
                <a:cubicBezTo>
                  <a:pt x="169" y="307"/>
                  <a:pt x="169" y="307"/>
                  <a:pt x="169" y="307"/>
                </a:cubicBezTo>
                <a:lnTo>
                  <a:pt x="169" y="317"/>
                </a:lnTo>
                <a:close/>
                <a:moveTo>
                  <a:pt x="185" y="253"/>
                </a:moveTo>
                <a:cubicBezTo>
                  <a:pt x="184" y="244"/>
                  <a:pt x="177" y="239"/>
                  <a:pt x="169" y="239"/>
                </a:cubicBezTo>
                <a:cubicBezTo>
                  <a:pt x="45" y="239"/>
                  <a:pt x="45" y="239"/>
                  <a:pt x="45" y="239"/>
                </a:cubicBezTo>
                <a:cubicBezTo>
                  <a:pt x="37" y="239"/>
                  <a:pt x="30" y="244"/>
                  <a:pt x="29" y="253"/>
                </a:cubicBezTo>
                <a:cubicBezTo>
                  <a:pt x="29" y="265"/>
                  <a:pt x="29" y="265"/>
                  <a:pt x="29" y="265"/>
                </a:cubicBezTo>
                <a:cubicBezTo>
                  <a:pt x="30" y="275"/>
                  <a:pt x="37" y="280"/>
                  <a:pt x="45" y="280"/>
                </a:cubicBezTo>
                <a:cubicBezTo>
                  <a:pt x="169" y="280"/>
                  <a:pt x="169" y="280"/>
                  <a:pt x="169" y="280"/>
                </a:cubicBezTo>
                <a:cubicBezTo>
                  <a:pt x="177" y="280"/>
                  <a:pt x="185" y="275"/>
                  <a:pt x="185" y="265"/>
                </a:cubicBezTo>
                <a:lnTo>
                  <a:pt x="185" y="253"/>
                </a:lnTo>
                <a:close/>
                <a:moveTo>
                  <a:pt x="169" y="264"/>
                </a:moveTo>
                <a:cubicBezTo>
                  <a:pt x="45" y="264"/>
                  <a:pt x="45" y="264"/>
                  <a:pt x="45" y="264"/>
                </a:cubicBezTo>
                <a:cubicBezTo>
                  <a:pt x="45" y="264"/>
                  <a:pt x="45" y="264"/>
                  <a:pt x="45" y="264"/>
                </a:cubicBezTo>
                <a:cubicBezTo>
                  <a:pt x="45" y="255"/>
                  <a:pt x="45" y="255"/>
                  <a:pt x="45" y="255"/>
                </a:cubicBezTo>
                <a:cubicBezTo>
                  <a:pt x="45" y="255"/>
                  <a:pt x="45" y="255"/>
                  <a:pt x="45" y="255"/>
                </a:cubicBezTo>
                <a:cubicBezTo>
                  <a:pt x="169" y="255"/>
                  <a:pt x="169" y="255"/>
                  <a:pt x="169" y="255"/>
                </a:cubicBezTo>
                <a:lnTo>
                  <a:pt x="169" y="264"/>
                </a:lnTo>
                <a:close/>
                <a:moveTo>
                  <a:pt x="185" y="201"/>
                </a:moveTo>
                <a:cubicBezTo>
                  <a:pt x="185" y="192"/>
                  <a:pt x="177" y="186"/>
                  <a:pt x="169" y="186"/>
                </a:cubicBezTo>
                <a:cubicBezTo>
                  <a:pt x="45" y="186"/>
                  <a:pt x="45" y="186"/>
                  <a:pt x="45" y="186"/>
                </a:cubicBezTo>
                <a:cubicBezTo>
                  <a:pt x="37" y="186"/>
                  <a:pt x="30" y="192"/>
                  <a:pt x="29" y="201"/>
                </a:cubicBezTo>
                <a:cubicBezTo>
                  <a:pt x="29" y="213"/>
                  <a:pt x="29" y="213"/>
                  <a:pt x="29" y="213"/>
                </a:cubicBezTo>
                <a:cubicBezTo>
                  <a:pt x="30" y="222"/>
                  <a:pt x="37" y="228"/>
                  <a:pt x="45" y="228"/>
                </a:cubicBezTo>
                <a:cubicBezTo>
                  <a:pt x="169" y="228"/>
                  <a:pt x="169" y="228"/>
                  <a:pt x="169" y="228"/>
                </a:cubicBezTo>
                <a:cubicBezTo>
                  <a:pt x="177" y="228"/>
                  <a:pt x="184" y="222"/>
                  <a:pt x="185" y="213"/>
                </a:cubicBezTo>
                <a:lnTo>
                  <a:pt x="185" y="201"/>
                </a:lnTo>
                <a:close/>
                <a:moveTo>
                  <a:pt x="169" y="212"/>
                </a:moveTo>
                <a:cubicBezTo>
                  <a:pt x="45" y="212"/>
                  <a:pt x="45" y="212"/>
                  <a:pt x="45" y="212"/>
                </a:cubicBezTo>
                <a:cubicBezTo>
                  <a:pt x="45" y="212"/>
                  <a:pt x="45" y="212"/>
                  <a:pt x="45" y="212"/>
                </a:cubicBezTo>
                <a:cubicBezTo>
                  <a:pt x="45" y="202"/>
                  <a:pt x="45" y="202"/>
                  <a:pt x="45" y="202"/>
                </a:cubicBezTo>
                <a:cubicBezTo>
                  <a:pt x="45" y="202"/>
                  <a:pt x="45" y="202"/>
                  <a:pt x="45" y="202"/>
                </a:cubicBezTo>
                <a:cubicBezTo>
                  <a:pt x="169" y="202"/>
                  <a:pt x="169" y="202"/>
                  <a:pt x="169" y="202"/>
                </a:cubicBezTo>
                <a:lnTo>
                  <a:pt x="169" y="212"/>
                </a:lnTo>
                <a:close/>
                <a:moveTo>
                  <a:pt x="185" y="148"/>
                </a:moveTo>
                <a:cubicBezTo>
                  <a:pt x="184" y="139"/>
                  <a:pt x="177" y="134"/>
                  <a:pt x="169" y="134"/>
                </a:cubicBezTo>
                <a:cubicBezTo>
                  <a:pt x="45" y="134"/>
                  <a:pt x="45" y="134"/>
                  <a:pt x="45" y="134"/>
                </a:cubicBezTo>
                <a:cubicBezTo>
                  <a:pt x="37" y="134"/>
                  <a:pt x="30" y="139"/>
                  <a:pt x="29" y="148"/>
                </a:cubicBezTo>
                <a:cubicBezTo>
                  <a:pt x="29" y="161"/>
                  <a:pt x="29" y="161"/>
                  <a:pt x="29" y="161"/>
                </a:cubicBezTo>
                <a:cubicBezTo>
                  <a:pt x="30" y="170"/>
                  <a:pt x="37" y="175"/>
                  <a:pt x="45" y="175"/>
                </a:cubicBezTo>
                <a:cubicBezTo>
                  <a:pt x="169" y="175"/>
                  <a:pt x="169" y="175"/>
                  <a:pt x="169" y="175"/>
                </a:cubicBezTo>
                <a:cubicBezTo>
                  <a:pt x="177" y="175"/>
                  <a:pt x="185" y="170"/>
                  <a:pt x="185" y="161"/>
                </a:cubicBezTo>
                <a:lnTo>
                  <a:pt x="185" y="148"/>
                </a:lnTo>
                <a:close/>
                <a:moveTo>
                  <a:pt x="169" y="159"/>
                </a:moveTo>
                <a:cubicBezTo>
                  <a:pt x="45" y="159"/>
                  <a:pt x="45" y="159"/>
                  <a:pt x="45" y="159"/>
                </a:cubicBezTo>
                <a:cubicBezTo>
                  <a:pt x="45" y="159"/>
                  <a:pt x="45" y="159"/>
                  <a:pt x="45" y="159"/>
                </a:cubicBezTo>
                <a:cubicBezTo>
                  <a:pt x="45" y="150"/>
                  <a:pt x="45" y="150"/>
                  <a:pt x="45" y="150"/>
                </a:cubicBezTo>
                <a:cubicBezTo>
                  <a:pt x="45" y="150"/>
                  <a:pt x="45" y="150"/>
                  <a:pt x="45" y="150"/>
                </a:cubicBezTo>
                <a:cubicBezTo>
                  <a:pt x="169" y="150"/>
                  <a:pt x="169" y="150"/>
                  <a:pt x="169" y="150"/>
                </a:cubicBezTo>
                <a:lnTo>
                  <a:pt x="169" y="159"/>
                </a:lnTo>
                <a:close/>
                <a:moveTo>
                  <a:pt x="185" y="96"/>
                </a:moveTo>
                <a:cubicBezTo>
                  <a:pt x="185" y="87"/>
                  <a:pt x="177" y="81"/>
                  <a:pt x="169" y="81"/>
                </a:cubicBezTo>
                <a:cubicBezTo>
                  <a:pt x="45" y="81"/>
                  <a:pt x="45" y="81"/>
                  <a:pt x="45" y="81"/>
                </a:cubicBezTo>
                <a:cubicBezTo>
                  <a:pt x="37" y="81"/>
                  <a:pt x="30" y="87"/>
                  <a:pt x="29" y="96"/>
                </a:cubicBezTo>
                <a:cubicBezTo>
                  <a:pt x="29" y="108"/>
                  <a:pt x="29" y="108"/>
                  <a:pt x="29" y="108"/>
                </a:cubicBezTo>
                <a:cubicBezTo>
                  <a:pt x="30" y="117"/>
                  <a:pt x="37" y="123"/>
                  <a:pt x="45" y="123"/>
                </a:cubicBezTo>
                <a:cubicBezTo>
                  <a:pt x="169" y="123"/>
                  <a:pt x="169" y="123"/>
                  <a:pt x="169" y="123"/>
                </a:cubicBezTo>
                <a:cubicBezTo>
                  <a:pt x="177" y="123"/>
                  <a:pt x="184" y="117"/>
                  <a:pt x="185" y="108"/>
                </a:cubicBezTo>
                <a:lnTo>
                  <a:pt x="185" y="96"/>
                </a:lnTo>
                <a:close/>
                <a:moveTo>
                  <a:pt x="169" y="107"/>
                </a:moveTo>
                <a:cubicBezTo>
                  <a:pt x="45" y="107"/>
                  <a:pt x="45" y="107"/>
                  <a:pt x="45" y="107"/>
                </a:cubicBezTo>
                <a:cubicBezTo>
                  <a:pt x="45" y="107"/>
                  <a:pt x="45" y="107"/>
                  <a:pt x="45" y="107"/>
                </a:cubicBezTo>
                <a:cubicBezTo>
                  <a:pt x="45" y="97"/>
                  <a:pt x="45" y="97"/>
                  <a:pt x="45" y="97"/>
                </a:cubicBezTo>
                <a:cubicBezTo>
                  <a:pt x="45" y="97"/>
                  <a:pt x="45" y="97"/>
                  <a:pt x="45" y="97"/>
                </a:cubicBezTo>
                <a:cubicBezTo>
                  <a:pt x="169" y="97"/>
                  <a:pt x="169" y="97"/>
                  <a:pt x="169" y="97"/>
                </a:cubicBezTo>
                <a:lnTo>
                  <a:pt x="169" y="107"/>
                </a:lnTo>
                <a:close/>
                <a:moveTo>
                  <a:pt x="185" y="44"/>
                </a:moveTo>
                <a:cubicBezTo>
                  <a:pt x="184" y="34"/>
                  <a:pt x="177" y="29"/>
                  <a:pt x="169" y="29"/>
                </a:cubicBezTo>
                <a:cubicBezTo>
                  <a:pt x="45" y="29"/>
                  <a:pt x="45" y="29"/>
                  <a:pt x="45" y="29"/>
                </a:cubicBezTo>
                <a:cubicBezTo>
                  <a:pt x="37" y="29"/>
                  <a:pt x="30" y="34"/>
                  <a:pt x="29" y="44"/>
                </a:cubicBezTo>
                <a:cubicBezTo>
                  <a:pt x="29" y="56"/>
                  <a:pt x="29" y="56"/>
                  <a:pt x="29" y="56"/>
                </a:cubicBezTo>
                <a:cubicBezTo>
                  <a:pt x="30" y="65"/>
                  <a:pt x="37" y="70"/>
                  <a:pt x="45" y="70"/>
                </a:cubicBezTo>
                <a:cubicBezTo>
                  <a:pt x="169" y="70"/>
                  <a:pt x="169" y="70"/>
                  <a:pt x="169" y="70"/>
                </a:cubicBezTo>
                <a:cubicBezTo>
                  <a:pt x="177" y="70"/>
                  <a:pt x="185" y="65"/>
                  <a:pt x="185" y="56"/>
                </a:cubicBezTo>
                <a:lnTo>
                  <a:pt x="185" y="44"/>
                </a:lnTo>
                <a:close/>
                <a:moveTo>
                  <a:pt x="169" y="54"/>
                </a:moveTo>
                <a:cubicBezTo>
                  <a:pt x="45" y="54"/>
                  <a:pt x="45" y="54"/>
                  <a:pt x="45" y="54"/>
                </a:cubicBezTo>
                <a:cubicBezTo>
                  <a:pt x="45" y="54"/>
                  <a:pt x="45" y="54"/>
                  <a:pt x="45" y="54"/>
                </a:cubicBezTo>
                <a:cubicBezTo>
                  <a:pt x="45" y="45"/>
                  <a:pt x="45" y="45"/>
                  <a:pt x="45" y="45"/>
                </a:cubicBezTo>
                <a:cubicBezTo>
                  <a:pt x="45" y="45"/>
                  <a:pt x="45" y="45"/>
                  <a:pt x="45" y="45"/>
                </a:cubicBezTo>
                <a:cubicBezTo>
                  <a:pt x="169" y="45"/>
                  <a:pt x="169" y="45"/>
                  <a:pt x="169" y="45"/>
                </a:cubicBezTo>
                <a:lnTo>
                  <a:pt x="169" y="54"/>
                </a:lnTo>
                <a:close/>
                <a:moveTo>
                  <a:pt x="212" y="88"/>
                </a:moveTo>
                <a:cubicBezTo>
                  <a:pt x="204" y="88"/>
                  <a:pt x="198" y="94"/>
                  <a:pt x="198" y="102"/>
                </a:cubicBezTo>
                <a:cubicBezTo>
                  <a:pt x="198" y="110"/>
                  <a:pt x="204" y="116"/>
                  <a:pt x="212" y="116"/>
                </a:cubicBezTo>
                <a:cubicBezTo>
                  <a:pt x="220" y="116"/>
                  <a:pt x="226" y="110"/>
                  <a:pt x="226" y="102"/>
                </a:cubicBezTo>
                <a:cubicBezTo>
                  <a:pt x="226" y="94"/>
                  <a:pt x="220" y="88"/>
                  <a:pt x="212" y="88"/>
                </a:cubicBezTo>
                <a:close/>
                <a:moveTo>
                  <a:pt x="212" y="35"/>
                </a:moveTo>
                <a:cubicBezTo>
                  <a:pt x="204" y="35"/>
                  <a:pt x="198" y="42"/>
                  <a:pt x="198" y="50"/>
                </a:cubicBezTo>
                <a:cubicBezTo>
                  <a:pt x="198" y="57"/>
                  <a:pt x="204" y="64"/>
                  <a:pt x="212" y="64"/>
                </a:cubicBezTo>
                <a:cubicBezTo>
                  <a:pt x="220" y="64"/>
                  <a:pt x="226" y="57"/>
                  <a:pt x="226" y="50"/>
                </a:cubicBezTo>
                <a:cubicBezTo>
                  <a:pt x="226" y="42"/>
                  <a:pt x="220" y="35"/>
                  <a:pt x="212" y="35"/>
                </a:cubicBezTo>
                <a:close/>
                <a:moveTo>
                  <a:pt x="212" y="140"/>
                </a:moveTo>
                <a:cubicBezTo>
                  <a:pt x="204" y="140"/>
                  <a:pt x="198" y="147"/>
                  <a:pt x="198" y="155"/>
                </a:cubicBezTo>
                <a:cubicBezTo>
                  <a:pt x="198" y="162"/>
                  <a:pt x="204" y="169"/>
                  <a:pt x="212" y="169"/>
                </a:cubicBezTo>
                <a:cubicBezTo>
                  <a:pt x="220" y="169"/>
                  <a:pt x="226" y="162"/>
                  <a:pt x="226" y="155"/>
                </a:cubicBezTo>
                <a:cubicBezTo>
                  <a:pt x="226" y="147"/>
                  <a:pt x="220" y="140"/>
                  <a:pt x="212" y="140"/>
                </a:cubicBezTo>
                <a:close/>
                <a:moveTo>
                  <a:pt x="212" y="193"/>
                </a:moveTo>
                <a:cubicBezTo>
                  <a:pt x="204" y="193"/>
                  <a:pt x="198" y="199"/>
                  <a:pt x="198" y="207"/>
                </a:cubicBezTo>
                <a:cubicBezTo>
                  <a:pt x="198" y="215"/>
                  <a:pt x="204" y="221"/>
                  <a:pt x="212" y="221"/>
                </a:cubicBezTo>
                <a:cubicBezTo>
                  <a:pt x="220" y="221"/>
                  <a:pt x="226" y="215"/>
                  <a:pt x="226" y="207"/>
                </a:cubicBezTo>
                <a:cubicBezTo>
                  <a:pt x="226" y="199"/>
                  <a:pt x="220" y="193"/>
                  <a:pt x="212" y="193"/>
                </a:cubicBezTo>
                <a:close/>
                <a:moveTo>
                  <a:pt x="212" y="245"/>
                </a:moveTo>
                <a:cubicBezTo>
                  <a:pt x="204" y="245"/>
                  <a:pt x="198" y="252"/>
                  <a:pt x="198" y="259"/>
                </a:cubicBezTo>
                <a:cubicBezTo>
                  <a:pt x="198" y="267"/>
                  <a:pt x="204" y="274"/>
                  <a:pt x="212" y="274"/>
                </a:cubicBezTo>
                <a:cubicBezTo>
                  <a:pt x="220" y="274"/>
                  <a:pt x="226" y="267"/>
                  <a:pt x="226" y="259"/>
                </a:cubicBezTo>
                <a:cubicBezTo>
                  <a:pt x="226" y="252"/>
                  <a:pt x="220" y="245"/>
                  <a:pt x="212" y="245"/>
                </a:cubicBezTo>
                <a:close/>
                <a:moveTo>
                  <a:pt x="212" y="298"/>
                </a:moveTo>
                <a:cubicBezTo>
                  <a:pt x="204" y="298"/>
                  <a:pt x="198" y="304"/>
                  <a:pt x="198" y="312"/>
                </a:cubicBezTo>
                <a:cubicBezTo>
                  <a:pt x="198" y="320"/>
                  <a:pt x="204" y="326"/>
                  <a:pt x="212" y="326"/>
                </a:cubicBezTo>
                <a:cubicBezTo>
                  <a:pt x="220" y="326"/>
                  <a:pt x="226" y="320"/>
                  <a:pt x="226" y="312"/>
                </a:cubicBezTo>
                <a:cubicBezTo>
                  <a:pt x="226" y="304"/>
                  <a:pt x="220" y="298"/>
                  <a:pt x="212" y="298"/>
                </a:cubicBezTo>
                <a:close/>
                <a:moveTo>
                  <a:pt x="212" y="350"/>
                </a:moveTo>
                <a:cubicBezTo>
                  <a:pt x="204" y="350"/>
                  <a:pt x="198" y="356"/>
                  <a:pt x="198" y="364"/>
                </a:cubicBezTo>
                <a:cubicBezTo>
                  <a:pt x="198" y="372"/>
                  <a:pt x="204" y="379"/>
                  <a:pt x="212" y="379"/>
                </a:cubicBezTo>
                <a:cubicBezTo>
                  <a:pt x="220" y="379"/>
                  <a:pt x="226" y="372"/>
                  <a:pt x="226" y="364"/>
                </a:cubicBezTo>
                <a:cubicBezTo>
                  <a:pt x="226" y="356"/>
                  <a:pt x="220" y="350"/>
                  <a:pt x="212" y="350"/>
                </a:cubicBezTo>
                <a:close/>
                <a:moveTo>
                  <a:pt x="247" y="44"/>
                </a:moveTo>
                <a:cubicBezTo>
                  <a:pt x="251" y="44"/>
                  <a:pt x="255" y="41"/>
                  <a:pt x="255" y="36"/>
                </a:cubicBezTo>
                <a:cubicBezTo>
                  <a:pt x="255" y="16"/>
                  <a:pt x="255" y="16"/>
                  <a:pt x="255" y="16"/>
                </a:cubicBezTo>
                <a:cubicBezTo>
                  <a:pt x="255" y="7"/>
                  <a:pt x="248" y="0"/>
                  <a:pt x="23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7" y="0"/>
                  <a:pt x="0" y="7"/>
                  <a:pt x="0" y="16"/>
                </a:cubicBezTo>
                <a:cubicBezTo>
                  <a:pt x="0" y="396"/>
                  <a:pt x="0" y="396"/>
                  <a:pt x="0" y="396"/>
                </a:cubicBezTo>
                <a:cubicBezTo>
                  <a:pt x="0" y="405"/>
                  <a:pt x="7" y="412"/>
                  <a:pt x="16" y="412"/>
                </a:cubicBezTo>
                <a:cubicBezTo>
                  <a:pt x="239" y="412"/>
                  <a:pt x="239" y="412"/>
                  <a:pt x="239" y="412"/>
                </a:cubicBezTo>
                <a:cubicBezTo>
                  <a:pt x="248" y="412"/>
                  <a:pt x="255" y="405"/>
                  <a:pt x="255" y="396"/>
                </a:cubicBezTo>
                <a:cubicBezTo>
                  <a:pt x="255" y="60"/>
                  <a:pt x="255" y="60"/>
                  <a:pt x="255" y="60"/>
                </a:cubicBezTo>
                <a:cubicBezTo>
                  <a:pt x="255" y="56"/>
                  <a:pt x="251" y="52"/>
                  <a:pt x="247" y="52"/>
                </a:cubicBezTo>
                <a:cubicBezTo>
                  <a:pt x="242" y="52"/>
                  <a:pt x="239" y="56"/>
                  <a:pt x="239" y="60"/>
                </a:cubicBezTo>
                <a:cubicBezTo>
                  <a:pt x="239" y="396"/>
                  <a:pt x="239" y="396"/>
                  <a:pt x="239" y="396"/>
                </a:cubicBezTo>
                <a:cubicBezTo>
                  <a:pt x="16" y="396"/>
                  <a:pt x="16" y="396"/>
                  <a:pt x="16" y="396"/>
                </a:cubicBezTo>
                <a:cubicBezTo>
                  <a:pt x="16" y="396"/>
                  <a:pt x="16" y="396"/>
                  <a:pt x="16" y="396"/>
                </a:cubicBezTo>
                <a:cubicBezTo>
                  <a:pt x="16" y="16"/>
                  <a:pt x="16" y="16"/>
                  <a:pt x="16" y="16"/>
                </a:cubicBezTo>
                <a:cubicBezTo>
                  <a:pt x="16" y="16"/>
                  <a:pt x="16" y="16"/>
                  <a:pt x="16" y="16"/>
                </a:cubicBezTo>
                <a:cubicBezTo>
                  <a:pt x="239" y="16"/>
                  <a:pt x="239" y="16"/>
                  <a:pt x="239" y="16"/>
                </a:cubicBezTo>
                <a:cubicBezTo>
                  <a:pt x="239" y="36"/>
                  <a:pt x="239" y="36"/>
                  <a:pt x="239" y="36"/>
                </a:cubicBezTo>
                <a:cubicBezTo>
                  <a:pt x="239" y="41"/>
                  <a:pt x="242" y="44"/>
                  <a:pt x="247" y="44"/>
                </a:cubicBezTo>
                <a:close/>
              </a:path>
            </a:pathLst>
          </a:custGeom>
          <a:solidFill>
            <a:srgbClr val="5858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197" name="Line 107"/>
          <p:cNvSpPr>
            <a:spLocks noChangeShapeType="1"/>
          </p:cNvSpPr>
          <p:nvPr/>
        </p:nvSpPr>
        <p:spPr bwMode="auto">
          <a:xfrm>
            <a:off x="9121775" y="2492375"/>
            <a:ext cx="2160588" cy="0"/>
          </a:xfrm>
          <a:prstGeom prst="line">
            <a:avLst/>
          </a:prstGeom>
          <a:noFill/>
          <a:ln w="19050">
            <a:solidFill>
              <a:schemeClr val="tx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1838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198" name="Freeform 8"/>
          <p:cNvSpPr>
            <a:spLocks noChangeAspect="1" noEditPoints="1"/>
          </p:cNvSpPr>
          <p:nvPr/>
        </p:nvSpPr>
        <p:spPr bwMode="auto">
          <a:xfrm>
            <a:off x="10537825" y="2565436"/>
            <a:ext cx="312739" cy="504825"/>
          </a:xfrm>
          <a:custGeom>
            <a:avLst/>
            <a:gdLst>
              <a:gd name="T0" fmla="*/ 2147483647 w 255"/>
              <a:gd name="T1" fmla="*/ 2147483647 h 412"/>
              <a:gd name="T2" fmla="*/ 2147483647 w 255"/>
              <a:gd name="T3" fmla="*/ 2147483647 h 412"/>
              <a:gd name="T4" fmla="*/ 2147483647 w 255"/>
              <a:gd name="T5" fmla="*/ 2147483647 h 412"/>
              <a:gd name="T6" fmla="*/ 2147483647 w 255"/>
              <a:gd name="T7" fmla="*/ 2147483647 h 412"/>
              <a:gd name="T8" fmla="*/ 2147483647 w 255"/>
              <a:gd name="T9" fmla="*/ 2147483647 h 412"/>
              <a:gd name="T10" fmla="*/ 2147483647 w 255"/>
              <a:gd name="T11" fmla="*/ 2147483647 h 412"/>
              <a:gd name="T12" fmla="*/ 2147483647 w 255"/>
              <a:gd name="T13" fmla="*/ 2147483647 h 412"/>
              <a:gd name="T14" fmla="*/ 2147483647 w 255"/>
              <a:gd name="T15" fmla="*/ 2147483647 h 412"/>
              <a:gd name="T16" fmla="*/ 2147483647 w 255"/>
              <a:gd name="T17" fmla="*/ 2147483647 h 412"/>
              <a:gd name="T18" fmla="*/ 2147483647 w 255"/>
              <a:gd name="T19" fmla="*/ 2147483647 h 412"/>
              <a:gd name="T20" fmla="*/ 2147483647 w 255"/>
              <a:gd name="T21" fmla="*/ 2147483647 h 412"/>
              <a:gd name="T22" fmla="*/ 2147483647 w 255"/>
              <a:gd name="T23" fmla="*/ 2147483647 h 412"/>
              <a:gd name="T24" fmla="*/ 2147483647 w 255"/>
              <a:gd name="T25" fmla="*/ 2147483647 h 412"/>
              <a:gd name="T26" fmla="*/ 2147483647 w 255"/>
              <a:gd name="T27" fmla="*/ 2147483647 h 412"/>
              <a:gd name="T28" fmla="*/ 2147483647 w 255"/>
              <a:gd name="T29" fmla="*/ 2147483647 h 412"/>
              <a:gd name="T30" fmla="*/ 2147483647 w 255"/>
              <a:gd name="T31" fmla="*/ 2147483647 h 412"/>
              <a:gd name="T32" fmla="*/ 2147483647 w 255"/>
              <a:gd name="T33" fmla="*/ 2147483647 h 412"/>
              <a:gd name="T34" fmla="*/ 2147483647 w 255"/>
              <a:gd name="T35" fmla="*/ 2147483647 h 412"/>
              <a:gd name="T36" fmla="*/ 2147483647 w 255"/>
              <a:gd name="T37" fmla="*/ 2147483647 h 412"/>
              <a:gd name="T38" fmla="*/ 2147483647 w 255"/>
              <a:gd name="T39" fmla="*/ 2147483647 h 412"/>
              <a:gd name="T40" fmla="*/ 2147483647 w 255"/>
              <a:gd name="T41" fmla="*/ 2147483647 h 412"/>
              <a:gd name="T42" fmla="*/ 2147483647 w 255"/>
              <a:gd name="T43" fmla="*/ 2147483647 h 412"/>
              <a:gd name="T44" fmla="*/ 2147483647 w 255"/>
              <a:gd name="T45" fmla="*/ 2147483647 h 412"/>
              <a:gd name="T46" fmla="*/ 2147483647 w 255"/>
              <a:gd name="T47" fmla="*/ 2147483647 h 412"/>
              <a:gd name="T48" fmla="*/ 2147483647 w 255"/>
              <a:gd name="T49" fmla="*/ 2147483647 h 412"/>
              <a:gd name="T50" fmla="*/ 2147483647 w 255"/>
              <a:gd name="T51" fmla="*/ 2147483647 h 412"/>
              <a:gd name="T52" fmla="*/ 2147483647 w 255"/>
              <a:gd name="T53" fmla="*/ 2147483647 h 412"/>
              <a:gd name="T54" fmla="*/ 2147483647 w 255"/>
              <a:gd name="T55" fmla="*/ 2147483647 h 412"/>
              <a:gd name="T56" fmla="*/ 2147483647 w 255"/>
              <a:gd name="T57" fmla="*/ 2147483647 h 412"/>
              <a:gd name="T58" fmla="*/ 2147483647 w 255"/>
              <a:gd name="T59" fmla="*/ 2147483647 h 412"/>
              <a:gd name="T60" fmla="*/ 2147483647 w 255"/>
              <a:gd name="T61" fmla="*/ 2147483647 h 412"/>
              <a:gd name="T62" fmla="*/ 2147483647 w 255"/>
              <a:gd name="T63" fmla="*/ 2147483647 h 412"/>
              <a:gd name="T64" fmla="*/ 2147483647 w 255"/>
              <a:gd name="T65" fmla="*/ 2147483647 h 412"/>
              <a:gd name="T66" fmla="*/ 2147483647 w 255"/>
              <a:gd name="T67" fmla="*/ 2147483647 h 412"/>
              <a:gd name="T68" fmla="*/ 2147483647 w 255"/>
              <a:gd name="T69" fmla="*/ 2147483647 h 412"/>
              <a:gd name="T70" fmla="*/ 2147483647 w 255"/>
              <a:gd name="T71" fmla="*/ 2147483647 h 412"/>
              <a:gd name="T72" fmla="*/ 2147483647 w 255"/>
              <a:gd name="T73" fmla="*/ 2147483647 h 412"/>
              <a:gd name="T74" fmla="*/ 2147483647 w 255"/>
              <a:gd name="T75" fmla="*/ 2147483647 h 412"/>
              <a:gd name="T76" fmla="*/ 2147483647 w 255"/>
              <a:gd name="T77" fmla="*/ 2147483647 h 412"/>
              <a:gd name="T78" fmla="*/ 2147483647 w 255"/>
              <a:gd name="T79" fmla="*/ 2147483647 h 412"/>
              <a:gd name="T80" fmla="*/ 2147483647 w 255"/>
              <a:gd name="T81" fmla="*/ 2147483647 h 412"/>
              <a:gd name="T82" fmla="*/ 2147483647 w 255"/>
              <a:gd name="T83" fmla="*/ 2147483647 h 412"/>
              <a:gd name="T84" fmla="*/ 2147483647 w 255"/>
              <a:gd name="T85" fmla="*/ 2147483647 h 412"/>
              <a:gd name="T86" fmla="*/ 2147483647 w 255"/>
              <a:gd name="T87" fmla="*/ 2147483647 h 412"/>
              <a:gd name="T88" fmla="*/ 2147483647 w 255"/>
              <a:gd name="T89" fmla="*/ 2147483647 h 412"/>
              <a:gd name="T90" fmla="*/ 2147483647 w 255"/>
              <a:gd name="T91" fmla="*/ 2147483647 h 412"/>
              <a:gd name="T92" fmla="*/ 2147483647 w 255"/>
              <a:gd name="T93" fmla="*/ 2147483647 h 412"/>
              <a:gd name="T94" fmla="*/ 2147483647 w 255"/>
              <a:gd name="T95" fmla="*/ 2147483647 h 412"/>
              <a:gd name="T96" fmla="*/ 2147483647 w 255"/>
              <a:gd name="T97" fmla="*/ 2147483647 h 412"/>
              <a:gd name="T98" fmla="*/ 2147483647 w 255"/>
              <a:gd name="T99" fmla="*/ 2147483647 h 412"/>
              <a:gd name="T100" fmla="*/ 0 w 255"/>
              <a:gd name="T101" fmla="*/ 2147483647 h 412"/>
              <a:gd name="T102" fmla="*/ 2147483647 w 255"/>
              <a:gd name="T103" fmla="*/ 2147483647 h 412"/>
              <a:gd name="T104" fmla="*/ 2147483647 w 255"/>
              <a:gd name="T105" fmla="*/ 2147483647 h 412"/>
              <a:gd name="T106" fmla="*/ 2147483647 w 255"/>
              <a:gd name="T107" fmla="*/ 2147483647 h 412"/>
              <a:gd name="T108" fmla="*/ 2147483647 w 255"/>
              <a:gd name="T109" fmla="*/ 2147483647 h 412"/>
              <a:gd name="T110" fmla="*/ 2147483647 w 255"/>
              <a:gd name="T111" fmla="*/ 2147483647 h 41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55"/>
              <a:gd name="T169" fmla="*/ 0 h 412"/>
              <a:gd name="T170" fmla="*/ 255 w 255"/>
              <a:gd name="T171" fmla="*/ 412 h 412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55" h="412">
                <a:moveTo>
                  <a:pt x="169" y="344"/>
                </a:moveTo>
                <a:cubicBezTo>
                  <a:pt x="45" y="344"/>
                  <a:pt x="45" y="344"/>
                  <a:pt x="45" y="344"/>
                </a:cubicBezTo>
                <a:cubicBezTo>
                  <a:pt x="37" y="344"/>
                  <a:pt x="30" y="349"/>
                  <a:pt x="29" y="358"/>
                </a:cubicBezTo>
                <a:cubicBezTo>
                  <a:pt x="29" y="370"/>
                  <a:pt x="29" y="370"/>
                  <a:pt x="29" y="370"/>
                </a:cubicBezTo>
                <a:cubicBezTo>
                  <a:pt x="30" y="380"/>
                  <a:pt x="37" y="385"/>
                  <a:pt x="45" y="385"/>
                </a:cubicBezTo>
                <a:cubicBezTo>
                  <a:pt x="169" y="385"/>
                  <a:pt x="169" y="385"/>
                  <a:pt x="169" y="385"/>
                </a:cubicBezTo>
                <a:cubicBezTo>
                  <a:pt x="177" y="385"/>
                  <a:pt x="185" y="380"/>
                  <a:pt x="185" y="370"/>
                </a:cubicBezTo>
                <a:cubicBezTo>
                  <a:pt x="185" y="358"/>
                  <a:pt x="185" y="358"/>
                  <a:pt x="185" y="358"/>
                </a:cubicBezTo>
                <a:cubicBezTo>
                  <a:pt x="184" y="349"/>
                  <a:pt x="177" y="344"/>
                  <a:pt x="169" y="344"/>
                </a:cubicBezTo>
                <a:close/>
                <a:moveTo>
                  <a:pt x="169" y="369"/>
                </a:moveTo>
                <a:cubicBezTo>
                  <a:pt x="45" y="369"/>
                  <a:pt x="45" y="369"/>
                  <a:pt x="45" y="369"/>
                </a:cubicBezTo>
                <a:cubicBezTo>
                  <a:pt x="45" y="369"/>
                  <a:pt x="45" y="369"/>
                  <a:pt x="45" y="369"/>
                </a:cubicBezTo>
                <a:cubicBezTo>
                  <a:pt x="45" y="360"/>
                  <a:pt x="45" y="360"/>
                  <a:pt x="45" y="360"/>
                </a:cubicBezTo>
                <a:cubicBezTo>
                  <a:pt x="45" y="360"/>
                  <a:pt x="45" y="360"/>
                  <a:pt x="45" y="360"/>
                </a:cubicBezTo>
                <a:cubicBezTo>
                  <a:pt x="169" y="360"/>
                  <a:pt x="169" y="360"/>
                  <a:pt x="169" y="360"/>
                </a:cubicBezTo>
                <a:lnTo>
                  <a:pt x="169" y="369"/>
                </a:lnTo>
                <a:close/>
                <a:moveTo>
                  <a:pt x="185" y="306"/>
                </a:moveTo>
                <a:cubicBezTo>
                  <a:pt x="185" y="297"/>
                  <a:pt x="177" y="291"/>
                  <a:pt x="169" y="291"/>
                </a:cubicBezTo>
                <a:cubicBezTo>
                  <a:pt x="45" y="291"/>
                  <a:pt x="45" y="291"/>
                  <a:pt x="45" y="291"/>
                </a:cubicBezTo>
                <a:cubicBezTo>
                  <a:pt x="37" y="291"/>
                  <a:pt x="30" y="297"/>
                  <a:pt x="29" y="306"/>
                </a:cubicBezTo>
                <a:cubicBezTo>
                  <a:pt x="29" y="318"/>
                  <a:pt x="29" y="318"/>
                  <a:pt x="29" y="318"/>
                </a:cubicBezTo>
                <a:cubicBezTo>
                  <a:pt x="30" y="327"/>
                  <a:pt x="37" y="333"/>
                  <a:pt x="45" y="333"/>
                </a:cubicBezTo>
                <a:cubicBezTo>
                  <a:pt x="169" y="333"/>
                  <a:pt x="169" y="333"/>
                  <a:pt x="169" y="333"/>
                </a:cubicBezTo>
                <a:cubicBezTo>
                  <a:pt x="177" y="333"/>
                  <a:pt x="184" y="327"/>
                  <a:pt x="185" y="318"/>
                </a:cubicBezTo>
                <a:lnTo>
                  <a:pt x="185" y="306"/>
                </a:lnTo>
                <a:close/>
                <a:moveTo>
                  <a:pt x="169" y="317"/>
                </a:moveTo>
                <a:cubicBezTo>
                  <a:pt x="45" y="317"/>
                  <a:pt x="45" y="317"/>
                  <a:pt x="45" y="317"/>
                </a:cubicBezTo>
                <a:cubicBezTo>
                  <a:pt x="45" y="317"/>
                  <a:pt x="45" y="317"/>
                  <a:pt x="45" y="317"/>
                </a:cubicBezTo>
                <a:cubicBezTo>
                  <a:pt x="45" y="307"/>
                  <a:pt x="45" y="307"/>
                  <a:pt x="45" y="307"/>
                </a:cubicBezTo>
                <a:cubicBezTo>
                  <a:pt x="45" y="307"/>
                  <a:pt x="45" y="307"/>
                  <a:pt x="45" y="307"/>
                </a:cubicBezTo>
                <a:cubicBezTo>
                  <a:pt x="169" y="307"/>
                  <a:pt x="169" y="307"/>
                  <a:pt x="169" y="307"/>
                </a:cubicBezTo>
                <a:lnTo>
                  <a:pt x="169" y="317"/>
                </a:lnTo>
                <a:close/>
                <a:moveTo>
                  <a:pt x="185" y="253"/>
                </a:moveTo>
                <a:cubicBezTo>
                  <a:pt x="184" y="244"/>
                  <a:pt x="177" y="239"/>
                  <a:pt x="169" y="239"/>
                </a:cubicBezTo>
                <a:cubicBezTo>
                  <a:pt x="45" y="239"/>
                  <a:pt x="45" y="239"/>
                  <a:pt x="45" y="239"/>
                </a:cubicBezTo>
                <a:cubicBezTo>
                  <a:pt x="37" y="239"/>
                  <a:pt x="30" y="244"/>
                  <a:pt x="29" y="253"/>
                </a:cubicBezTo>
                <a:cubicBezTo>
                  <a:pt x="29" y="265"/>
                  <a:pt x="29" y="265"/>
                  <a:pt x="29" y="265"/>
                </a:cubicBezTo>
                <a:cubicBezTo>
                  <a:pt x="30" y="275"/>
                  <a:pt x="37" y="280"/>
                  <a:pt x="45" y="280"/>
                </a:cubicBezTo>
                <a:cubicBezTo>
                  <a:pt x="169" y="280"/>
                  <a:pt x="169" y="280"/>
                  <a:pt x="169" y="280"/>
                </a:cubicBezTo>
                <a:cubicBezTo>
                  <a:pt x="177" y="280"/>
                  <a:pt x="185" y="275"/>
                  <a:pt x="185" y="265"/>
                </a:cubicBezTo>
                <a:lnTo>
                  <a:pt x="185" y="253"/>
                </a:lnTo>
                <a:close/>
                <a:moveTo>
                  <a:pt x="169" y="264"/>
                </a:moveTo>
                <a:cubicBezTo>
                  <a:pt x="45" y="264"/>
                  <a:pt x="45" y="264"/>
                  <a:pt x="45" y="264"/>
                </a:cubicBezTo>
                <a:cubicBezTo>
                  <a:pt x="45" y="264"/>
                  <a:pt x="45" y="264"/>
                  <a:pt x="45" y="264"/>
                </a:cubicBezTo>
                <a:cubicBezTo>
                  <a:pt x="45" y="255"/>
                  <a:pt x="45" y="255"/>
                  <a:pt x="45" y="255"/>
                </a:cubicBezTo>
                <a:cubicBezTo>
                  <a:pt x="45" y="255"/>
                  <a:pt x="45" y="255"/>
                  <a:pt x="45" y="255"/>
                </a:cubicBezTo>
                <a:cubicBezTo>
                  <a:pt x="169" y="255"/>
                  <a:pt x="169" y="255"/>
                  <a:pt x="169" y="255"/>
                </a:cubicBezTo>
                <a:lnTo>
                  <a:pt x="169" y="264"/>
                </a:lnTo>
                <a:close/>
                <a:moveTo>
                  <a:pt x="185" y="201"/>
                </a:moveTo>
                <a:cubicBezTo>
                  <a:pt x="185" y="192"/>
                  <a:pt x="177" y="186"/>
                  <a:pt x="169" y="186"/>
                </a:cubicBezTo>
                <a:cubicBezTo>
                  <a:pt x="45" y="186"/>
                  <a:pt x="45" y="186"/>
                  <a:pt x="45" y="186"/>
                </a:cubicBezTo>
                <a:cubicBezTo>
                  <a:pt x="37" y="186"/>
                  <a:pt x="30" y="192"/>
                  <a:pt x="29" y="201"/>
                </a:cubicBezTo>
                <a:cubicBezTo>
                  <a:pt x="29" y="213"/>
                  <a:pt x="29" y="213"/>
                  <a:pt x="29" y="213"/>
                </a:cubicBezTo>
                <a:cubicBezTo>
                  <a:pt x="30" y="222"/>
                  <a:pt x="37" y="228"/>
                  <a:pt x="45" y="228"/>
                </a:cubicBezTo>
                <a:cubicBezTo>
                  <a:pt x="169" y="228"/>
                  <a:pt x="169" y="228"/>
                  <a:pt x="169" y="228"/>
                </a:cubicBezTo>
                <a:cubicBezTo>
                  <a:pt x="177" y="228"/>
                  <a:pt x="184" y="222"/>
                  <a:pt x="185" y="213"/>
                </a:cubicBezTo>
                <a:lnTo>
                  <a:pt x="185" y="201"/>
                </a:lnTo>
                <a:close/>
                <a:moveTo>
                  <a:pt x="169" y="212"/>
                </a:moveTo>
                <a:cubicBezTo>
                  <a:pt x="45" y="212"/>
                  <a:pt x="45" y="212"/>
                  <a:pt x="45" y="212"/>
                </a:cubicBezTo>
                <a:cubicBezTo>
                  <a:pt x="45" y="212"/>
                  <a:pt x="45" y="212"/>
                  <a:pt x="45" y="212"/>
                </a:cubicBezTo>
                <a:cubicBezTo>
                  <a:pt x="45" y="202"/>
                  <a:pt x="45" y="202"/>
                  <a:pt x="45" y="202"/>
                </a:cubicBezTo>
                <a:cubicBezTo>
                  <a:pt x="45" y="202"/>
                  <a:pt x="45" y="202"/>
                  <a:pt x="45" y="202"/>
                </a:cubicBezTo>
                <a:cubicBezTo>
                  <a:pt x="169" y="202"/>
                  <a:pt x="169" y="202"/>
                  <a:pt x="169" y="202"/>
                </a:cubicBezTo>
                <a:lnTo>
                  <a:pt x="169" y="212"/>
                </a:lnTo>
                <a:close/>
                <a:moveTo>
                  <a:pt x="185" y="148"/>
                </a:moveTo>
                <a:cubicBezTo>
                  <a:pt x="184" y="139"/>
                  <a:pt x="177" y="134"/>
                  <a:pt x="169" y="134"/>
                </a:cubicBezTo>
                <a:cubicBezTo>
                  <a:pt x="45" y="134"/>
                  <a:pt x="45" y="134"/>
                  <a:pt x="45" y="134"/>
                </a:cubicBezTo>
                <a:cubicBezTo>
                  <a:pt x="37" y="134"/>
                  <a:pt x="30" y="139"/>
                  <a:pt x="29" y="148"/>
                </a:cubicBezTo>
                <a:cubicBezTo>
                  <a:pt x="29" y="161"/>
                  <a:pt x="29" y="161"/>
                  <a:pt x="29" y="161"/>
                </a:cubicBezTo>
                <a:cubicBezTo>
                  <a:pt x="30" y="170"/>
                  <a:pt x="37" y="175"/>
                  <a:pt x="45" y="175"/>
                </a:cubicBezTo>
                <a:cubicBezTo>
                  <a:pt x="169" y="175"/>
                  <a:pt x="169" y="175"/>
                  <a:pt x="169" y="175"/>
                </a:cubicBezTo>
                <a:cubicBezTo>
                  <a:pt x="177" y="175"/>
                  <a:pt x="185" y="170"/>
                  <a:pt x="185" y="161"/>
                </a:cubicBezTo>
                <a:lnTo>
                  <a:pt x="185" y="148"/>
                </a:lnTo>
                <a:close/>
                <a:moveTo>
                  <a:pt x="169" y="159"/>
                </a:moveTo>
                <a:cubicBezTo>
                  <a:pt x="45" y="159"/>
                  <a:pt x="45" y="159"/>
                  <a:pt x="45" y="159"/>
                </a:cubicBezTo>
                <a:cubicBezTo>
                  <a:pt x="45" y="159"/>
                  <a:pt x="45" y="159"/>
                  <a:pt x="45" y="159"/>
                </a:cubicBezTo>
                <a:cubicBezTo>
                  <a:pt x="45" y="150"/>
                  <a:pt x="45" y="150"/>
                  <a:pt x="45" y="150"/>
                </a:cubicBezTo>
                <a:cubicBezTo>
                  <a:pt x="45" y="150"/>
                  <a:pt x="45" y="150"/>
                  <a:pt x="45" y="150"/>
                </a:cubicBezTo>
                <a:cubicBezTo>
                  <a:pt x="169" y="150"/>
                  <a:pt x="169" y="150"/>
                  <a:pt x="169" y="150"/>
                </a:cubicBezTo>
                <a:lnTo>
                  <a:pt x="169" y="159"/>
                </a:lnTo>
                <a:close/>
                <a:moveTo>
                  <a:pt x="185" y="96"/>
                </a:moveTo>
                <a:cubicBezTo>
                  <a:pt x="185" y="87"/>
                  <a:pt x="177" y="81"/>
                  <a:pt x="169" y="81"/>
                </a:cubicBezTo>
                <a:cubicBezTo>
                  <a:pt x="45" y="81"/>
                  <a:pt x="45" y="81"/>
                  <a:pt x="45" y="81"/>
                </a:cubicBezTo>
                <a:cubicBezTo>
                  <a:pt x="37" y="81"/>
                  <a:pt x="30" y="87"/>
                  <a:pt x="29" y="96"/>
                </a:cubicBezTo>
                <a:cubicBezTo>
                  <a:pt x="29" y="108"/>
                  <a:pt x="29" y="108"/>
                  <a:pt x="29" y="108"/>
                </a:cubicBezTo>
                <a:cubicBezTo>
                  <a:pt x="30" y="117"/>
                  <a:pt x="37" y="123"/>
                  <a:pt x="45" y="123"/>
                </a:cubicBezTo>
                <a:cubicBezTo>
                  <a:pt x="169" y="123"/>
                  <a:pt x="169" y="123"/>
                  <a:pt x="169" y="123"/>
                </a:cubicBezTo>
                <a:cubicBezTo>
                  <a:pt x="177" y="123"/>
                  <a:pt x="184" y="117"/>
                  <a:pt x="185" y="108"/>
                </a:cubicBezTo>
                <a:lnTo>
                  <a:pt x="185" y="96"/>
                </a:lnTo>
                <a:close/>
                <a:moveTo>
                  <a:pt x="169" y="107"/>
                </a:moveTo>
                <a:cubicBezTo>
                  <a:pt x="45" y="107"/>
                  <a:pt x="45" y="107"/>
                  <a:pt x="45" y="107"/>
                </a:cubicBezTo>
                <a:cubicBezTo>
                  <a:pt x="45" y="107"/>
                  <a:pt x="45" y="107"/>
                  <a:pt x="45" y="107"/>
                </a:cubicBezTo>
                <a:cubicBezTo>
                  <a:pt x="45" y="97"/>
                  <a:pt x="45" y="97"/>
                  <a:pt x="45" y="97"/>
                </a:cubicBezTo>
                <a:cubicBezTo>
                  <a:pt x="45" y="97"/>
                  <a:pt x="45" y="97"/>
                  <a:pt x="45" y="97"/>
                </a:cubicBezTo>
                <a:cubicBezTo>
                  <a:pt x="169" y="97"/>
                  <a:pt x="169" y="97"/>
                  <a:pt x="169" y="97"/>
                </a:cubicBezTo>
                <a:lnTo>
                  <a:pt x="169" y="107"/>
                </a:lnTo>
                <a:close/>
                <a:moveTo>
                  <a:pt x="185" y="44"/>
                </a:moveTo>
                <a:cubicBezTo>
                  <a:pt x="184" y="34"/>
                  <a:pt x="177" y="29"/>
                  <a:pt x="169" y="29"/>
                </a:cubicBezTo>
                <a:cubicBezTo>
                  <a:pt x="45" y="29"/>
                  <a:pt x="45" y="29"/>
                  <a:pt x="45" y="29"/>
                </a:cubicBezTo>
                <a:cubicBezTo>
                  <a:pt x="37" y="29"/>
                  <a:pt x="30" y="34"/>
                  <a:pt x="29" y="44"/>
                </a:cubicBezTo>
                <a:cubicBezTo>
                  <a:pt x="29" y="56"/>
                  <a:pt x="29" y="56"/>
                  <a:pt x="29" y="56"/>
                </a:cubicBezTo>
                <a:cubicBezTo>
                  <a:pt x="30" y="65"/>
                  <a:pt x="37" y="70"/>
                  <a:pt x="45" y="70"/>
                </a:cubicBezTo>
                <a:cubicBezTo>
                  <a:pt x="169" y="70"/>
                  <a:pt x="169" y="70"/>
                  <a:pt x="169" y="70"/>
                </a:cubicBezTo>
                <a:cubicBezTo>
                  <a:pt x="177" y="70"/>
                  <a:pt x="185" y="65"/>
                  <a:pt x="185" y="56"/>
                </a:cubicBezTo>
                <a:lnTo>
                  <a:pt x="185" y="44"/>
                </a:lnTo>
                <a:close/>
                <a:moveTo>
                  <a:pt x="169" y="54"/>
                </a:moveTo>
                <a:cubicBezTo>
                  <a:pt x="45" y="54"/>
                  <a:pt x="45" y="54"/>
                  <a:pt x="45" y="54"/>
                </a:cubicBezTo>
                <a:cubicBezTo>
                  <a:pt x="45" y="54"/>
                  <a:pt x="45" y="54"/>
                  <a:pt x="45" y="54"/>
                </a:cubicBezTo>
                <a:cubicBezTo>
                  <a:pt x="45" y="45"/>
                  <a:pt x="45" y="45"/>
                  <a:pt x="45" y="45"/>
                </a:cubicBezTo>
                <a:cubicBezTo>
                  <a:pt x="45" y="45"/>
                  <a:pt x="45" y="45"/>
                  <a:pt x="45" y="45"/>
                </a:cubicBezTo>
                <a:cubicBezTo>
                  <a:pt x="169" y="45"/>
                  <a:pt x="169" y="45"/>
                  <a:pt x="169" y="45"/>
                </a:cubicBezTo>
                <a:lnTo>
                  <a:pt x="169" y="54"/>
                </a:lnTo>
                <a:close/>
                <a:moveTo>
                  <a:pt x="212" y="88"/>
                </a:moveTo>
                <a:cubicBezTo>
                  <a:pt x="204" y="88"/>
                  <a:pt x="198" y="94"/>
                  <a:pt x="198" y="102"/>
                </a:cubicBezTo>
                <a:cubicBezTo>
                  <a:pt x="198" y="110"/>
                  <a:pt x="204" y="116"/>
                  <a:pt x="212" y="116"/>
                </a:cubicBezTo>
                <a:cubicBezTo>
                  <a:pt x="220" y="116"/>
                  <a:pt x="226" y="110"/>
                  <a:pt x="226" y="102"/>
                </a:cubicBezTo>
                <a:cubicBezTo>
                  <a:pt x="226" y="94"/>
                  <a:pt x="220" y="88"/>
                  <a:pt x="212" y="88"/>
                </a:cubicBezTo>
                <a:close/>
                <a:moveTo>
                  <a:pt x="212" y="35"/>
                </a:moveTo>
                <a:cubicBezTo>
                  <a:pt x="204" y="35"/>
                  <a:pt x="198" y="42"/>
                  <a:pt x="198" y="50"/>
                </a:cubicBezTo>
                <a:cubicBezTo>
                  <a:pt x="198" y="57"/>
                  <a:pt x="204" y="64"/>
                  <a:pt x="212" y="64"/>
                </a:cubicBezTo>
                <a:cubicBezTo>
                  <a:pt x="220" y="64"/>
                  <a:pt x="226" y="57"/>
                  <a:pt x="226" y="50"/>
                </a:cubicBezTo>
                <a:cubicBezTo>
                  <a:pt x="226" y="42"/>
                  <a:pt x="220" y="35"/>
                  <a:pt x="212" y="35"/>
                </a:cubicBezTo>
                <a:close/>
                <a:moveTo>
                  <a:pt x="212" y="140"/>
                </a:moveTo>
                <a:cubicBezTo>
                  <a:pt x="204" y="140"/>
                  <a:pt x="198" y="147"/>
                  <a:pt x="198" y="155"/>
                </a:cubicBezTo>
                <a:cubicBezTo>
                  <a:pt x="198" y="162"/>
                  <a:pt x="204" y="169"/>
                  <a:pt x="212" y="169"/>
                </a:cubicBezTo>
                <a:cubicBezTo>
                  <a:pt x="220" y="169"/>
                  <a:pt x="226" y="162"/>
                  <a:pt x="226" y="155"/>
                </a:cubicBezTo>
                <a:cubicBezTo>
                  <a:pt x="226" y="147"/>
                  <a:pt x="220" y="140"/>
                  <a:pt x="212" y="140"/>
                </a:cubicBezTo>
                <a:close/>
                <a:moveTo>
                  <a:pt x="212" y="193"/>
                </a:moveTo>
                <a:cubicBezTo>
                  <a:pt x="204" y="193"/>
                  <a:pt x="198" y="199"/>
                  <a:pt x="198" y="207"/>
                </a:cubicBezTo>
                <a:cubicBezTo>
                  <a:pt x="198" y="215"/>
                  <a:pt x="204" y="221"/>
                  <a:pt x="212" y="221"/>
                </a:cubicBezTo>
                <a:cubicBezTo>
                  <a:pt x="220" y="221"/>
                  <a:pt x="226" y="215"/>
                  <a:pt x="226" y="207"/>
                </a:cubicBezTo>
                <a:cubicBezTo>
                  <a:pt x="226" y="199"/>
                  <a:pt x="220" y="193"/>
                  <a:pt x="212" y="193"/>
                </a:cubicBezTo>
                <a:close/>
                <a:moveTo>
                  <a:pt x="212" y="245"/>
                </a:moveTo>
                <a:cubicBezTo>
                  <a:pt x="204" y="245"/>
                  <a:pt x="198" y="252"/>
                  <a:pt x="198" y="259"/>
                </a:cubicBezTo>
                <a:cubicBezTo>
                  <a:pt x="198" y="267"/>
                  <a:pt x="204" y="274"/>
                  <a:pt x="212" y="274"/>
                </a:cubicBezTo>
                <a:cubicBezTo>
                  <a:pt x="220" y="274"/>
                  <a:pt x="226" y="267"/>
                  <a:pt x="226" y="259"/>
                </a:cubicBezTo>
                <a:cubicBezTo>
                  <a:pt x="226" y="252"/>
                  <a:pt x="220" y="245"/>
                  <a:pt x="212" y="245"/>
                </a:cubicBezTo>
                <a:close/>
                <a:moveTo>
                  <a:pt x="212" y="298"/>
                </a:moveTo>
                <a:cubicBezTo>
                  <a:pt x="204" y="298"/>
                  <a:pt x="198" y="304"/>
                  <a:pt x="198" y="312"/>
                </a:cubicBezTo>
                <a:cubicBezTo>
                  <a:pt x="198" y="320"/>
                  <a:pt x="204" y="326"/>
                  <a:pt x="212" y="326"/>
                </a:cubicBezTo>
                <a:cubicBezTo>
                  <a:pt x="220" y="326"/>
                  <a:pt x="226" y="320"/>
                  <a:pt x="226" y="312"/>
                </a:cubicBezTo>
                <a:cubicBezTo>
                  <a:pt x="226" y="304"/>
                  <a:pt x="220" y="298"/>
                  <a:pt x="212" y="298"/>
                </a:cubicBezTo>
                <a:close/>
                <a:moveTo>
                  <a:pt x="212" y="350"/>
                </a:moveTo>
                <a:cubicBezTo>
                  <a:pt x="204" y="350"/>
                  <a:pt x="198" y="356"/>
                  <a:pt x="198" y="364"/>
                </a:cubicBezTo>
                <a:cubicBezTo>
                  <a:pt x="198" y="372"/>
                  <a:pt x="204" y="379"/>
                  <a:pt x="212" y="379"/>
                </a:cubicBezTo>
                <a:cubicBezTo>
                  <a:pt x="220" y="379"/>
                  <a:pt x="226" y="372"/>
                  <a:pt x="226" y="364"/>
                </a:cubicBezTo>
                <a:cubicBezTo>
                  <a:pt x="226" y="356"/>
                  <a:pt x="220" y="350"/>
                  <a:pt x="212" y="350"/>
                </a:cubicBezTo>
                <a:close/>
                <a:moveTo>
                  <a:pt x="247" y="44"/>
                </a:moveTo>
                <a:cubicBezTo>
                  <a:pt x="251" y="44"/>
                  <a:pt x="255" y="41"/>
                  <a:pt x="255" y="36"/>
                </a:cubicBezTo>
                <a:cubicBezTo>
                  <a:pt x="255" y="16"/>
                  <a:pt x="255" y="16"/>
                  <a:pt x="255" y="16"/>
                </a:cubicBezTo>
                <a:cubicBezTo>
                  <a:pt x="255" y="7"/>
                  <a:pt x="248" y="0"/>
                  <a:pt x="23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7" y="0"/>
                  <a:pt x="0" y="7"/>
                  <a:pt x="0" y="16"/>
                </a:cubicBezTo>
                <a:cubicBezTo>
                  <a:pt x="0" y="396"/>
                  <a:pt x="0" y="396"/>
                  <a:pt x="0" y="396"/>
                </a:cubicBezTo>
                <a:cubicBezTo>
                  <a:pt x="0" y="405"/>
                  <a:pt x="7" y="412"/>
                  <a:pt x="16" y="412"/>
                </a:cubicBezTo>
                <a:cubicBezTo>
                  <a:pt x="239" y="412"/>
                  <a:pt x="239" y="412"/>
                  <a:pt x="239" y="412"/>
                </a:cubicBezTo>
                <a:cubicBezTo>
                  <a:pt x="248" y="412"/>
                  <a:pt x="255" y="405"/>
                  <a:pt x="255" y="396"/>
                </a:cubicBezTo>
                <a:cubicBezTo>
                  <a:pt x="255" y="60"/>
                  <a:pt x="255" y="60"/>
                  <a:pt x="255" y="60"/>
                </a:cubicBezTo>
                <a:cubicBezTo>
                  <a:pt x="255" y="56"/>
                  <a:pt x="251" y="52"/>
                  <a:pt x="247" y="52"/>
                </a:cubicBezTo>
                <a:cubicBezTo>
                  <a:pt x="242" y="52"/>
                  <a:pt x="239" y="56"/>
                  <a:pt x="239" y="60"/>
                </a:cubicBezTo>
                <a:cubicBezTo>
                  <a:pt x="239" y="396"/>
                  <a:pt x="239" y="396"/>
                  <a:pt x="239" y="396"/>
                </a:cubicBezTo>
                <a:cubicBezTo>
                  <a:pt x="16" y="396"/>
                  <a:pt x="16" y="396"/>
                  <a:pt x="16" y="396"/>
                </a:cubicBezTo>
                <a:cubicBezTo>
                  <a:pt x="16" y="396"/>
                  <a:pt x="16" y="396"/>
                  <a:pt x="16" y="396"/>
                </a:cubicBezTo>
                <a:cubicBezTo>
                  <a:pt x="16" y="16"/>
                  <a:pt x="16" y="16"/>
                  <a:pt x="16" y="16"/>
                </a:cubicBezTo>
                <a:cubicBezTo>
                  <a:pt x="16" y="16"/>
                  <a:pt x="16" y="16"/>
                  <a:pt x="16" y="16"/>
                </a:cubicBezTo>
                <a:cubicBezTo>
                  <a:pt x="239" y="16"/>
                  <a:pt x="239" y="16"/>
                  <a:pt x="239" y="16"/>
                </a:cubicBezTo>
                <a:cubicBezTo>
                  <a:pt x="239" y="36"/>
                  <a:pt x="239" y="36"/>
                  <a:pt x="239" y="36"/>
                </a:cubicBezTo>
                <a:cubicBezTo>
                  <a:pt x="239" y="41"/>
                  <a:pt x="242" y="44"/>
                  <a:pt x="247" y="44"/>
                </a:cubicBezTo>
                <a:close/>
              </a:path>
            </a:pathLst>
          </a:custGeom>
          <a:solidFill>
            <a:srgbClr val="5858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199" name="AutoShape 109"/>
          <p:cNvSpPr>
            <a:spLocks noChangeArrowheads="1"/>
          </p:cNvSpPr>
          <p:nvPr/>
        </p:nvSpPr>
        <p:spPr bwMode="auto">
          <a:xfrm>
            <a:off x="5232403" y="3860804"/>
            <a:ext cx="215900" cy="504825"/>
          </a:xfrm>
          <a:prstGeom prst="roundRect">
            <a:avLst>
              <a:gd name="adj" fmla="val 16667"/>
            </a:avLst>
          </a:prstGeom>
          <a:solidFill>
            <a:srgbClr val="FFF1D6"/>
          </a:solidFill>
          <a:ln w="9525" algn="ctr">
            <a:solidFill>
              <a:srgbClr val="FABB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6700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200" name="Text Box 110"/>
          <p:cNvSpPr txBox="1">
            <a:spLocks noChangeArrowheads="1"/>
          </p:cNvSpPr>
          <p:nvPr/>
        </p:nvSpPr>
        <p:spPr bwMode="auto">
          <a:xfrm rot="-5400000">
            <a:off x="5073651" y="4020086"/>
            <a:ext cx="50641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28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1838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1200">
                <a:solidFill>
                  <a:srgbClr val="00285F"/>
                </a:solidFill>
              </a:rPr>
              <a:t>Appl.1</a:t>
            </a:r>
          </a:p>
        </p:txBody>
      </p:sp>
      <p:sp>
        <p:nvSpPr>
          <p:cNvPr id="6201" name="AutoShape 111"/>
          <p:cNvSpPr>
            <a:spLocks noChangeArrowheads="1"/>
          </p:cNvSpPr>
          <p:nvPr/>
        </p:nvSpPr>
        <p:spPr bwMode="auto">
          <a:xfrm>
            <a:off x="5305427" y="1916120"/>
            <a:ext cx="215900" cy="504825"/>
          </a:xfrm>
          <a:prstGeom prst="roundRect">
            <a:avLst>
              <a:gd name="adj" fmla="val 16667"/>
            </a:avLst>
          </a:prstGeom>
          <a:solidFill>
            <a:srgbClr val="C3C5D9"/>
          </a:solidFill>
          <a:ln w="9525" algn="ctr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1838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202" name="Text Box 112"/>
          <p:cNvSpPr txBox="1">
            <a:spLocks noChangeArrowheads="1"/>
          </p:cNvSpPr>
          <p:nvPr/>
        </p:nvSpPr>
        <p:spPr bwMode="auto">
          <a:xfrm rot="-5400000">
            <a:off x="5161757" y="2058425"/>
            <a:ext cx="5000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28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1838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1400">
                <a:solidFill>
                  <a:srgbClr val="00285F"/>
                </a:solidFill>
              </a:rPr>
              <a:t>OSS</a:t>
            </a:r>
          </a:p>
        </p:txBody>
      </p:sp>
      <p:sp>
        <p:nvSpPr>
          <p:cNvPr id="6203" name="AutoShape 113"/>
          <p:cNvSpPr>
            <a:spLocks noChangeArrowheads="1"/>
          </p:cNvSpPr>
          <p:nvPr/>
        </p:nvSpPr>
        <p:spPr bwMode="auto">
          <a:xfrm>
            <a:off x="5592763" y="1916120"/>
            <a:ext cx="215900" cy="504825"/>
          </a:xfrm>
          <a:prstGeom prst="roundRect">
            <a:avLst>
              <a:gd name="adj" fmla="val 16667"/>
            </a:avLst>
          </a:prstGeom>
          <a:solidFill>
            <a:srgbClr val="FBDBCA"/>
          </a:solidFill>
          <a:ln w="9525" algn="ctr">
            <a:solidFill>
              <a:srgbClr val="E3211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88140F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204" name="Text Box 114"/>
          <p:cNvSpPr txBox="1">
            <a:spLocks noChangeArrowheads="1"/>
          </p:cNvSpPr>
          <p:nvPr/>
        </p:nvSpPr>
        <p:spPr bwMode="auto">
          <a:xfrm rot="-5400000">
            <a:off x="5449096" y="2058425"/>
            <a:ext cx="5000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28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1838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1400">
                <a:solidFill>
                  <a:srgbClr val="E32119"/>
                </a:solidFill>
              </a:rPr>
              <a:t>BSS</a:t>
            </a:r>
          </a:p>
        </p:txBody>
      </p:sp>
      <p:sp>
        <p:nvSpPr>
          <p:cNvPr id="6205" name="AutoShape 115"/>
          <p:cNvSpPr>
            <a:spLocks noChangeArrowheads="1"/>
          </p:cNvSpPr>
          <p:nvPr/>
        </p:nvSpPr>
        <p:spPr bwMode="auto">
          <a:xfrm>
            <a:off x="5881691" y="1916120"/>
            <a:ext cx="215900" cy="504825"/>
          </a:xfrm>
          <a:prstGeom prst="roundRect">
            <a:avLst>
              <a:gd name="adj" fmla="val 16667"/>
            </a:avLst>
          </a:prstGeom>
          <a:solidFill>
            <a:srgbClr val="EBF2D9"/>
          </a:solidFill>
          <a:ln w="9525" algn="ctr">
            <a:solidFill>
              <a:srgbClr val="89BA17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52700E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206" name="Text Box 116"/>
          <p:cNvSpPr txBox="1">
            <a:spLocks noChangeArrowheads="1"/>
          </p:cNvSpPr>
          <p:nvPr/>
        </p:nvSpPr>
        <p:spPr bwMode="auto">
          <a:xfrm rot="-5400000">
            <a:off x="5738020" y="2058425"/>
            <a:ext cx="5000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28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1838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1400">
                <a:solidFill>
                  <a:srgbClr val="89BA17"/>
                </a:solidFill>
              </a:rPr>
              <a:t>IT…</a:t>
            </a:r>
          </a:p>
        </p:txBody>
      </p:sp>
      <p:sp>
        <p:nvSpPr>
          <p:cNvPr id="6207" name="AutoShape 117"/>
          <p:cNvSpPr>
            <a:spLocks noChangeArrowheads="1"/>
          </p:cNvSpPr>
          <p:nvPr/>
        </p:nvSpPr>
        <p:spPr bwMode="auto">
          <a:xfrm>
            <a:off x="5521327" y="3860804"/>
            <a:ext cx="215900" cy="504825"/>
          </a:xfrm>
          <a:prstGeom prst="roundRect">
            <a:avLst>
              <a:gd name="adj" fmla="val 16667"/>
            </a:avLst>
          </a:prstGeom>
          <a:solidFill>
            <a:srgbClr val="DEEEF7"/>
          </a:solidFill>
          <a:ln w="9525" algn="ctr">
            <a:solidFill>
              <a:srgbClr val="00A9D4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657F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208" name="AutoShape 118"/>
          <p:cNvSpPr>
            <a:spLocks noChangeArrowheads="1"/>
          </p:cNvSpPr>
          <p:nvPr/>
        </p:nvSpPr>
        <p:spPr bwMode="auto">
          <a:xfrm>
            <a:off x="6240463" y="3860804"/>
            <a:ext cx="215900" cy="504825"/>
          </a:xfrm>
          <a:prstGeom prst="roundRect">
            <a:avLst>
              <a:gd name="adj" fmla="val 16667"/>
            </a:avLst>
          </a:prstGeom>
          <a:solidFill>
            <a:srgbClr val="C8DBD9"/>
          </a:solidFill>
          <a:ln w="9525" algn="ctr">
            <a:solidFill>
              <a:srgbClr val="00625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3B39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209" name="Text Box 119"/>
          <p:cNvSpPr txBox="1">
            <a:spLocks noChangeArrowheads="1"/>
          </p:cNvSpPr>
          <p:nvPr/>
        </p:nvSpPr>
        <p:spPr bwMode="auto">
          <a:xfrm rot="-5400000">
            <a:off x="5362576" y="4004211"/>
            <a:ext cx="50006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28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1838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1200">
                <a:solidFill>
                  <a:srgbClr val="00285F"/>
                </a:solidFill>
              </a:rPr>
              <a:t>Appl.2</a:t>
            </a:r>
          </a:p>
        </p:txBody>
      </p:sp>
      <p:sp>
        <p:nvSpPr>
          <p:cNvPr id="6210" name="Text Box 120"/>
          <p:cNvSpPr txBox="1">
            <a:spLocks noChangeArrowheads="1"/>
          </p:cNvSpPr>
          <p:nvPr/>
        </p:nvSpPr>
        <p:spPr bwMode="auto">
          <a:xfrm rot="-5400000">
            <a:off x="6081720" y="4018499"/>
            <a:ext cx="50006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28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1838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1200">
                <a:solidFill>
                  <a:srgbClr val="00285F"/>
                </a:solidFill>
              </a:rPr>
              <a:t>Appl.3</a:t>
            </a:r>
          </a:p>
        </p:txBody>
      </p:sp>
      <p:sp>
        <p:nvSpPr>
          <p:cNvPr id="6211" name="AutoShape 121"/>
          <p:cNvSpPr>
            <a:spLocks noChangeArrowheads="1"/>
          </p:cNvSpPr>
          <p:nvPr/>
        </p:nvSpPr>
        <p:spPr bwMode="auto">
          <a:xfrm>
            <a:off x="9482139" y="1916120"/>
            <a:ext cx="215900" cy="504825"/>
          </a:xfrm>
          <a:prstGeom prst="roundRect">
            <a:avLst>
              <a:gd name="adj" fmla="val 16667"/>
            </a:avLst>
          </a:prstGeom>
          <a:solidFill>
            <a:srgbClr val="C3C5D9"/>
          </a:solidFill>
          <a:ln w="9525" algn="ctr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1838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212" name="Text Box 122"/>
          <p:cNvSpPr txBox="1">
            <a:spLocks noChangeArrowheads="1"/>
          </p:cNvSpPr>
          <p:nvPr/>
        </p:nvSpPr>
        <p:spPr bwMode="auto">
          <a:xfrm rot="-5400000">
            <a:off x="9338470" y="2058425"/>
            <a:ext cx="5000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28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1838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1400">
                <a:solidFill>
                  <a:srgbClr val="00285F"/>
                </a:solidFill>
              </a:rPr>
              <a:t>OSS</a:t>
            </a:r>
          </a:p>
        </p:txBody>
      </p:sp>
      <p:sp>
        <p:nvSpPr>
          <p:cNvPr id="6213" name="AutoShape 123"/>
          <p:cNvSpPr>
            <a:spLocks noChangeArrowheads="1"/>
          </p:cNvSpPr>
          <p:nvPr/>
        </p:nvSpPr>
        <p:spPr bwMode="auto">
          <a:xfrm>
            <a:off x="9769475" y="1916120"/>
            <a:ext cx="215900" cy="504825"/>
          </a:xfrm>
          <a:prstGeom prst="roundRect">
            <a:avLst>
              <a:gd name="adj" fmla="val 16667"/>
            </a:avLst>
          </a:prstGeom>
          <a:solidFill>
            <a:srgbClr val="FBDBCA"/>
          </a:solidFill>
          <a:ln w="9525" algn="ctr">
            <a:solidFill>
              <a:srgbClr val="E3211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88140F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214" name="Text Box 124"/>
          <p:cNvSpPr txBox="1">
            <a:spLocks noChangeArrowheads="1"/>
          </p:cNvSpPr>
          <p:nvPr/>
        </p:nvSpPr>
        <p:spPr bwMode="auto">
          <a:xfrm rot="-5400000">
            <a:off x="9625808" y="2058425"/>
            <a:ext cx="5000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28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1838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1400">
                <a:solidFill>
                  <a:srgbClr val="E32119"/>
                </a:solidFill>
              </a:rPr>
              <a:t>BSS</a:t>
            </a:r>
          </a:p>
        </p:txBody>
      </p:sp>
      <p:sp>
        <p:nvSpPr>
          <p:cNvPr id="6215" name="AutoShape 125"/>
          <p:cNvSpPr>
            <a:spLocks noChangeArrowheads="1"/>
          </p:cNvSpPr>
          <p:nvPr/>
        </p:nvSpPr>
        <p:spPr bwMode="auto">
          <a:xfrm>
            <a:off x="10058403" y="1916120"/>
            <a:ext cx="215900" cy="504825"/>
          </a:xfrm>
          <a:prstGeom prst="roundRect">
            <a:avLst>
              <a:gd name="adj" fmla="val 16667"/>
            </a:avLst>
          </a:prstGeom>
          <a:solidFill>
            <a:srgbClr val="EBF2D9"/>
          </a:solidFill>
          <a:ln w="9525" algn="ctr">
            <a:solidFill>
              <a:srgbClr val="89BA17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52700E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216" name="Text Box 126"/>
          <p:cNvSpPr txBox="1">
            <a:spLocks noChangeArrowheads="1"/>
          </p:cNvSpPr>
          <p:nvPr/>
        </p:nvSpPr>
        <p:spPr bwMode="auto">
          <a:xfrm rot="-5400000">
            <a:off x="9914732" y="2058425"/>
            <a:ext cx="5000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28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1838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1400">
                <a:solidFill>
                  <a:srgbClr val="89BA17"/>
                </a:solidFill>
              </a:rPr>
              <a:t>IT…</a:t>
            </a:r>
          </a:p>
        </p:txBody>
      </p:sp>
      <p:sp>
        <p:nvSpPr>
          <p:cNvPr id="6217" name="AutoShape 127"/>
          <p:cNvSpPr>
            <a:spLocks noChangeArrowheads="1"/>
          </p:cNvSpPr>
          <p:nvPr/>
        </p:nvSpPr>
        <p:spPr bwMode="auto">
          <a:xfrm>
            <a:off x="10345739" y="1930407"/>
            <a:ext cx="215900" cy="504825"/>
          </a:xfrm>
          <a:prstGeom prst="roundRect">
            <a:avLst>
              <a:gd name="adj" fmla="val 16667"/>
            </a:avLst>
          </a:prstGeom>
          <a:solidFill>
            <a:srgbClr val="FFF1D6"/>
          </a:solidFill>
          <a:ln w="9525" algn="ctr">
            <a:solidFill>
              <a:srgbClr val="FABB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6700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218" name="Text Box 128"/>
          <p:cNvSpPr txBox="1">
            <a:spLocks noChangeArrowheads="1"/>
          </p:cNvSpPr>
          <p:nvPr/>
        </p:nvSpPr>
        <p:spPr bwMode="auto">
          <a:xfrm rot="-5400000">
            <a:off x="10186989" y="2089686"/>
            <a:ext cx="50641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28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1838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1200">
                <a:solidFill>
                  <a:srgbClr val="00285F"/>
                </a:solidFill>
              </a:rPr>
              <a:t>Appl.1</a:t>
            </a:r>
          </a:p>
        </p:txBody>
      </p:sp>
      <p:sp>
        <p:nvSpPr>
          <p:cNvPr id="6219" name="AutoShape 129"/>
          <p:cNvSpPr>
            <a:spLocks noChangeArrowheads="1"/>
          </p:cNvSpPr>
          <p:nvPr/>
        </p:nvSpPr>
        <p:spPr bwMode="auto">
          <a:xfrm>
            <a:off x="10634663" y="1930407"/>
            <a:ext cx="215900" cy="504825"/>
          </a:xfrm>
          <a:prstGeom prst="roundRect">
            <a:avLst>
              <a:gd name="adj" fmla="val 16667"/>
            </a:avLst>
          </a:prstGeom>
          <a:solidFill>
            <a:srgbClr val="DEEEF7"/>
          </a:solidFill>
          <a:ln w="9525" algn="ctr">
            <a:solidFill>
              <a:srgbClr val="00A9D4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657F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220" name="Text Box 130"/>
          <p:cNvSpPr txBox="1">
            <a:spLocks noChangeArrowheads="1"/>
          </p:cNvSpPr>
          <p:nvPr/>
        </p:nvSpPr>
        <p:spPr bwMode="auto">
          <a:xfrm rot="-5400000">
            <a:off x="10475913" y="2073811"/>
            <a:ext cx="50006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28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1838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1200">
                <a:solidFill>
                  <a:srgbClr val="00285F"/>
                </a:solidFill>
              </a:rPr>
              <a:t>Appl.2</a:t>
            </a:r>
          </a:p>
        </p:txBody>
      </p:sp>
      <p:sp>
        <p:nvSpPr>
          <p:cNvPr id="6221" name="Freeform 8"/>
          <p:cNvSpPr>
            <a:spLocks noChangeAspect="1" noEditPoints="1"/>
          </p:cNvSpPr>
          <p:nvPr/>
        </p:nvSpPr>
        <p:spPr bwMode="auto">
          <a:xfrm>
            <a:off x="10869637" y="2565436"/>
            <a:ext cx="312737" cy="504825"/>
          </a:xfrm>
          <a:custGeom>
            <a:avLst/>
            <a:gdLst>
              <a:gd name="T0" fmla="*/ 2147483647 w 255"/>
              <a:gd name="T1" fmla="*/ 2147483647 h 412"/>
              <a:gd name="T2" fmla="*/ 2147483647 w 255"/>
              <a:gd name="T3" fmla="*/ 2147483647 h 412"/>
              <a:gd name="T4" fmla="*/ 2147483647 w 255"/>
              <a:gd name="T5" fmla="*/ 2147483647 h 412"/>
              <a:gd name="T6" fmla="*/ 2147483647 w 255"/>
              <a:gd name="T7" fmla="*/ 2147483647 h 412"/>
              <a:gd name="T8" fmla="*/ 2147483647 w 255"/>
              <a:gd name="T9" fmla="*/ 2147483647 h 412"/>
              <a:gd name="T10" fmla="*/ 2147483647 w 255"/>
              <a:gd name="T11" fmla="*/ 2147483647 h 412"/>
              <a:gd name="T12" fmla="*/ 2147483647 w 255"/>
              <a:gd name="T13" fmla="*/ 2147483647 h 412"/>
              <a:gd name="T14" fmla="*/ 2147483647 w 255"/>
              <a:gd name="T15" fmla="*/ 2147483647 h 412"/>
              <a:gd name="T16" fmla="*/ 2147483647 w 255"/>
              <a:gd name="T17" fmla="*/ 2147483647 h 412"/>
              <a:gd name="T18" fmla="*/ 2147483647 w 255"/>
              <a:gd name="T19" fmla="*/ 2147483647 h 412"/>
              <a:gd name="T20" fmla="*/ 2147483647 w 255"/>
              <a:gd name="T21" fmla="*/ 2147483647 h 412"/>
              <a:gd name="T22" fmla="*/ 2147483647 w 255"/>
              <a:gd name="T23" fmla="*/ 2147483647 h 412"/>
              <a:gd name="T24" fmla="*/ 2147483647 w 255"/>
              <a:gd name="T25" fmla="*/ 2147483647 h 412"/>
              <a:gd name="T26" fmla="*/ 2147483647 w 255"/>
              <a:gd name="T27" fmla="*/ 2147483647 h 412"/>
              <a:gd name="T28" fmla="*/ 2147483647 w 255"/>
              <a:gd name="T29" fmla="*/ 2147483647 h 412"/>
              <a:gd name="T30" fmla="*/ 2147483647 w 255"/>
              <a:gd name="T31" fmla="*/ 2147483647 h 412"/>
              <a:gd name="T32" fmla="*/ 2147483647 w 255"/>
              <a:gd name="T33" fmla="*/ 2147483647 h 412"/>
              <a:gd name="T34" fmla="*/ 2147483647 w 255"/>
              <a:gd name="T35" fmla="*/ 2147483647 h 412"/>
              <a:gd name="T36" fmla="*/ 2147483647 w 255"/>
              <a:gd name="T37" fmla="*/ 2147483647 h 412"/>
              <a:gd name="T38" fmla="*/ 2147483647 w 255"/>
              <a:gd name="T39" fmla="*/ 2147483647 h 412"/>
              <a:gd name="T40" fmla="*/ 2147483647 w 255"/>
              <a:gd name="T41" fmla="*/ 2147483647 h 412"/>
              <a:gd name="T42" fmla="*/ 2147483647 w 255"/>
              <a:gd name="T43" fmla="*/ 2147483647 h 412"/>
              <a:gd name="T44" fmla="*/ 2147483647 w 255"/>
              <a:gd name="T45" fmla="*/ 2147483647 h 412"/>
              <a:gd name="T46" fmla="*/ 2147483647 w 255"/>
              <a:gd name="T47" fmla="*/ 2147483647 h 412"/>
              <a:gd name="T48" fmla="*/ 2147483647 w 255"/>
              <a:gd name="T49" fmla="*/ 2147483647 h 412"/>
              <a:gd name="T50" fmla="*/ 2147483647 w 255"/>
              <a:gd name="T51" fmla="*/ 2147483647 h 412"/>
              <a:gd name="T52" fmla="*/ 2147483647 w 255"/>
              <a:gd name="T53" fmla="*/ 2147483647 h 412"/>
              <a:gd name="T54" fmla="*/ 2147483647 w 255"/>
              <a:gd name="T55" fmla="*/ 2147483647 h 412"/>
              <a:gd name="T56" fmla="*/ 2147483647 w 255"/>
              <a:gd name="T57" fmla="*/ 2147483647 h 412"/>
              <a:gd name="T58" fmla="*/ 2147483647 w 255"/>
              <a:gd name="T59" fmla="*/ 2147483647 h 412"/>
              <a:gd name="T60" fmla="*/ 2147483647 w 255"/>
              <a:gd name="T61" fmla="*/ 2147483647 h 412"/>
              <a:gd name="T62" fmla="*/ 2147483647 w 255"/>
              <a:gd name="T63" fmla="*/ 2147483647 h 412"/>
              <a:gd name="T64" fmla="*/ 2147483647 w 255"/>
              <a:gd name="T65" fmla="*/ 2147483647 h 412"/>
              <a:gd name="T66" fmla="*/ 2147483647 w 255"/>
              <a:gd name="T67" fmla="*/ 2147483647 h 412"/>
              <a:gd name="T68" fmla="*/ 2147483647 w 255"/>
              <a:gd name="T69" fmla="*/ 2147483647 h 412"/>
              <a:gd name="T70" fmla="*/ 2147483647 w 255"/>
              <a:gd name="T71" fmla="*/ 2147483647 h 412"/>
              <a:gd name="T72" fmla="*/ 2147483647 w 255"/>
              <a:gd name="T73" fmla="*/ 2147483647 h 412"/>
              <a:gd name="T74" fmla="*/ 2147483647 w 255"/>
              <a:gd name="T75" fmla="*/ 2147483647 h 412"/>
              <a:gd name="T76" fmla="*/ 2147483647 w 255"/>
              <a:gd name="T77" fmla="*/ 2147483647 h 412"/>
              <a:gd name="T78" fmla="*/ 2147483647 w 255"/>
              <a:gd name="T79" fmla="*/ 2147483647 h 412"/>
              <a:gd name="T80" fmla="*/ 2147483647 w 255"/>
              <a:gd name="T81" fmla="*/ 2147483647 h 412"/>
              <a:gd name="T82" fmla="*/ 2147483647 w 255"/>
              <a:gd name="T83" fmla="*/ 2147483647 h 412"/>
              <a:gd name="T84" fmla="*/ 2147483647 w 255"/>
              <a:gd name="T85" fmla="*/ 2147483647 h 412"/>
              <a:gd name="T86" fmla="*/ 2147483647 w 255"/>
              <a:gd name="T87" fmla="*/ 2147483647 h 412"/>
              <a:gd name="T88" fmla="*/ 2147483647 w 255"/>
              <a:gd name="T89" fmla="*/ 2147483647 h 412"/>
              <a:gd name="T90" fmla="*/ 2147483647 w 255"/>
              <a:gd name="T91" fmla="*/ 2147483647 h 412"/>
              <a:gd name="T92" fmla="*/ 2147483647 w 255"/>
              <a:gd name="T93" fmla="*/ 2147483647 h 412"/>
              <a:gd name="T94" fmla="*/ 2147483647 w 255"/>
              <a:gd name="T95" fmla="*/ 2147483647 h 412"/>
              <a:gd name="T96" fmla="*/ 2147483647 w 255"/>
              <a:gd name="T97" fmla="*/ 2147483647 h 412"/>
              <a:gd name="T98" fmla="*/ 2147483647 w 255"/>
              <a:gd name="T99" fmla="*/ 2147483647 h 412"/>
              <a:gd name="T100" fmla="*/ 0 w 255"/>
              <a:gd name="T101" fmla="*/ 2147483647 h 412"/>
              <a:gd name="T102" fmla="*/ 2147483647 w 255"/>
              <a:gd name="T103" fmla="*/ 2147483647 h 412"/>
              <a:gd name="T104" fmla="*/ 2147483647 w 255"/>
              <a:gd name="T105" fmla="*/ 2147483647 h 412"/>
              <a:gd name="T106" fmla="*/ 2147483647 w 255"/>
              <a:gd name="T107" fmla="*/ 2147483647 h 412"/>
              <a:gd name="T108" fmla="*/ 2147483647 w 255"/>
              <a:gd name="T109" fmla="*/ 2147483647 h 412"/>
              <a:gd name="T110" fmla="*/ 2147483647 w 255"/>
              <a:gd name="T111" fmla="*/ 2147483647 h 41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55"/>
              <a:gd name="T169" fmla="*/ 0 h 412"/>
              <a:gd name="T170" fmla="*/ 255 w 255"/>
              <a:gd name="T171" fmla="*/ 412 h 412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55" h="412">
                <a:moveTo>
                  <a:pt x="169" y="344"/>
                </a:moveTo>
                <a:cubicBezTo>
                  <a:pt x="45" y="344"/>
                  <a:pt x="45" y="344"/>
                  <a:pt x="45" y="344"/>
                </a:cubicBezTo>
                <a:cubicBezTo>
                  <a:pt x="37" y="344"/>
                  <a:pt x="30" y="349"/>
                  <a:pt x="29" y="358"/>
                </a:cubicBezTo>
                <a:cubicBezTo>
                  <a:pt x="29" y="370"/>
                  <a:pt x="29" y="370"/>
                  <a:pt x="29" y="370"/>
                </a:cubicBezTo>
                <a:cubicBezTo>
                  <a:pt x="30" y="380"/>
                  <a:pt x="37" y="385"/>
                  <a:pt x="45" y="385"/>
                </a:cubicBezTo>
                <a:cubicBezTo>
                  <a:pt x="169" y="385"/>
                  <a:pt x="169" y="385"/>
                  <a:pt x="169" y="385"/>
                </a:cubicBezTo>
                <a:cubicBezTo>
                  <a:pt x="177" y="385"/>
                  <a:pt x="185" y="380"/>
                  <a:pt x="185" y="370"/>
                </a:cubicBezTo>
                <a:cubicBezTo>
                  <a:pt x="185" y="358"/>
                  <a:pt x="185" y="358"/>
                  <a:pt x="185" y="358"/>
                </a:cubicBezTo>
                <a:cubicBezTo>
                  <a:pt x="184" y="349"/>
                  <a:pt x="177" y="344"/>
                  <a:pt x="169" y="344"/>
                </a:cubicBezTo>
                <a:close/>
                <a:moveTo>
                  <a:pt x="169" y="369"/>
                </a:moveTo>
                <a:cubicBezTo>
                  <a:pt x="45" y="369"/>
                  <a:pt x="45" y="369"/>
                  <a:pt x="45" y="369"/>
                </a:cubicBezTo>
                <a:cubicBezTo>
                  <a:pt x="45" y="369"/>
                  <a:pt x="45" y="369"/>
                  <a:pt x="45" y="369"/>
                </a:cubicBezTo>
                <a:cubicBezTo>
                  <a:pt x="45" y="360"/>
                  <a:pt x="45" y="360"/>
                  <a:pt x="45" y="360"/>
                </a:cubicBezTo>
                <a:cubicBezTo>
                  <a:pt x="45" y="360"/>
                  <a:pt x="45" y="360"/>
                  <a:pt x="45" y="360"/>
                </a:cubicBezTo>
                <a:cubicBezTo>
                  <a:pt x="169" y="360"/>
                  <a:pt x="169" y="360"/>
                  <a:pt x="169" y="360"/>
                </a:cubicBezTo>
                <a:lnTo>
                  <a:pt x="169" y="369"/>
                </a:lnTo>
                <a:close/>
                <a:moveTo>
                  <a:pt x="185" y="306"/>
                </a:moveTo>
                <a:cubicBezTo>
                  <a:pt x="185" y="297"/>
                  <a:pt x="177" y="291"/>
                  <a:pt x="169" y="291"/>
                </a:cubicBezTo>
                <a:cubicBezTo>
                  <a:pt x="45" y="291"/>
                  <a:pt x="45" y="291"/>
                  <a:pt x="45" y="291"/>
                </a:cubicBezTo>
                <a:cubicBezTo>
                  <a:pt x="37" y="291"/>
                  <a:pt x="30" y="297"/>
                  <a:pt x="29" y="306"/>
                </a:cubicBezTo>
                <a:cubicBezTo>
                  <a:pt x="29" y="318"/>
                  <a:pt x="29" y="318"/>
                  <a:pt x="29" y="318"/>
                </a:cubicBezTo>
                <a:cubicBezTo>
                  <a:pt x="30" y="327"/>
                  <a:pt x="37" y="333"/>
                  <a:pt x="45" y="333"/>
                </a:cubicBezTo>
                <a:cubicBezTo>
                  <a:pt x="169" y="333"/>
                  <a:pt x="169" y="333"/>
                  <a:pt x="169" y="333"/>
                </a:cubicBezTo>
                <a:cubicBezTo>
                  <a:pt x="177" y="333"/>
                  <a:pt x="184" y="327"/>
                  <a:pt x="185" y="318"/>
                </a:cubicBezTo>
                <a:lnTo>
                  <a:pt x="185" y="306"/>
                </a:lnTo>
                <a:close/>
                <a:moveTo>
                  <a:pt x="169" y="317"/>
                </a:moveTo>
                <a:cubicBezTo>
                  <a:pt x="45" y="317"/>
                  <a:pt x="45" y="317"/>
                  <a:pt x="45" y="317"/>
                </a:cubicBezTo>
                <a:cubicBezTo>
                  <a:pt x="45" y="317"/>
                  <a:pt x="45" y="317"/>
                  <a:pt x="45" y="317"/>
                </a:cubicBezTo>
                <a:cubicBezTo>
                  <a:pt x="45" y="307"/>
                  <a:pt x="45" y="307"/>
                  <a:pt x="45" y="307"/>
                </a:cubicBezTo>
                <a:cubicBezTo>
                  <a:pt x="45" y="307"/>
                  <a:pt x="45" y="307"/>
                  <a:pt x="45" y="307"/>
                </a:cubicBezTo>
                <a:cubicBezTo>
                  <a:pt x="169" y="307"/>
                  <a:pt x="169" y="307"/>
                  <a:pt x="169" y="307"/>
                </a:cubicBezTo>
                <a:lnTo>
                  <a:pt x="169" y="317"/>
                </a:lnTo>
                <a:close/>
                <a:moveTo>
                  <a:pt x="185" y="253"/>
                </a:moveTo>
                <a:cubicBezTo>
                  <a:pt x="184" y="244"/>
                  <a:pt x="177" y="239"/>
                  <a:pt x="169" y="239"/>
                </a:cubicBezTo>
                <a:cubicBezTo>
                  <a:pt x="45" y="239"/>
                  <a:pt x="45" y="239"/>
                  <a:pt x="45" y="239"/>
                </a:cubicBezTo>
                <a:cubicBezTo>
                  <a:pt x="37" y="239"/>
                  <a:pt x="30" y="244"/>
                  <a:pt x="29" y="253"/>
                </a:cubicBezTo>
                <a:cubicBezTo>
                  <a:pt x="29" y="265"/>
                  <a:pt x="29" y="265"/>
                  <a:pt x="29" y="265"/>
                </a:cubicBezTo>
                <a:cubicBezTo>
                  <a:pt x="30" y="275"/>
                  <a:pt x="37" y="280"/>
                  <a:pt x="45" y="280"/>
                </a:cubicBezTo>
                <a:cubicBezTo>
                  <a:pt x="169" y="280"/>
                  <a:pt x="169" y="280"/>
                  <a:pt x="169" y="280"/>
                </a:cubicBezTo>
                <a:cubicBezTo>
                  <a:pt x="177" y="280"/>
                  <a:pt x="185" y="275"/>
                  <a:pt x="185" y="265"/>
                </a:cubicBezTo>
                <a:lnTo>
                  <a:pt x="185" y="253"/>
                </a:lnTo>
                <a:close/>
                <a:moveTo>
                  <a:pt x="169" y="264"/>
                </a:moveTo>
                <a:cubicBezTo>
                  <a:pt x="45" y="264"/>
                  <a:pt x="45" y="264"/>
                  <a:pt x="45" y="264"/>
                </a:cubicBezTo>
                <a:cubicBezTo>
                  <a:pt x="45" y="264"/>
                  <a:pt x="45" y="264"/>
                  <a:pt x="45" y="264"/>
                </a:cubicBezTo>
                <a:cubicBezTo>
                  <a:pt x="45" y="255"/>
                  <a:pt x="45" y="255"/>
                  <a:pt x="45" y="255"/>
                </a:cubicBezTo>
                <a:cubicBezTo>
                  <a:pt x="45" y="255"/>
                  <a:pt x="45" y="255"/>
                  <a:pt x="45" y="255"/>
                </a:cubicBezTo>
                <a:cubicBezTo>
                  <a:pt x="169" y="255"/>
                  <a:pt x="169" y="255"/>
                  <a:pt x="169" y="255"/>
                </a:cubicBezTo>
                <a:lnTo>
                  <a:pt x="169" y="264"/>
                </a:lnTo>
                <a:close/>
                <a:moveTo>
                  <a:pt x="185" y="201"/>
                </a:moveTo>
                <a:cubicBezTo>
                  <a:pt x="185" y="192"/>
                  <a:pt x="177" y="186"/>
                  <a:pt x="169" y="186"/>
                </a:cubicBezTo>
                <a:cubicBezTo>
                  <a:pt x="45" y="186"/>
                  <a:pt x="45" y="186"/>
                  <a:pt x="45" y="186"/>
                </a:cubicBezTo>
                <a:cubicBezTo>
                  <a:pt x="37" y="186"/>
                  <a:pt x="30" y="192"/>
                  <a:pt x="29" y="201"/>
                </a:cubicBezTo>
                <a:cubicBezTo>
                  <a:pt x="29" y="213"/>
                  <a:pt x="29" y="213"/>
                  <a:pt x="29" y="213"/>
                </a:cubicBezTo>
                <a:cubicBezTo>
                  <a:pt x="30" y="222"/>
                  <a:pt x="37" y="228"/>
                  <a:pt x="45" y="228"/>
                </a:cubicBezTo>
                <a:cubicBezTo>
                  <a:pt x="169" y="228"/>
                  <a:pt x="169" y="228"/>
                  <a:pt x="169" y="228"/>
                </a:cubicBezTo>
                <a:cubicBezTo>
                  <a:pt x="177" y="228"/>
                  <a:pt x="184" y="222"/>
                  <a:pt x="185" y="213"/>
                </a:cubicBezTo>
                <a:lnTo>
                  <a:pt x="185" y="201"/>
                </a:lnTo>
                <a:close/>
                <a:moveTo>
                  <a:pt x="169" y="212"/>
                </a:moveTo>
                <a:cubicBezTo>
                  <a:pt x="45" y="212"/>
                  <a:pt x="45" y="212"/>
                  <a:pt x="45" y="212"/>
                </a:cubicBezTo>
                <a:cubicBezTo>
                  <a:pt x="45" y="212"/>
                  <a:pt x="45" y="212"/>
                  <a:pt x="45" y="212"/>
                </a:cubicBezTo>
                <a:cubicBezTo>
                  <a:pt x="45" y="202"/>
                  <a:pt x="45" y="202"/>
                  <a:pt x="45" y="202"/>
                </a:cubicBezTo>
                <a:cubicBezTo>
                  <a:pt x="45" y="202"/>
                  <a:pt x="45" y="202"/>
                  <a:pt x="45" y="202"/>
                </a:cubicBezTo>
                <a:cubicBezTo>
                  <a:pt x="169" y="202"/>
                  <a:pt x="169" y="202"/>
                  <a:pt x="169" y="202"/>
                </a:cubicBezTo>
                <a:lnTo>
                  <a:pt x="169" y="212"/>
                </a:lnTo>
                <a:close/>
                <a:moveTo>
                  <a:pt x="185" y="148"/>
                </a:moveTo>
                <a:cubicBezTo>
                  <a:pt x="184" y="139"/>
                  <a:pt x="177" y="134"/>
                  <a:pt x="169" y="134"/>
                </a:cubicBezTo>
                <a:cubicBezTo>
                  <a:pt x="45" y="134"/>
                  <a:pt x="45" y="134"/>
                  <a:pt x="45" y="134"/>
                </a:cubicBezTo>
                <a:cubicBezTo>
                  <a:pt x="37" y="134"/>
                  <a:pt x="30" y="139"/>
                  <a:pt x="29" y="148"/>
                </a:cubicBezTo>
                <a:cubicBezTo>
                  <a:pt x="29" y="161"/>
                  <a:pt x="29" y="161"/>
                  <a:pt x="29" y="161"/>
                </a:cubicBezTo>
                <a:cubicBezTo>
                  <a:pt x="30" y="170"/>
                  <a:pt x="37" y="175"/>
                  <a:pt x="45" y="175"/>
                </a:cubicBezTo>
                <a:cubicBezTo>
                  <a:pt x="169" y="175"/>
                  <a:pt x="169" y="175"/>
                  <a:pt x="169" y="175"/>
                </a:cubicBezTo>
                <a:cubicBezTo>
                  <a:pt x="177" y="175"/>
                  <a:pt x="185" y="170"/>
                  <a:pt x="185" y="161"/>
                </a:cubicBezTo>
                <a:lnTo>
                  <a:pt x="185" y="148"/>
                </a:lnTo>
                <a:close/>
                <a:moveTo>
                  <a:pt x="169" y="159"/>
                </a:moveTo>
                <a:cubicBezTo>
                  <a:pt x="45" y="159"/>
                  <a:pt x="45" y="159"/>
                  <a:pt x="45" y="159"/>
                </a:cubicBezTo>
                <a:cubicBezTo>
                  <a:pt x="45" y="159"/>
                  <a:pt x="45" y="159"/>
                  <a:pt x="45" y="159"/>
                </a:cubicBezTo>
                <a:cubicBezTo>
                  <a:pt x="45" y="150"/>
                  <a:pt x="45" y="150"/>
                  <a:pt x="45" y="150"/>
                </a:cubicBezTo>
                <a:cubicBezTo>
                  <a:pt x="45" y="150"/>
                  <a:pt x="45" y="150"/>
                  <a:pt x="45" y="150"/>
                </a:cubicBezTo>
                <a:cubicBezTo>
                  <a:pt x="169" y="150"/>
                  <a:pt x="169" y="150"/>
                  <a:pt x="169" y="150"/>
                </a:cubicBezTo>
                <a:lnTo>
                  <a:pt x="169" y="159"/>
                </a:lnTo>
                <a:close/>
                <a:moveTo>
                  <a:pt x="185" y="96"/>
                </a:moveTo>
                <a:cubicBezTo>
                  <a:pt x="185" y="87"/>
                  <a:pt x="177" y="81"/>
                  <a:pt x="169" y="81"/>
                </a:cubicBezTo>
                <a:cubicBezTo>
                  <a:pt x="45" y="81"/>
                  <a:pt x="45" y="81"/>
                  <a:pt x="45" y="81"/>
                </a:cubicBezTo>
                <a:cubicBezTo>
                  <a:pt x="37" y="81"/>
                  <a:pt x="30" y="87"/>
                  <a:pt x="29" y="96"/>
                </a:cubicBezTo>
                <a:cubicBezTo>
                  <a:pt x="29" y="108"/>
                  <a:pt x="29" y="108"/>
                  <a:pt x="29" y="108"/>
                </a:cubicBezTo>
                <a:cubicBezTo>
                  <a:pt x="30" y="117"/>
                  <a:pt x="37" y="123"/>
                  <a:pt x="45" y="123"/>
                </a:cubicBezTo>
                <a:cubicBezTo>
                  <a:pt x="169" y="123"/>
                  <a:pt x="169" y="123"/>
                  <a:pt x="169" y="123"/>
                </a:cubicBezTo>
                <a:cubicBezTo>
                  <a:pt x="177" y="123"/>
                  <a:pt x="184" y="117"/>
                  <a:pt x="185" y="108"/>
                </a:cubicBezTo>
                <a:lnTo>
                  <a:pt x="185" y="96"/>
                </a:lnTo>
                <a:close/>
                <a:moveTo>
                  <a:pt x="169" y="107"/>
                </a:moveTo>
                <a:cubicBezTo>
                  <a:pt x="45" y="107"/>
                  <a:pt x="45" y="107"/>
                  <a:pt x="45" y="107"/>
                </a:cubicBezTo>
                <a:cubicBezTo>
                  <a:pt x="45" y="107"/>
                  <a:pt x="45" y="107"/>
                  <a:pt x="45" y="107"/>
                </a:cubicBezTo>
                <a:cubicBezTo>
                  <a:pt x="45" y="97"/>
                  <a:pt x="45" y="97"/>
                  <a:pt x="45" y="97"/>
                </a:cubicBezTo>
                <a:cubicBezTo>
                  <a:pt x="45" y="97"/>
                  <a:pt x="45" y="97"/>
                  <a:pt x="45" y="97"/>
                </a:cubicBezTo>
                <a:cubicBezTo>
                  <a:pt x="169" y="97"/>
                  <a:pt x="169" y="97"/>
                  <a:pt x="169" y="97"/>
                </a:cubicBezTo>
                <a:lnTo>
                  <a:pt x="169" y="107"/>
                </a:lnTo>
                <a:close/>
                <a:moveTo>
                  <a:pt x="185" y="44"/>
                </a:moveTo>
                <a:cubicBezTo>
                  <a:pt x="184" y="34"/>
                  <a:pt x="177" y="29"/>
                  <a:pt x="169" y="29"/>
                </a:cubicBezTo>
                <a:cubicBezTo>
                  <a:pt x="45" y="29"/>
                  <a:pt x="45" y="29"/>
                  <a:pt x="45" y="29"/>
                </a:cubicBezTo>
                <a:cubicBezTo>
                  <a:pt x="37" y="29"/>
                  <a:pt x="30" y="34"/>
                  <a:pt x="29" y="44"/>
                </a:cubicBezTo>
                <a:cubicBezTo>
                  <a:pt x="29" y="56"/>
                  <a:pt x="29" y="56"/>
                  <a:pt x="29" y="56"/>
                </a:cubicBezTo>
                <a:cubicBezTo>
                  <a:pt x="30" y="65"/>
                  <a:pt x="37" y="70"/>
                  <a:pt x="45" y="70"/>
                </a:cubicBezTo>
                <a:cubicBezTo>
                  <a:pt x="169" y="70"/>
                  <a:pt x="169" y="70"/>
                  <a:pt x="169" y="70"/>
                </a:cubicBezTo>
                <a:cubicBezTo>
                  <a:pt x="177" y="70"/>
                  <a:pt x="185" y="65"/>
                  <a:pt x="185" y="56"/>
                </a:cubicBezTo>
                <a:lnTo>
                  <a:pt x="185" y="44"/>
                </a:lnTo>
                <a:close/>
                <a:moveTo>
                  <a:pt x="169" y="54"/>
                </a:moveTo>
                <a:cubicBezTo>
                  <a:pt x="45" y="54"/>
                  <a:pt x="45" y="54"/>
                  <a:pt x="45" y="54"/>
                </a:cubicBezTo>
                <a:cubicBezTo>
                  <a:pt x="45" y="54"/>
                  <a:pt x="45" y="54"/>
                  <a:pt x="45" y="54"/>
                </a:cubicBezTo>
                <a:cubicBezTo>
                  <a:pt x="45" y="45"/>
                  <a:pt x="45" y="45"/>
                  <a:pt x="45" y="45"/>
                </a:cubicBezTo>
                <a:cubicBezTo>
                  <a:pt x="45" y="45"/>
                  <a:pt x="45" y="45"/>
                  <a:pt x="45" y="45"/>
                </a:cubicBezTo>
                <a:cubicBezTo>
                  <a:pt x="169" y="45"/>
                  <a:pt x="169" y="45"/>
                  <a:pt x="169" y="45"/>
                </a:cubicBezTo>
                <a:lnTo>
                  <a:pt x="169" y="54"/>
                </a:lnTo>
                <a:close/>
                <a:moveTo>
                  <a:pt x="212" y="88"/>
                </a:moveTo>
                <a:cubicBezTo>
                  <a:pt x="204" y="88"/>
                  <a:pt x="198" y="94"/>
                  <a:pt x="198" y="102"/>
                </a:cubicBezTo>
                <a:cubicBezTo>
                  <a:pt x="198" y="110"/>
                  <a:pt x="204" y="116"/>
                  <a:pt x="212" y="116"/>
                </a:cubicBezTo>
                <a:cubicBezTo>
                  <a:pt x="220" y="116"/>
                  <a:pt x="226" y="110"/>
                  <a:pt x="226" y="102"/>
                </a:cubicBezTo>
                <a:cubicBezTo>
                  <a:pt x="226" y="94"/>
                  <a:pt x="220" y="88"/>
                  <a:pt x="212" y="88"/>
                </a:cubicBezTo>
                <a:close/>
                <a:moveTo>
                  <a:pt x="212" y="35"/>
                </a:moveTo>
                <a:cubicBezTo>
                  <a:pt x="204" y="35"/>
                  <a:pt x="198" y="42"/>
                  <a:pt x="198" y="50"/>
                </a:cubicBezTo>
                <a:cubicBezTo>
                  <a:pt x="198" y="57"/>
                  <a:pt x="204" y="64"/>
                  <a:pt x="212" y="64"/>
                </a:cubicBezTo>
                <a:cubicBezTo>
                  <a:pt x="220" y="64"/>
                  <a:pt x="226" y="57"/>
                  <a:pt x="226" y="50"/>
                </a:cubicBezTo>
                <a:cubicBezTo>
                  <a:pt x="226" y="42"/>
                  <a:pt x="220" y="35"/>
                  <a:pt x="212" y="35"/>
                </a:cubicBezTo>
                <a:close/>
                <a:moveTo>
                  <a:pt x="212" y="140"/>
                </a:moveTo>
                <a:cubicBezTo>
                  <a:pt x="204" y="140"/>
                  <a:pt x="198" y="147"/>
                  <a:pt x="198" y="155"/>
                </a:cubicBezTo>
                <a:cubicBezTo>
                  <a:pt x="198" y="162"/>
                  <a:pt x="204" y="169"/>
                  <a:pt x="212" y="169"/>
                </a:cubicBezTo>
                <a:cubicBezTo>
                  <a:pt x="220" y="169"/>
                  <a:pt x="226" y="162"/>
                  <a:pt x="226" y="155"/>
                </a:cubicBezTo>
                <a:cubicBezTo>
                  <a:pt x="226" y="147"/>
                  <a:pt x="220" y="140"/>
                  <a:pt x="212" y="140"/>
                </a:cubicBezTo>
                <a:close/>
                <a:moveTo>
                  <a:pt x="212" y="193"/>
                </a:moveTo>
                <a:cubicBezTo>
                  <a:pt x="204" y="193"/>
                  <a:pt x="198" y="199"/>
                  <a:pt x="198" y="207"/>
                </a:cubicBezTo>
                <a:cubicBezTo>
                  <a:pt x="198" y="215"/>
                  <a:pt x="204" y="221"/>
                  <a:pt x="212" y="221"/>
                </a:cubicBezTo>
                <a:cubicBezTo>
                  <a:pt x="220" y="221"/>
                  <a:pt x="226" y="215"/>
                  <a:pt x="226" y="207"/>
                </a:cubicBezTo>
                <a:cubicBezTo>
                  <a:pt x="226" y="199"/>
                  <a:pt x="220" y="193"/>
                  <a:pt x="212" y="193"/>
                </a:cubicBezTo>
                <a:close/>
                <a:moveTo>
                  <a:pt x="212" y="245"/>
                </a:moveTo>
                <a:cubicBezTo>
                  <a:pt x="204" y="245"/>
                  <a:pt x="198" y="252"/>
                  <a:pt x="198" y="259"/>
                </a:cubicBezTo>
                <a:cubicBezTo>
                  <a:pt x="198" y="267"/>
                  <a:pt x="204" y="274"/>
                  <a:pt x="212" y="274"/>
                </a:cubicBezTo>
                <a:cubicBezTo>
                  <a:pt x="220" y="274"/>
                  <a:pt x="226" y="267"/>
                  <a:pt x="226" y="259"/>
                </a:cubicBezTo>
                <a:cubicBezTo>
                  <a:pt x="226" y="252"/>
                  <a:pt x="220" y="245"/>
                  <a:pt x="212" y="245"/>
                </a:cubicBezTo>
                <a:close/>
                <a:moveTo>
                  <a:pt x="212" y="298"/>
                </a:moveTo>
                <a:cubicBezTo>
                  <a:pt x="204" y="298"/>
                  <a:pt x="198" y="304"/>
                  <a:pt x="198" y="312"/>
                </a:cubicBezTo>
                <a:cubicBezTo>
                  <a:pt x="198" y="320"/>
                  <a:pt x="204" y="326"/>
                  <a:pt x="212" y="326"/>
                </a:cubicBezTo>
                <a:cubicBezTo>
                  <a:pt x="220" y="326"/>
                  <a:pt x="226" y="320"/>
                  <a:pt x="226" y="312"/>
                </a:cubicBezTo>
                <a:cubicBezTo>
                  <a:pt x="226" y="304"/>
                  <a:pt x="220" y="298"/>
                  <a:pt x="212" y="298"/>
                </a:cubicBezTo>
                <a:close/>
                <a:moveTo>
                  <a:pt x="212" y="350"/>
                </a:moveTo>
                <a:cubicBezTo>
                  <a:pt x="204" y="350"/>
                  <a:pt x="198" y="356"/>
                  <a:pt x="198" y="364"/>
                </a:cubicBezTo>
                <a:cubicBezTo>
                  <a:pt x="198" y="372"/>
                  <a:pt x="204" y="379"/>
                  <a:pt x="212" y="379"/>
                </a:cubicBezTo>
                <a:cubicBezTo>
                  <a:pt x="220" y="379"/>
                  <a:pt x="226" y="372"/>
                  <a:pt x="226" y="364"/>
                </a:cubicBezTo>
                <a:cubicBezTo>
                  <a:pt x="226" y="356"/>
                  <a:pt x="220" y="350"/>
                  <a:pt x="212" y="350"/>
                </a:cubicBezTo>
                <a:close/>
                <a:moveTo>
                  <a:pt x="247" y="44"/>
                </a:moveTo>
                <a:cubicBezTo>
                  <a:pt x="251" y="44"/>
                  <a:pt x="255" y="41"/>
                  <a:pt x="255" y="36"/>
                </a:cubicBezTo>
                <a:cubicBezTo>
                  <a:pt x="255" y="16"/>
                  <a:pt x="255" y="16"/>
                  <a:pt x="255" y="16"/>
                </a:cubicBezTo>
                <a:cubicBezTo>
                  <a:pt x="255" y="7"/>
                  <a:pt x="248" y="0"/>
                  <a:pt x="23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7" y="0"/>
                  <a:pt x="0" y="7"/>
                  <a:pt x="0" y="16"/>
                </a:cubicBezTo>
                <a:cubicBezTo>
                  <a:pt x="0" y="396"/>
                  <a:pt x="0" y="396"/>
                  <a:pt x="0" y="396"/>
                </a:cubicBezTo>
                <a:cubicBezTo>
                  <a:pt x="0" y="405"/>
                  <a:pt x="7" y="412"/>
                  <a:pt x="16" y="412"/>
                </a:cubicBezTo>
                <a:cubicBezTo>
                  <a:pt x="239" y="412"/>
                  <a:pt x="239" y="412"/>
                  <a:pt x="239" y="412"/>
                </a:cubicBezTo>
                <a:cubicBezTo>
                  <a:pt x="248" y="412"/>
                  <a:pt x="255" y="405"/>
                  <a:pt x="255" y="396"/>
                </a:cubicBezTo>
                <a:cubicBezTo>
                  <a:pt x="255" y="60"/>
                  <a:pt x="255" y="60"/>
                  <a:pt x="255" y="60"/>
                </a:cubicBezTo>
                <a:cubicBezTo>
                  <a:pt x="255" y="56"/>
                  <a:pt x="251" y="52"/>
                  <a:pt x="247" y="52"/>
                </a:cubicBezTo>
                <a:cubicBezTo>
                  <a:pt x="242" y="52"/>
                  <a:pt x="239" y="56"/>
                  <a:pt x="239" y="60"/>
                </a:cubicBezTo>
                <a:cubicBezTo>
                  <a:pt x="239" y="396"/>
                  <a:pt x="239" y="396"/>
                  <a:pt x="239" y="396"/>
                </a:cubicBezTo>
                <a:cubicBezTo>
                  <a:pt x="16" y="396"/>
                  <a:pt x="16" y="396"/>
                  <a:pt x="16" y="396"/>
                </a:cubicBezTo>
                <a:cubicBezTo>
                  <a:pt x="16" y="396"/>
                  <a:pt x="16" y="396"/>
                  <a:pt x="16" y="396"/>
                </a:cubicBezTo>
                <a:cubicBezTo>
                  <a:pt x="16" y="16"/>
                  <a:pt x="16" y="16"/>
                  <a:pt x="16" y="16"/>
                </a:cubicBezTo>
                <a:cubicBezTo>
                  <a:pt x="16" y="16"/>
                  <a:pt x="16" y="16"/>
                  <a:pt x="16" y="16"/>
                </a:cubicBezTo>
                <a:cubicBezTo>
                  <a:pt x="239" y="16"/>
                  <a:pt x="239" y="16"/>
                  <a:pt x="239" y="16"/>
                </a:cubicBezTo>
                <a:cubicBezTo>
                  <a:pt x="239" y="36"/>
                  <a:pt x="239" y="36"/>
                  <a:pt x="239" y="36"/>
                </a:cubicBezTo>
                <a:cubicBezTo>
                  <a:pt x="239" y="41"/>
                  <a:pt x="242" y="44"/>
                  <a:pt x="247" y="44"/>
                </a:cubicBezTo>
                <a:close/>
              </a:path>
            </a:pathLst>
          </a:custGeom>
          <a:solidFill>
            <a:srgbClr val="5858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222" name="AutoShape 132"/>
          <p:cNvSpPr>
            <a:spLocks noChangeArrowheads="1"/>
          </p:cNvSpPr>
          <p:nvPr/>
        </p:nvSpPr>
        <p:spPr bwMode="auto">
          <a:xfrm>
            <a:off x="9193215" y="1916120"/>
            <a:ext cx="215900" cy="504825"/>
          </a:xfrm>
          <a:prstGeom prst="roundRect">
            <a:avLst>
              <a:gd name="adj" fmla="val 16667"/>
            </a:avLst>
          </a:prstGeom>
          <a:solidFill>
            <a:srgbClr val="DFCDDD"/>
          </a:solidFill>
          <a:ln w="9525" algn="ctr">
            <a:solidFill>
              <a:srgbClr val="7B0663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4A043B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223" name="Text Box 133"/>
          <p:cNvSpPr txBox="1">
            <a:spLocks noChangeArrowheads="1"/>
          </p:cNvSpPr>
          <p:nvPr/>
        </p:nvSpPr>
        <p:spPr bwMode="auto">
          <a:xfrm rot="-5400000">
            <a:off x="9034464" y="2073811"/>
            <a:ext cx="50006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28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1838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1200">
                <a:solidFill>
                  <a:srgbClr val="00285F"/>
                </a:solidFill>
              </a:rPr>
              <a:t>Control</a:t>
            </a:r>
          </a:p>
        </p:txBody>
      </p:sp>
      <p:sp>
        <p:nvSpPr>
          <p:cNvPr id="6224" name="AutoShape 134"/>
          <p:cNvSpPr>
            <a:spLocks noChangeArrowheads="1"/>
          </p:cNvSpPr>
          <p:nvPr/>
        </p:nvSpPr>
        <p:spPr bwMode="auto">
          <a:xfrm>
            <a:off x="10922003" y="1930407"/>
            <a:ext cx="215900" cy="504825"/>
          </a:xfrm>
          <a:prstGeom prst="roundRect">
            <a:avLst>
              <a:gd name="adj" fmla="val 16667"/>
            </a:avLst>
          </a:prstGeom>
          <a:solidFill>
            <a:srgbClr val="FFEBFF"/>
          </a:solidFill>
          <a:ln w="9525" algn="ctr">
            <a:solidFill>
              <a:srgbClr val="FF99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95C99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225" name="Text Box 135"/>
          <p:cNvSpPr txBox="1">
            <a:spLocks noChangeArrowheads="1"/>
          </p:cNvSpPr>
          <p:nvPr/>
        </p:nvSpPr>
        <p:spPr bwMode="auto">
          <a:xfrm rot="-5400000">
            <a:off x="10778332" y="2058425"/>
            <a:ext cx="5000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28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1838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1400"/>
              <a:t>3PP</a:t>
            </a:r>
          </a:p>
        </p:txBody>
      </p:sp>
      <p:sp>
        <p:nvSpPr>
          <p:cNvPr id="6226" name="AutoShape 136"/>
          <p:cNvSpPr>
            <a:spLocks noChangeArrowheads="1"/>
          </p:cNvSpPr>
          <p:nvPr/>
        </p:nvSpPr>
        <p:spPr bwMode="auto">
          <a:xfrm>
            <a:off x="9048751" y="4054481"/>
            <a:ext cx="215900" cy="504825"/>
          </a:xfrm>
          <a:prstGeom prst="roundRect">
            <a:avLst>
              <a:gd name="adj" fmla="val 16667"/>
            </a:avLst>
          </a:prstGeom>
          <a:solidFill>
            <a:srgbClr val="C8DBD9"/>
          </a:solidFill>
          <a:ln w="9525" algn="ctr">
            <a:solidFill>
              <a:srgbClr val="00625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3B39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227" name="Text Box 137"/>
          <p:cNvSpPr txBox="1">
            <a:spLocks noChangeArrowheads="1"/>
          </p:cNvSpPr>
          <p:nvPr/>
        </p:nvSpPr>
        <p:spPr bwMode="auto">
          <a:xfrm rot="-5400000">
            <a:off x="8890025" y="4212172"/>
            <a:ext cx="50006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28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1838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1200">
                <a:solidFill>
                  <a:srgbClr val="00285F"/>
                </a:solidFill>
              </a:rPr>
              <a:t>Appl.3</a:t>
            </a:r>
          </a:p>
        </p:txBody>
      </p:sp>
      <p:sp>
        <p:nvSpPr>
          <p:cNvPr id="6228" name="AutoShape 138"/>
          <p:cNvSpPr>
            <a:spLocks noChangeArrowheads="1"/>
          </p:cNvSpPr>
          <p:nvPr/>
        </p:nvSpPr>
        <p:spPr bwMode="auto">
          <a:xfrm>
            <a:off x="9337675" y="4054481"/>
            <a:ext cx="215900" cy="504825"/>
          </a:xfrm>
          <a:prstGeom prst="roundRect">
            <a:avLst>
              <a:gd name="adj" fmla="val 16667"/>
            </a:avLst>
          </a:prstGeom>
          <a:solidFill>
            <a:srgbClr val="FFEBFF"/>
          </a:solidFill>
          <a:ln w="9525" algn="ctr">
            <a:solidFill>
              <a:srgbClr val="FF99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95C99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229" name="Text Box 139"/>
          <p:cNvSpPr txBox="1">
            <a:spLocks noChangeArrowheads="1"/>
          </p:cNvSpPr>
          <p:nvPr/>
        </p:nvSpPr>
        <p:spPr bwMode="auto">
          <a:xfrm rot="-5400000">
            <a:off x="9178949" y="4196299"/>
            <a:ext cx="50006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28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1838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1200"/>
              <a:t>“Cloud”</a:t>
            </a:r>
          </a:p>
        </p:txBody>
      </p:sp>
      <p:grpSp>
        <p:nvGrpSpPr>
          <p:cNvPr id="6230" name="Group 140"/>
          <p:cNvGrpSpPr>
            <a:grpSpLocks/>
          </p:cNvGrpSpPr>
          <p:nvPr/>
        </p:nvGrpSpPr>
        <p:grpSpPr bwMode="auto">
          <a:xfrm>
            <a:off x="9769476" y="5516599"/>
            <a:ext cx="288925" cy="288925"/>
            <a:chOff x="710" y="2614"/>
            <a:chExt cx="272" cy="272"/>
          </a:xfrm>
        </p:grpSpPr>
        <p:sp>
          <p:nvSpPr>
            <p:cNvPr id="6257" name="AutoShape 141"/>
            <p:cNvSpPr>
              <a:spLocks noChangeArrowheads="1"/>
            </p:cNvSpPr>
            <p:nvPr/>
          </p:nvSpPr>
          <p:spPr bwMode="auto">
            <a:xfrm>
              <a:off x="710" y="2614"/>
              <a:ext cx="272" cy="272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chemeClr val="tx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1838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6258" name="Group 142"/>
            <p:cNvGrpSpPr>
              <a:grpSpLocks/>
            </p:cNvGrpSpPr>
            <p:nvPr/>
          </p:nvGrpSpPr>
          <p:grpSpPr bwMode="auto">
            <a:xfrm>
              <a:off x="756" y="2659"/>
              <a:ext cx="182" cy="181"/>
              <a:chOff x="1209" y="2614"/>
              <a:chExt cx="182" cy="181"/>
            </a:xfrm>
          </p:grpSpPr>
          <p:sp>
            <p:nvSpPr>
              <p:cNvPr id="6265" name="Line 143"/>
              <p:cNvSpPr>
                <a:spLocks noChangeShapeType="1"/>
              </p:cNvSpPr>
              <p:nvPr/>
            </p:nvSpPr>
            <p:spPr bwMode="auto">
              <a:xfrm>
                <a:off x="1209" y="2614"/>
                <a:ext cx="182" cy="181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66" name="Line 144"/>
              <p:cNvSpPr>
                <a:spLocks noChangeShapeType="1"/>
              </p:cNvSpPr>
              <p:nvPr/>
            </p:nvSpPr>
            <p:spPr bwMode="auto">
              <a:xfrm>
                <a:off x="1209" y="2614"/>
                <a:ext cx="46" cy="0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67" name="Line 145"/>
              <p:cNvSpPr>
                <a:spLocks noChangeShapeType="1"/>
              </p:cNvSpPr>
              <p:nvPr/>
            </p:nvSpPr>
            <p:spPr bwMode="auto">
              <a:xfrm>
                <a:off x="1209" y="2614"/>
                <a:ext cx="0" cy="4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68" name="Line 146"/>
              <p:cNvSpPr>
                <a:spLocks noChangeShapeType="1"/>
              </p:cNvSpPr>
              <p:nvPr/>
            </p:nvSpPr>
            <p:spPr bwMode="auto">
              <a:xfrm>
                <a:off x="1345" y="2795"/>
                <a:ext cx="46" cy="0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69" name="Line 147"/>
              <p:cNvSpPr>
                <a:spLocks noChangeShapeType="1"/>
              </p:cNvSpPr>
              <p:nvPr/>
            </p:nvSpPr>
            <p:spPr bwMode="auto">
              <a:xfrm>
                <a:off x="1391" y="2750"/>
                <a:ext cx="0" cy="4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6259" name="Group 148"/>
            <p:cNvGrpSpPr>
              <a:grpSpLocks/>
            </p:cNvGrpSpPr>
            <p:nvPr/>
          </p:nvGrpSpPr>
          <p:grpSpPr bwMode="auto">
            <a:xfrm rot="-5400000">
              <a:off x="756" y="2659"/>
              <a:ext cx="182" cy="181"/>
              <a:chOff x="1209" y="2614"/>
              <a:chExt cx="182" cy="181"/>
            </a:xfrm>
          </p:grpSpPr>
          <p:sp>
            <p:nvSpPr>
              <p:cNvPr id="6260" name="Line 149"/>
              <p:cNvSpPr>
                <a:spLocks noChangeShapeType="1"/>
              </p:cNvSpPr>
              <p:nvPr/>
            </p:nvSpPr>
            <p:spPr bwMode="auto">
              <a:xfrm>
                <a:off x="1209" y="2614"/>
                <a:ext cx="182" cy="181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61" name="Line 150"/>
              <p:cNvSpPr>
                <a:spLocks noChangeShapeType="1"/>
              </p:cNvSpPr>
              <p:nvPr/>
            </p:nvSpPr>
            <p:spPr bwMode="auto">
              <a:xfrm>
                <a:off x="1209" y="2614"/>
                <a:ext cx="46" cy="0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62" name="Line 151"/>
              <p:cNvSpPr>
                <a:spLocks noChangeShapeType="1"/>
              </p:cNvSpPr>
              <p:nvPr/>
            </p:nvSpPr>
            <p:spPr bwMode="auto">
              <a:xfrm>
                <a:off x="1209" y="2614"/>
                <a:ext cx="0" cy="4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63" name="Line 152"/>
              <p:cNvSpPr>
                <a:spLocks noChangeShapeType="1"/>
              </p:cNvSpPr>
              <p:nvPr/>
            </p:nvSpPr>
            <p:spPr bwMode="auto">
              <a:xfrm>
                <a:off x="1345" y="2795"/>
                <a:ext cx="46" cy="0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64" name="Line 153"/>
              <p:cNvSpPr>
                <a:spLocks noChangeShapeType="1"/>
              </p:cNvSpPr>
              <p:nvPr/>
            </p:nvSpPr>
            <p:spPr bwMode="auto">
              <a:xfrm>
                <a:off x="1391" y="2750"/>
                <a:ext cx="0" cy="4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sp>
        <p:nvSpPr>
          <p:cNvPr id="6231" name="AutoShape 154"/>
          <p:cNvSpPr>
            <a:spLocks noChangeArrowheads="1"/>
          </p:cNvSpPr>
          <p:nvPr/>
        </p:nvSpPr>
        <p:spPr bwMode="auto">
          <a:xfrm>
            <a:off x="8834439" y="4724436"/>
            <a:ext cx="1344612" cy="576263"/>
          </a:xfrm>
          <a:prstGeom prst="roundRect">
            <a:avLst>
              <a:gd name="adj" fmla="val 16667"/>
            </a:avLst>
          </a:prstGeom>
          <a:solidFill>
            <a:srgbClr val="C3C5D9"/>
          </a:solidFill>
          <a:ln w="9525" algn="ctr">
            <a:solidFill>
              <a:srgbClr val="00285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r"/>
            <a:r>
              <a:rPr lang="en-US" sz="1200">
                <a:solidFill>
                  <a:schemeClr val="tx2"/>
                </a:solidFill>
              </a:rPr>
              <a:t>High Touch</a:t>
            </a:r>
            <a:br>
              <a:rPr lang="en-US" sz="1200">
                <a:solidFill>
                  <a:schemeClr val="tx2"/>
                </a:solidFill>
              </a:rPr>
            </a:br>
            <a:r>
              <a:rPr lang="en-US" sz="1200">
                <a:solidFill>
                  <a:schemeClr val="tx2"/>
                </a:solidFill>
              </a:rPr>
              <a:t>Packet       </a:t>
            </a:r>
            <a:br>
              <a:rPr lang="en-US" sz="1200">
                <a:solidFill>
                  <a:schemeClr val="tx2"/>
                </a:solidFill>
              </a:rPr>
            </a:br>
            <a:r>
              <a:rPr lang="en-US" sz="1200">
                <a:solidFill>
                  <a:schemeClr val="tx2"/>
                </a:solidFill>
              </a:rPr>
              <a:t>Processing</a:t>
            </a:r>
          </a:p>
        </p:txBody>
      </p:sp>
      <p:grpSp>
        <p:nvGrpSpPr>
          <p:cNvPr id="6232" name="Group 155"/>
          <p:cNvGrpSpPr>
            <a:grpSpLocks/>
          </p:cNvGrpSpPr>
          <p:nvPr/>
        </p:nvGrpSpPr>
        <p:grpSpPr bwMode="auto">
          <a:xfrm>
            <a:off x="8905876" y="4867311"/>
            <a:ext cx="288925" cy="288925"/>
            <a:chOff x="710" y="2614"/>
            <a:chExt cx="272" cy="272"/>
          </a:xfrm>
        </p:grpSpPr>
        <p:sp>
          <p:nvSpPr>
            <p:cNvPr id="6244" name="AutoShape 156"/>
            <p:cNvSpPr>
              <a:spLocks noChangeArrowheads="1"/>
            </p:cNvSpPr>
            <p:nvPr/>
          </p:nvSpPr>
          <p:spPr bwMode="auto">
            <a:xfrm>
              <a:off x="710" y="2614"/>
              <a:ext cx="272" cy="272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chemeClr val="tx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1838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6245" name="Group 157"/>
            <p:cNvGrpSpPr>
              <a:grpSpLocks/>
            </p:cNvGrpSpPr>
            <p:nvPr/>
          </p:nvGrpSpPr>
          <p:grpSpPr bwMode="auto">
            <a:xfrm>
              <a:off x="756" y="2659"/>
              <a:ext cx="182" cy="181"/>
              <a:chOff x="1209" y="2614"/>
              <a:chExt cx="182" cy="181"/>
            </a:xfrm>
          </p:grpSpPr>
          <p:sp>
            <p:nvSpPr>
              <p:cNvPr id="6252" name="Line 158"/>
              <p:cNvSpPr>
                <a:spLocks noChangeShapeType="1"/>
              </p:cNvSpPr>
              <p:nvPr/>
            </p:nvSpPr>
            <p:spPr bwMode="auto">
              <a:xfrm>
                <a:off x="1209" y="2614"/>
                <a:ext cx="182" cy="181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53" name="Line 159"/>
              <p:cNvSpPr>
                <a:spLocks noChangeShapeType="1"/>
              </p:cNvSpPr>
              <p:nvPr/>
            </p:nvSpPr>
            <p:spPr bwMode="auto">
              <a:xfrm>
                <a:off x="1209" y="2614"/>
                <a:ext cx="46" cy="0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54" name="Line 160"/>
              <p:cNvSpPr>
                <a:spLocks noChangeShapeType="1"/>
              </p:cNvSpPr>
              <p:nvPr/>
            </p:nvSpPr>
            <p:spPr bwMode="auto">
              <a:xfrm>
                <a:off x="1209" y="2614"/>
                <a:ext cx="0" cy="4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55" name="Line 161"/>
              <p:cNvSpPr>
                <a:spLocks noChangeShapeType="1"/>
              </p:cNvSpPr>
              <p:nvPr/>
            </p:nvSpPr>
            <p:spPr bwMode="auto">
              <a:xfrm>
                <a:off x="1345" y="2795"/>
                <a:ext cx="46" cy="0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56" name="Line 162"/>
              <p:cNvSpPr>
                <a:spLocks noChangeShapeType="1"/>
              </p:cNvSpPr>
              <p:nvPr/>
            </p:nvSpPr>
            <p:spPr bwMode="auto">
              <a:xfrm>
                <a:off x="1391" y="2750"/>
                <a:ext cx="0" cy="4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6246" name="Group 163"/>
            <p:cNvGrpSpPr>
              <a:grpSpLocks/>
            </p:cNvGrpSpPr>
            <p:nvPr/>
          </p:nvGrpSpPr>
          <p:grpSpPr bwMode="auto">
            <a:xfrm rot="-5400000">
              <a:off x="756" y="2659"/>
              <a:ext cx="182" cy="181"/>
              <a:chOff x="1209" y="2614"/>
              <a:chExt cx="182" cy="181"/>
            </a:xfrm>
          </p:grpSpPr>
          <p:sp>
            <p:nvSpPr>
              <p:cNvPr id="6247" name="Line 164"/>
              <p:cNvSpPr>
                <a:spLocks noChangeShapeType="1"/>
              </p:cNvSpPr>
              <p:nvPr/>
            </p:nvSpPr>
            <p:spPr bwMode="auto">
              <a:xfrm>
                <a:off x="1209" y="2614"/>
                <a:ext cx="182" cy="181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48" name="Line 165"/>
              <p:cNvSpPr>
                <a:spLocks noChangeShapeType="1"/>
              </p:cNvSpPr>
              <p:nvPr/>
            </p:nvSpPr>
            <p:spPr bwMode="auto">
              <a:xfrm>
                <a:off x="1209" y="2614"/>
                <a:ext cx="46" cy="0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49" name="Line 166"/>
              <p:cNvSpPr>
                <a:spLocks noChangeShapeType="1"/>
              </p:cNvSpPr>
              <p:nvPr/>
            </p:nvSpPr>
            <p:spPr bwMode="auto">
              <a:xfrm>
                <a:off x="1209" y="2614"/>
                <a:ext cx="0" cy="4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50" name="Line 167"/>
              <p:cNvSpPr>
                <a:spLocks noChangeShapeType="1"/>
              </p:cNvSpPr>
              <p:nvPr/>
            </p:nvSpPr>
            <p:spPr bwMode="auto">
              <a:xfrm>
                <a:off x="1345" y="2795"/>
                <a:ext cx="46" cy="0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51" name="Line 168"/>
              <p:cNvSpPr>
                <a:spLocks noChangeShapeType="1"/>
              </p:cNvSpPr>
              <p:nvPr/>
            </p:nvSpPr>
            <p:spPr bwMode="auto">
              <a:xfrm>
                <a:off x="1391" y="2750"/>
                <a:ext cx="0" cy="4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1838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sp>
        <p:nvSpPr>
          <p:cNvPr id="6233" name="Line 169"/>
          <p:cNvSpPr>
            <a:spLocks noChangeShapeType="1"/>
          </p:cNvSpPr>
          <p:nvPr/>
        </p:nvSpPr>
        <p:spPr bwMode="auto">
          <a:xfrm>
            <a:off x="8832851" y="4672013"/>
            <a:ext cx="1081088" cy="0"/>
          </a:xfrm>
          <a:prstGeom prst="line">
            <a:avLst/>
          </a:prstGeom>
          <a:noFill/>
          <a:ln w="19050">
            <a:solidFill>
              <a:schemeClr val="tx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1838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234" name="Line 170"/>
          <p:cNvSpPr>
            <a:spLocks noChangeShapeType="1"/>
          </p:cNvSpPr>
          <p:nvPr/>
        </p:nvSpPr>
        <p:spPr bwMode="auto">
          <a:xfrm flipV="1">
            <a:off x="6673851" y="3068638"/>
            <a:ext cx="1943100" cy="1655762"/>
          </a:xfrm>
          <a:prstGeom prst="line">
            <a:avLst/>
          </a:prstGeom>
          <a:noFill/>
          <a:ln w="28575">
            <a:solidFill>
              <a:srgbClr val="8F3F7B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56264A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235" name="Line 171"/>
          <p:cNvSpPr>
            <a:spLocks noChangeShapeType="1"/>
          </p:cNvSpPr>
          <p:nvPr/>
        </p:nvSpPr>
        <p:spPr bwMode="auto">
          <a:xfrm flipV="1">
            <a:off x="6673851" y="2854325"/>
            <a:ext cx="1727200" cy="1295400"/>
          </a:xfrm>
          <a:prstGeom prst="line">
            <a:avLst/>
          </a:prstGeom>
          <a:noFill/>
          <a:ln w="28575">
            <a:solidFill>
              <a:schemeClr val="tx1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353536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236" name="Line 172"/>
          <p:cNvSpPr>
            <a:spLocks noChangeShapeType="1"/>
          </p:cNvSpPr>
          <p:nvPr/>
        </p:nvSpPr>
        <p:spPr bwMode="auto">
          <a:xfrm>
            <a:off x="6673850" y="4221163"/>
            <a:ext cx="2087563" cy="146050"/>
          </a:xfrm>
          <a:prstGeom prst="line">
            <a:avLst/>
          </a:prstGeom>
          <a:noFill/>
          <a:ln w="28575">
            <a:solidFill>
              <a:schemeClr val="tx1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353536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237" name="Line 173"/>
          <p:cNvSpPr>
            <a:spLocks noChangeShapeType="1"/>
          </p:cNvSpPr>
          <p:nvPr/>
        </p:nvSpPr>
        <p:spPr bwMode="auto">
          <a:xfrm flipV="1">
            <a:off x="6672287" y="5084799"/>
            <a:ext cx="1944687" cy="288925"/>
          </a:xfrm>
          <a:prstGeom prst="line">
            <a:avLst/>
          </a:prstGeom>
          <a:noFill/>
          <a:ln w="28575">
            <a:solidFill>
              <a:schemeClr val="tx2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1838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238" name="Line 174"/>
          <p:cNvSpPr>
            <a:spLocks noChangeShapeType="1"/>
          </p:cNvSpPr>
          <p:nvPr/>
        </p:nvSpPr>
        <p:spPr bwMode="auto">
          <a:xfrm flipH="1">
            <a:off x="9985375" y="3284542"/>
            <a:ext cx="215900" cy="1368425"/>
          </a:xfrm>
          <a:prstGeom prst="line">
            <a:avLst/>
          </a:prstGeom>
          <a:noFill/>
          <a:ln w="28575">
            <a:solidFill>
              <a:schemeClr val="tx1"/>
            </a:solidFill>
            <a:prstDash val="lgDash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353536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239" name="Line 175"/>
          <p:cNvSpPr>
            <a:spLocks noChangeShapeType="1"/>
          </p:cNvSpPr>
          <p:nvPr/>
        </p:nvSpPr>
        <p:spPr bwMode="auto">
          <a:xfrm>
            <a:off x="10345739" y="3284538"/>
            <a:ext cx="431800" cy="2089150"/>
          </a:xfrm>
          <a:prstGeom prst="line">
            <a:avLst/>
          </a:prstGeom>
          <a:noFill/>
          <a:ln w="28575">
            <a:solidFill>
              <a:schemeClr val="tx1"/>
            </a:solidFill>
            <a:prstDash val="lgDash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353536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6240" name="Group 176"/>
          <p:cNvGrpSpPr>
            <a:grpSpLocks/>
          </p:cNvGrpSpPr>
          <p:nvPr/>
        </p:nvGrpSpPr>
        <p:grpSpPr bwMode="auto">
          <a:xfrm>
            <a:off x="7177112" y="3213108"/>
            <a:ext cx="1298575" cy="790575"/>
            <a:chOff x="4656" y="709"/>
            <a:chExt cx="818" cy="498"/>
          </a:xfrm>
        </p:grpSpPr>
        <p:sp>
          <p:nvSpPr>
            <p:cNvPr id="6242" name="Rectangle 177"/>
            <p:cNvSpPr>
              <a:spLocks noChangeArrowheads="1"/>
            </p:cNvSpPr>
            <p:nvPr/>
          </p:nvSpPr>
          <p:spPr bwMode="auto">
            <a:xfrm>
              <a:off x="4690" y="811"/>
              <a:ext cx="590" cy="2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999999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243" name="Freeform 8"/>
            <p:cNvSpPr>
              <a:spLocks/>
            </p:cNvSpPr>
            <p:nvPr/>
          </p:nvSpPr>
          <p:spPr bwMode="auto">
            <a:xfrm>
              <a:off x="4656" y="709"/>
              <a:ext cx="818" cy="498"/>
            </a:xfrm>
            <a:custGeom>
              <a:avLst/>
              <a:gdLst>
                <a:gd name="T0" fmla="*/ 2147483647 w 545"/>
                <a:gd name="T1" fmla="*/ 2147483647 h 226"/>
                <a:gd name="T2" fmla="*/ 2147483647 w 545"/>
                <a:gd name="T3" fmla="*/ 2147483647 h 226"/>
                <a:gd name="T4" fmla="*/ 2147483647 w 545"/>
                <a:gd name="T5" fmla="*/ 2147483647 h 226"/>
                <a:gd name="T6" fmla="*/ 0 w 545"/>
                <a:gd name="T7" fmla="*/ 2147483647 h 226"/>
                <a:gd name="T8" fmla="*/ 2147483647 w 545"/>
                <a:gd name="T9" fmla="*/ 2147483647 h 226"/>
                <a:gd name="T10" fmla="*/ 2147483647 w 545"/>
                <a:gd name="T11" fmla="*/ 2147483647 h 226"/>
                <a:gd name="T12" fmla="*/ 2147483647 w 545"/>
                <a:gd name="T13" fmla="*/ 2147483647 h 226"/>
                <a:gd name="T14" fmla="*/ 2147483647 w 545"/>
                <a:gd name="T15" fmla="*/ 2147483647 h 226"/>
                <a:gd name="T16" fmla="*/ 2147483647 w 545"/>
                <a:gd name="T17" fmla="*/ 0 h 226"/>
                <a:gd name="T18" fmla="*/ 2147483647 w 545"/>
                <a:gd name="T19" fmla="*/ 2147483647 h 226"/>
                <a:gd name="T20" fmla="*/ 2147483647 w 545"/>
                <a:gd name="T21" fmla="*/ 2147483647 h 226"/>
                <a:gd name="T22" fmla="*/ 2147483647 w 545"/>
                <a:gd name="T23" fmla="*/ 2147483647 h 226"/>
                <a:gd name="T24" fmla="*/ 2147483647 w 545"/>
                <a:gd name="T25" fmla="*/ 2147483647 h 226"/>
                <a:gd name="T26" fmla="*/ 2147483647 w 545"/>
                <a:gd name="T27" fmla="*/ 2147483647 h 226"/>
                <a:gd name="T28" fmla="*/ 2147483647 w 545"/>
                <a:gd name="T29" fmla="*/ 2147483647 h 226"/>
                <a:gd name="T30" fmla="*/ 2147483647 w 545"/>
                <a:gd name="T31" fmla="*/ 2147483647 h 226"/>
                <a:gd name="T32" fmla="*/ 2147483647 w 545"/>
                <a:gd name="T33" fmla="*/ 2147483647 h 226"/>
                <a:gd name="T34" fmla="*/ 2147483647 w 545"/>
                <a:gd name="T35" fmla="*/ 2147483647 h 226"/>
                <a:gd name="T36" fmla="*/ 2147483647 w 545"/>
                <a:gd name="T37" fmla="*/ 2147483647 h 226"/>
                <a:gd name="T38" fmla="*/ 2147483647 w 545"/>
                <a:gd name="T39" fmla="*/ 2147483647 h 226"/>
                <a:gd name="T40" fmla="*/ 2147483647 w 545"/>
                <a:gd name="T41" fmla="*/ 2147483647 h 226"/>
                <a:gd name="T42" fmla="*/ 2147483647 w 545"/>
                <a:gd name="T43" fmla="*/ 2147483647 h 226"/>
                <a:gd name="T44" fmla="*/ 2147483647 w 545"/>
                <a:gd name="T45" fmla="*/ 2147483647 h 226"/>
                <a:gd name="T46" fmla="*/ 2147483647 w 545"/>
                <a:gd name="T47" fmla="*/ 2147483647 h 226"/>
                <a:gd name="T48" fmla="*/ 2147483647 w 545"/>
                <a:gd name="T49" fmla="*/ 2147483647 h 226"/>
                <a:gd name="T50" fmla="*/ 2147483647 w 545"/>
                <a:gd name="T51" fmla="*/ 2147483647 h 226"/>
                <a:gd name="T52" fmla="*/ 2147483647 w 545"/>
                <a:gd name="T53" fmla="*/ 2147483647 h 226"/>
                <a:gd name="T54" fmla="*/ 2147483647 w 545"/>
                <a:gd name="T55" fmla="*/ 2147483647 h 226"/>
                <a:gd name="T56" fmla="*/ 2147483647 w 545"/>
                <a:gd name="T57" fmla="*/ 2147483647 h 226"/>
                <a:gd name="T58" fmla="*/ 2147483647 w 545"/>
                <a:gd name="T59" fmla="*/ 2147483647 h 226"/>
                <a:gd name="T60" fmla="*/ 2147483647 w 545"/>
                <a:gd name="T61" fmla="*/ 2147483647 h 226"/>
                <a:gd name="T62" fmla="*/ 2147483647 w 545"/>
                <a:gd name="T63" fmla="*/ 2147483647 h 226"/>
                <a:gd name="T64" fmla="*/ 2147483647 w 545"/>
                <a:gd name="T65" fmla="*/ 2147483647 h 226"/>
                <a:gd name="T66" fmla="*/ 2147483647 w 545"/>
                <a:gd name="T67" fmla="*/ 2147483647 h 226"/>
                <a:gd name="T68" fmla="*/ 2147483647 w 545"/>
                <a:gd name="T69" fmla="*/ 2147483647 h 226"/>
                <a:gd name="T70" fmla="*/ 2147483647 w 545"/>
                <a:gd name="T71" fmla="*/ 2147483647 h 226"/>
                <a:gd name="T72" fmla="*/ 2147483647 w 545"/>
                <a:gd name="T73" fmla="*/ 2147483647 h 226"/>
                <a:gd name="T74" fmla="*/ 2147483647 w 545"/>
                <a:gd name="T75" fmla="*/ 2147483647 h 226"/>
                <a:gd name="T76" fmla="*/ 2147483647 w 545"/>
                <a:gd name="T77" fmla="*/ 2147483647 h 226"/>
                <a:gd name="T78" fmla="*/ 2147483647 w 545"/>
                <a:gd name="T79" fmla="*/ 2147483647 h 226"/>
                <a:gd name="T80" fmla="*/ 2147483647 w 545"/>
                <a:gd name="T81" fmla="*/ 2147483647 h 226"/>
                <a:gd name="T82" fmla="*/ 2147483647 w 545"/>
                <a:gd name="T83" fmla="*/ 2147483647 h 226"/>
                <a:gd name="T84" fmla="*/ 2147483647 w 545"/>
                <a:gd name="T85" fmla="*/ 2147483647 h 22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45"/>
                <a:gd name="T130" fmla="*/ 0 h 226"/>
                <a:gd name="T131" fmla="*/ 545 w 545"/>
                <a:gd name="T132" fmla="*/ 226 h 22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45" h="226">
                  <a:moveTo>
                    <a:pt x="396" y="218"/>
                  </a:moveTo>
                  <a:cubicBezTo>
                    <a:pt x="392" y="213"/>
                    <a:pt x="391" y="207"/>
                    <a:pt x="390" y="200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0" y="197"/>
                    <a:pt x="390" y="194"/>
                    <a:pt x="390" y="191"/>
                  </a:cubicBezTo>
                  <a:cubicBezTo>
                    <a:pt x="390" y="191"/>
                    <a:pt x="390" y="191"/>
                    <a:pt x="390" y="191"/>
                  </a:cubicBezTo>
                  <a:cubicBezTo>
                    <a:pt x="22" y="191"/>
                    <a:pt x="22" y="191"/>
                    <a:pt x="22" y="191"/>
                  </a:cubicBezTo>
                  <a:cubicBezTo>
                    <a:pt x="10" y="191"/>
                    <a:pt x="0" y="181"/>
                    <a:pt x="0" y="169"/>
                  </a:cubicBezTo>
                  <a:cubicBezTo>
                    <a:pt x="0" y="169"/>
                    <a:pt x="0" y="169"/>
                    <a:pt x="0" y="169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5"/>
                    <a:pt x="10" y="35"/>
                    <a:pt x="22" y="35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390" y="35"/>
                    <a:pt x="390" y="35"/>
                    <a:pt x="390" y="35"/>
                  </a:cubicBezTo>
                  <a:cubicBezTo>
                    <a:pt x="390" y="32"/>
                    <a:pt x="390" y="29"/>
                    <a:pt x="390" y="26"/>
                  </a:cubicBezTo>
                  <a:cubicBezTo>
                    <a:pt x="390" y="26"/>
                    <a:pt x="390" y="26"/>
                    <a:pt x="390" y="26"/>
                  </a:cubicBezTo>
                  <a:cubicBezTo>
                    <a:pt x="391" y="19"/>
                    <a:pt x="392" y="13"/>
                    <a:pt x="395" y="8"/>
                  </a:cubicBezTo>
                  <a:cubicBezTo>
                    <a:pt x="395" y="8"/>
                    <a:pt x="395" y="8"/>
                    <a:pt x="395" y="8"/>
                  </a:cubicBezTo>
                  <a:cubicBezTo>
                    <a:pt x="398" y="3"/>
                    <a:pt x="404" y="0"/>
                    <a:pt x="410" y="0"/>
                  </a:cubicBezTo>
                  <a:cubicBezTo>
                    <a:pt x="410" y="0"/>
                    <a:pt x="410" y="0"/>
                    <a:pt x="410" y="0"/>
                  </a:cubicBezTo>
                  <a:cubicBezTo>
                    <a:pt x="417" y="0"/>
                    <a:pt x="422" y="3"/>
                    <a:pt x="428" y="7"/>
                  </a:cubicBezTo>
                  <a:cubicBezTo>
                    <a:pt x="428" y="7"/>
                    <a:pt x="428" y="7"/>
                    <a:pt x="428" y="7"/>
                  </a:cubicBezTo>
                  <a:cubicBezTo>
                    <a:pt x="429" y="7"/>
                    <a:pt x="429" y="7"/>
                    <a:pt x="429" y="8"/>
                  </a:cubicBezTo>
                  <a:cubicBezTo>
                    <a:pt x="429" y="8"/>
                    <a:pt x="429" y="8"/>
                    <a:pt x="429" y="8"/>
                  </a:cubicBezTo>
                  <a:cubicBezTo>
                    <a:pt x="430" y="8"/>
                    <a:pt x="430" y="8"/>
                    <a:pt x="431" y="9"/>
                  </a:cubicBezTo>
                  <a:cubicBezTo>
                    <a:pt x="431" y="9"/>
                    <a:pt x="431" y="9"/>
                    <a:pt x="431" y="9"/>
                  </a:cubicBezTo>
                  <a:cubicBezTo>
                    <a:pt x="432" y="10"/>
                    <a:pt x="434" y="11"/>
                    <a:pt x="436" y="13"/>
                  </a:cubicBezTo>
                  <a:cubicBezTo>
                    <a:pt x="436" y="13"/>
                    <a:pt x="436" y="13"/>
                    <a:pt x="436" y="13"/>
                  </a:cubicBezTo>
                  <a:cubicBezTo>
                    <a:pt x="441" y="17"/>
                    <a:pt x="447" y="22"/>
                    <a:pt x="455" y="28"/>
                  </a:cubicBezTo>
                  <a:cubicBezTo>
                    <a:pt x="455" y="28"/>
                    <a:pt x="455" y="28"/>
                    <a:pt x="455" y="28"/>
                  </a:cubicBezTo>
                  <a:cubicBezTo>
                    <a:pt x="455" y="28"/>
                    <a:pt x="455" y="28"/>
                    <a:pt x="455" y="28"/>
                  </a:cubicBezTo>
                  <a:cubicBezTo>
                    <a:pt x="458" y="31"/>
                    <a:pt x="459" y="36"/>
                    <a:pt x="456" y="39"/>
                  </a:cubicBezTo>
                  <a:cubicBezTo>
                    <a:pt x="456" y="39"/>
                    <a:pt x="456" y="39"/>
                    <a:pt x="456" y="39"/>
                  </a:cubicBezTo>
                  <a:cubicBezTo>
                    <a:pt x="453" y="43"/>
                    <a:pt x="448" y="43"/>
                    <a:pt x="445" y="40"/>
                  </a:cubicBezTo>
                  <a:cubicBezTo>
                    <a:pt x="445" y="40"/>
                    <a:pt x="445" y="40"/>
                    <a:pt x="445" y="40"/>
                  </a:cubicBezTo>
                  <a:cubicBezTo>
                    <a:pt x="431" y="29"/>
                    <a:pt x="420" y="21"/>
                    <a:pt x="419" y="20"/>
                  </a:cubicBezTo>
                  <a:cubicBezTo>
                    <a:pt x="419" y="20"/>
                    <a:pt x="419" y="20"/>
                    <a:pt x="419" y="20"/>
                  </a:cubicBezTo>
                  <a:cubicBezTo>
                    <a:pt x="415" y="17"/>
                    <a:pt x="411" y="16"/>
                    <a:pt x="410" y="16"/>
                  </a:cubicBezTo>
                  <a:cubicBezTo>
                    <a:pt x="410" y="16"/>
                    <a:pt x="410" y="16"/>
                    <a:pt x="410" y="16"/>
                  </a:cubicBezTo>
                  <a:cubicBezTo>
                    <a:pt x="409" y="16"/>
                    <a:pt x="409" y="16"/>
                    <a:pt x="408" y="17"/>
                  </a:cubicBezTo>
                  <a:cubicBezTo>
                    <a:pt x="408" y="17"/>
                    <a:pt x="408" y="17"/>
                    <a:pt x="408" y="17"/>
                  </a:cubicBezTo>
                  <a:cubicBezTo>
                    <a:pt x="408" y="18"/>
                    <a:pt x="407" y="21"/>
                    <a:pt x="406" y="27"/>
                  </a:cubicBezTo>
                  <a:cubicBezTo>
                    <a:pt x="406" y="27"/>
                    <a:pt x="406" y="27"/>
                    <a:pt x="406" y="27"/>
                  </a:cubicBezTo>
                  <a:cubicBezTo>
                    <a:pt x="406" y="31"/>
                    <a:pt x="406" y="36"/>
                    <a:pt x="406" y="43"/>
                  </a:cubicBezTo>
                  <a:cubicBezTo>
                    <a:pt x="406" y="43"/>
                    <a:pt x="406" y="43"/>
                    <a:pt x="406" y="43"/>
                  </a:cubicBezTo>
                  <a:cubicBezTo>
                    <a:pt x="406" y="47"/>
                    <a:pt x="403" y="51"/>
                    <a:pt x="398" y="51"/>
                  </a:cubicBezTo>
                  <a:cubicBezTo>
                    <a:pt x="398" y="51"/>
                    <a:pt x="398" y="51"/>
                    <a:pt x="398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19" y="51"/>
                    <a:pt x="16" y="54"/>
                    <a:pt x="16" y="57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6" y="169"/>
                    <a:pt x="16" y="169"/>
                    <a:pt x="16" y="169"/>
                  </a:cubicBezTo>
                  <a:cubicBezTo>
                    <a:pt x="16" y="172"/>
                    <a:pt x="19" y="175"/>
                    <a:pt x="22" y="175"/>
                  </a:cubicBezTo>
                  <a:cubicBezTo>
                    <a:pt x="22" y="175"/>
                    <a:pt x="22" y="175"/>
                    <a:pt x="22" y="175"/>
                  </a:cubicBezTo>
                  <a:cubicBezTo>
                    <a:pt x="398" y="175"/>
                    <a:pt x="398" y="175"/>
                    <a:pt x="398" y="175"/>
                  </a:cubicBezTo>
                  <a:cubicBezTo>
                    <a:pt x="403" y="175"/>
                    <a:pt x="406" y="179"/>
                    <a:pt x="406" y="183"/>
                  </a:cubicBezTo>
                  <a:cubicBezTo>
                    <a:pt x="406" y="183"/>
                    <a:pt x="406" y="183"/>
                    <a:pt x="406" y="183"/>
                  </a:cubicBezTo>
                  <a:cubicBezTo>
                    <a:pt x="406" y="190"/>
                    <a:pt x="406" y="196"/>
                    <a:pt x="406" y="200"/>
                  </a:cubicBezTo>
                  <a:cubicBezTo>
                    <a:pt x="406" y="200"/>
                    <a:pt x="406" y="200"/>
                    <a:pt x="406" y="200"/>
                  </a:cubicBezTo>
                  <a:cubicBezTo>
                    <a:pt x="407" y="205"/>
                    <a:pt x="408" y="208"/>
                    <a:pt x="409" y="209"/>
                  </a:cubicBezTo>
                  <a:cubicBezTo>
                    <a:pt x="409" y="209"/>
                    <a:pt x="409" y="209"/>
                    <a:pt x="409" y="209"/>
                  </a:cubicBezTo>
                  <a:cubicBezTo>
                    <a:pt x="409" y="210"/>
                    <a:pt x="410" y="210"/>
                    <a:pt x="411" y="210"/>
                  </a:cubicBezTo>
                  <a:cubicBezTo>
                    <a:pt x="411" y="210"/>
                    <a:pt x="411" y="210"/>
                    <a:pt x="411" y="210"/>
                  </a:cubicBezTo>
                  <a:cubicBezTo>
                    <a:pt x="412" y="210"/>
                    <a:pt x="415" y="209"/>
                    <a:pt x="419" y="207"/>
                  </a:cubicBezTo>
                  <a:cubicBezTo>
                    <a:pt x="419" y="207"/>
                    <a:pt x="419" y="207"/>
                    <a:pt x="419" y="207"/>
                  </a:cubicBezTo>
                  <a:cubicBezTo>
                    <a:pt x="431" y="196"/>
                    <a:pt x="512" y="133"/>
                    <a:pt x="523" y="124"/>
                  </a:cubicBezTo>
                  <a:cubicBezTo>
                    <a:pt x="523" y="124"/>
                    <a:pt x="523" y="124"/>
                    <a:pt x="523" y="124"/>
                  </a:cubicBezTo>
                  <a:cubicBezTo>
                    <a:pt x="528" y="120"/>
                    <a:pt x="529" y="117"/>
                    <a:pt x="529" y="113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109"/>
                    <a:pt x="528" y="107"/>
                    <a:pt x="523" y="103"/>
                  </a:cubicBezTo>
                  <a:cubicBezTo>
                    <a:pt x="523" y="103"/>
                    <a:pt x="523" y="103"/>
                    <a:pt x="523" y="103"/>
                  </a:cubicBezTo>
                  <a:cubicBezTo>
                    <a:pt x="522" y="102"/>
                    <a:pt x="494" y="79"/>
                    <a:pt x="467" y="58"/>
                  </a:cubicBezTo>
                  <a:cubicBezTo>
                    <a:pt x="467" y="58"/>
                    <a:pt x="467" y="58"/>
                    <a:pt x="467" y="58"/>
                  </a:cubicBezTo>
                  <a:cubicBezTo>
                    <a:pt x="463" y="55"/>
                    <a:pt x="463" y="50"/>
                    <a:pt x="466" y="47"/>
                  </a:cubicBezTo>
                  <a:cubicBezTo>
                    <a:pt x="466" y="47"/>
                    <a:pt x="466" y="47"/>
                    <a:pt x="466" y="47"/>
                  </a:cubicBezTo>
                  <a:cubicBezTo>
                    <a:pt x="468" y="43"/>
                    <a:pt x="473" y="43"/>
                    <a:pt x="477" y="45"/>
                  </a:cubicBezTo>
                  <a:cubicBezTo>
                    <a:pt x="477" y="45"/>
                    <a:pt x="477" y="45"/>
                    <a:pt x="477" y="45"/>
                  </a:cubicBezTo>
                  <a:cubicBezTo>
                    <a:pt x="504" y="67"/>
                    <a:pt x="532" y="89"/>
                    <a:pt x="533" y="90"/>
                  </a:cubicBezTo>
                  <a:cubicBezTo>
                    <a:pt x="533" y="90"/>
                    <a:pt x="533" y="90"/>
                    <a:pt x="533" y="90"/>
                  </a:cubicBezTo>
                  <a:cubicBezTo>
                    <a:pt x="540" y="96"/>
                    <a:pt x="545" y="104"/>
                    <a:pt x="545" y="113"/>
                  </a:cubicBezTo>
                  <a:cubicBezTo>
                    <a:pt x="545" y="113"/>
                    <a:pt x="545" y="113"/>
                    <a:pt x="545" y="113"/>
                  </a:cubicBezTo>
                  <a:cubicBezTo>
                    <a:pt x="545" y="122"/>
                    <a:pt x="540" y="131"/>
                    <a:pt x="533" y="136"/>
                  </a:cubicBezTo>
                  <a:cubicBezTo>
                    <a:pt x="533" y="136"/>
                    <a:pt x="533" y="136"/>
                    <a:pt x="533" y="136"/>
                  </a:cubicBezTo>
                  <a:cubicBezTo>
                    <a:pt x="522" y="145"/>
                    <a:pt x="441" y="209"/>
                    <a:pt x="429" y="219"/>
                  </a:cubicBezTo>
                  <a:cubicBezTo>
                    <a:pt x="429" y="219"/>
                    <a:pt x="429" y="219"/>
                    <a:pt x="429" y="219"/>
                  </a:cubicBezTo>
                  <a:cubicBezTo>
                    <a:pt x="423" y="223"/>
                    <a:pt x="417" y="226"/>
                    <a:pt x="411" y="226"/>
                  </a:cubicBezTo>
                  <a:cubicBezTo>
                    <a:pt x="411" y="226"/>
                    <a:pt x="411" y="226"/>
                    <a:pt x="411" y="226"/>
                  </a:cubicBezTo>
                  <a:cubicBezTo>
                    <a:pt x="411" y="226"/>
                    <a:pt x="411" y="226"/>
                    <a:pt x="410" y="226"/>
                  </a:cubicBezTo>
                  <a:cubicBezTo>
                    <a:pt x="410" y="226"/>
                    <a:pt x="410" y="226"/>
                    <a:pt x="410" y="226"/>
                  </a:cubicBezTo>
                  <a:cubicBezTo>
                    <a:pt x="405" y="226"/>
                    <a:pt x="399" y="223"/>
                    <a:pt x="396" y="21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26000" anchor="ctr"/>
            <a:lstStyle/>
            <a:p>
              <a:pPr>
                <a:spcBef>
                  <a:spcPct val="50000"/>
                </a:spcBef>
              </a:pPr>
              <a:r>
                <a:rPr lang="sv-SE" sz="1600" dirty="0" smtClean="0">
                  <a:solidFill>
                    <a:srgbClr val="00285F"/>
                  </a:solidFill>
                </a:rPr>
                <a:t>SP- SDN</a:t>
              </a:r>
              <a:endParaRPr lang="sv-SE" sz="1600" dirty="0">
                <a:solidFill>
                  <a:srgbClr val="00285F"/>
                </a:solidFill>
              </a:endParaRPr>
            </a:p>
          </p:txBody>
        </p:sp>
      </p:grpSp>
      <p:sp>
        <p:nvSpPr>
          <p:cNvPr id="225459" name="Text Box 179"/>
          <p:cNvSpPr txBox="1">
            <a:spLocks noChangeArrowheads="1"/>
          </p:cNvSpPr>
          <p:nvPr/>
        </p:nvSpPr>
        <p:spPr bwMode="auto">
          <a:xfrm>
            <a:off x="3935435" y="3860801"/>
            <a:ext cx="1151277" cy="52322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tx2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400">
                <a:ea typeface="ＭＳ Ｐゴシック" pitchFamily="34" charset="-128"/>
              </a:rPr>
              <a:t>Network</a:t>
            </a:r>
            <a:br>
              <a:rPr lang="en-US" sz="1400">
                <a:ea typeface="ＭＳ Ｐゴシック" pitchFamily="34" charset="-128"/>
              </a:rPr>
            </a:br>
            <a:r>
              <a:rPr lang="en-US" sz="1400">
                <a:ea typeface="ＭＳ Ｐゴシック" pitchFamily="34" charset="-128"/>
              </a:rPr>
              <a:t>Applications</a:t>
            </a:r>
          </a:p>
        </p:txBody>
      </p:sp>
    </p:spTree>
    <p:extLst>
      <p:ext uri="{BB962C8B-B14F-4D97-AF65-F5344CB8AC3E}">
        <p14:creationId xmlns:p14="http://schemas.microsoft.com/office/powerpoint/2010/main" val="3269950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346" name="Picture 4" descr="C:\Users\eratogo\Pictures\cloud-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347" name="Content Placeholder 1"/>
          <p:cNvSpPr>
            <a:spLocks noGrp="1"/>
          </p:cNvSpPr>
          <p:nvPr>
            <p:ph idx="1"/>
          </p:nvPr>
        </p:nvSpPr>
        <p:spPr>
          <a:xfrm>
            <a:off x="346075" y="1284288"/>
            <a:ext cx="11136313" cy="3852862"/>
          </a:xfrm>
        </p:spPr>
        <p:txBody>
          <a:bodyPr/>
          <a:lstStyle/>
          <a:p>
            <a:pPr algn="just"/>
            <a:r>
              <a:rPr lang="en-US" dirty="0" smtClean="0">
                <a:solidFill>
                  <a:schemeClr val="bg1"/>
                </a:solidFill>
              </a:rPr>
              <a:t>The Network Enabled Cloud will enhance the ability of ‘network applications’ to elastically scale to meet changing demand patterns in the networked society.</a:t>
            </a:r>
          </a:p>
          <a:p>
            <a:pPr algn="just"/>
            <a:endParaRPr lang="en-US" dirty="0" smtClean="0">
              <a:solidFill>
                <a:schemeClr val="bg1"/>
              </a:solidFill>
            </a:endParaRPr>
          </a:p>
          <a:p>
            <a:pPr algn="just"/>
            <a:r>
              <a:rPr lang="en-US" dirty="0" smtClean="0">
                <a:solidFill>
                  <a:schemeClr val="bg1"/>
                </a:solidFill>
              </a:rPr>
              <a:t>NFV and SDN also create new value propositions </a:t>
            </a:r>
          </a:p>
          <a:p>
            <a:pPr lvl="1" algn="just"/>
            <a:r>
              <a:rPr lang="en-US" b="1" dirty="0" smtClean="0">
                <a:solidFill>
                  <a:schemeClr val="bg1"/>
                </a:solidFill>
              </a:rPr>
              <a:t>Slicing </a:t>
            </a:r>
            <a:r>
              <a:rPr lang="en-US" dirty="0" smtClean="0">
                <a:solidFill>
                  <a:schemeClr val="bg1"/>
                </a:solidFill>
              </a:rPr>
              <a:t>to create individual, deterministic, automated and optimized DC and WAN networks </a:t>
            </a:r>
          </a:p>
          <a:p>
            <a:pPr lvl="1" algn="just"/>
            <a:r>
              <a:rPr lang="en-US" b="1" dirty="0" smtClean="0">
                <a:solidFill>
                  <a:schemeClr val="bg1"/>
                </a:solidFill>
              </a:rPr>
              <a:t>Simplification of operations </a:t>
            </a:r>
            <a:r>
              <a:rPr lang="en-US" dirty="0" smtClean="0">
                <a:solidFill>
                  <a:schemeClr val="bg1"/>
                </a:solidFill>
              </a:rPr>
              <a:t>(provisioning, management, on-boarding) </a:t>
            </a:r>
          </a:p>
          <a:p>
            <a:pPr lvl="1" algn="just"/>
            <a:r>
              <a:rPr lang="en-US" b="1" dirty="0" smtClean="0">
                <a:solidFill>
                  <a:schemeClr val="bg1"/>
                </a:solidFill>
              </a:rPr>
              <a:t>Flexibility </a:t>
            </a:r>
            <a:r>
              <a:rPr lang="en-US" dirty="0" smtClean="0">
                <a:solidFill>
                  <a:schemeClr val="bg1"/>
                </a:solidFill>
              </a:rPr>
              <a:t>to roll out innovative applications quickly and with low risk (new revenue opportunities) </a:t>
            </a:r>
          </a:p>
          <a:p>
            <a:pPr algn="just"/>
            <a:endParaRPr lang="en-US" dirty="0" smtClean="0">
              <a:solidFill>
                <a:schemeClr val="bg1"/>
              </a:solidFill>
            </a:endParaRPr>
          </a:p>
          <a:p>
            <a:pPr algn="just"/>
            <a:r>
              <a:rPr lang="en-US" dirty="0" smtClean="0">
                <a:solidFill>
                  <a:srgbClr val="000000"/>
                </a:solidFill>
              </a:rPr>
              <a:t>The Cloud Solution should provide a seamless and stepwise migration with maximum reuse of the current installed hardware and software</a:t>
            </a:r>
            <a:endParaRPr lang="en-US" altLang="sv-SE" dirty="0" smtClean="0">
              <a:solidFill>
                <a:srgbClr val="000000"/>
              </a:solidFill>
            </a:endParaRPr>
          </a:p>
        </p:txBody>
      </p:sp>
      <p:sp>
        <p:nvSpPr>
          <p:cNvPr id="57348" name="Title 2"/>
          <p:cNvSpPr>
            <a:spLocks noGrp="1"/>
          </p:cNvSpPr>
          <p:nvPr>
            <p:ph type="title"/>
          </p:nvPr>
        </p:nvSpPr>
        <p:spPr>
          <a:xfrm>
            <a:off x="525463" y="239713"/>
            <a:ext cx="9991725" cy="1085850"/>
          </a:xfrm>
        </p:spPr>
        <p:txBody>
          <a:bodyPr/>
          <a:lstStyle/>
          <a:p>
            <a:r>
              <a:rPr lang="en-US" altLang="sv-SE" smtClean="0">
                <a:solidFill>
                  <a:schemeClr val="bg1"/>
                </a:solidFill>
                <a:latin typeface="Ericsson Capital TT" pitchFamily="2" charset="0"/>
              </a:rPr>
              <a:t>Summary</a:t>
            </a:r>
          </a:p>
        </p:txBody>
      </p:sp>
      <p:pic>
        <p:nvPicPr>
          <p:cNvPr id="57349" name="Logo20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41000" y="320675"/>
            <a:ext cx="1027113" cy="901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5036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111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3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524933" y="260350"/>
            <a:ext cx="9992784" cy="1085850"/>
          </a:xfrm>
        </p:spPr>
        <p:txBody>
          <a:bodyPr/>
          <a:lstStyle/>
          <a:p>
            <a:r>
              <a:rPr lang="pt-BR" sz="5400" smtClean="0">
                <a:solidFill>
                  <a:srgbClr val="002060"/>
                </a:solidFill>
                <a:latin typeface="Ericsson Capital TT" pitchFamily="2" charset="0"/>
                <a:sym typeface="Arial" charset="0"/>
              </a:rPr>
              <a:t>JOIN THE CONVERSATION</a:t>
            </a:r>
          </a:p>
        </p:txBody>
      </p:sp>
      <p:sp>
        <p:nvSpPr>
          <p:cNvPr id="5124" name="Rectangle 3"/>
          <p:cNvSpPr>
            <a:spLocks noGrp="1" noChangeArrowheads="1"/>
          </p:cNvSpPr>
          <p:nvPr>
            <p:ph idx="4294967295"/>
          </p:nvPr>
        </p:nvSpPr>
        <p:spPr>
          <a:xfrm>
            <a:off x="529167" y="1720850"/>
            <a:ext cx="11135784" cy="2774950"/>
          </a:xfrm>
        </p:spPr>
        <p:txBody>
          <a:bodyPr lIns="68580" tIns="34290" rIns="68580" bIns="34290"/>
          <a:lstStyle/>
          <a:p>
            <a:pPr marL="0" indent="0">
              <a:spcBef>
                <a:spcPts val="3600"/>
              </a:spcBef>
              <a:buClrTx/>
              <a:buFont typeface="Arial" charset="0"/>
              <a:buNone/>
            </a:pPr>
            <a:r>
              <a:rPr lang="pt-BR" sz="2700" smtClean="0">
                <a:solidFill>
                  <a:srgbClr val="002060"/>
                </a:solidFill>
                <a:cs typeface="Arial" charset="0"/>
                <a:sym typeface="Arial" charset="0"/>
              </a:rPr>
              <a:t>Ericsson.com/jm</a:t>
            </a:r>
          </a:p>
          <a:p>
            <a:pPr marL="0" indent="0">
              <a:spcBef>
                <a:spcPts val="2400"/>
              </a:spcBef>
              <a:buClrTx/>
              <a:buFont typeface="Arial" charset="0"/>
              <a:buNone/>
            </a:pPr>
            <a:r>
              <a:rPr lang="pt-BR" sz="2700" smtClean="0">
                <a:solidFill>
                  <a:srgbClr val="002060"/>
                </a:solidFill>
                <a:cs typeface="Arial" charset="0"/>
                <a:sym typeface="Arial" charset="0"/>
              </a:rPr>
              <a:t>Facebook.com/EricssonCaribbean</a:t>
            </a:r>
          </a:p>
          <a:p>
            <a:pPr marL="0" indent="0">
              <a:spcBef>
                <a:spcPts val="2400"/>
              </a:spcBef>
              <a:buClrTx/>
              <a:buFont typeface="Arial" charset="0"/>
              <a:buNone/>
            </a:pPr>
            <a:r>
              <a:rPr lang="pt-BR" sz="2700" smtClean="0">
                <a:solidFill>
                  <a:srgbClr val="002060"/>
                </a:solidFill>
                <a:cs typeface="Arial" charset="0"/>
                <a:sym typeface="Arial" charset="0"/>
              </a:rPr>
              <a:t>Twitter.com/EricssonCarib</a:t>
            </a:r>
          </a:p>
          <a:p>
            <a:pPr marL="0" indent="0">
              <a:lnSpc>
                <a:spcPct val="90000"/>
              </a:lnSpc>
              <a:spcBef>
                <a:spcPts val="2400"/>
              </a:spcBef>
              <a:buClrTx/>
              <a:buFont typeface="Arial" charset="0"/>
              <a:buNone/>
            </a:pPr>
            <a:r>
              <a:rPr lang="pt-BR" sz="2700" smtClean="0">
                <a:solidFill>
                  <a:srgbClr val="002060"/>
                </a:solidFill>
                <a:cs typeface="Arial" charset="0"/>
                <a:sym typeface="Arial" charset="0"/>
              </a:rPr>
              <a:t>YouTube.com/Ericsson</a:t>
            </a:r>
          </a:p>
        </p:txBody>
      </p:sp>
      <p:pic>
        <p:nvPicPr>
          <p:cNvPr id="5125" name="Picture 11" descr="White E-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84985" y="358779"/>
            <a:ext cx="592667" cy="588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ChapterSlide_Wide"/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60325"/>
            <a:ext cx="12192000" cy="685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78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3368" y="1130293"/>
            <a:ext cx="8631461" cy="53705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veryone talks about Cloud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-1" y="2766679"/>
            <a:ext cx="4594304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 pitchFamily="34" charset="0"/>
              </a:rPr>
              <a:t>Drive </a:t>
            </a:r>
            <a:r>
              <a:rPr lang="en-US" sz="2800" dirty="0">
                <a:latin typeface="Arial" pitchFamily="34" charset="0"/>
              </a:rPr>
              <a:t>new </a:t>
            </a:r>
            <a:r>
              <a:rPr lang="en-US" sz="2800" dirty="0" smtClean="0">
                <a:latin typeface="Arial" pitchFamily="34" charset="0"/>
              </a:rPr>
              <a:t>busine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2800" dirty="0">
              <a:latin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 pitchFamily="34" charset="0"/>
              </a:rPr>
              <a:t>Launch </a:t>
            </a:r>
            <a:r>
              <a:rPr lang="en-US" sz="2800" dirty="0">
                <a:latin typeface="Arial" pitchFamily="34" charset="0"/>
              </a:rPr>
              <a:t>innovative </a:t>
            </a:r>
            <a:r>
              <a:rPr lang="en-US" sz="2800" dirty="0" smtClean="0">
                <a:latin typeface="Arial" pitchFamily="34" charset="0"/>
              </a:rPr>
              <a:t>serv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2800" dirty="0">
              <a:latin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 pitchFamily="34" charset="0"/>
              </a:rPr>
              <a:t>Better operating network</a:t>
            </a:r>
            <a:endParaRPr lang="en-US" sz="2800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78964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5800" y="3196169"/>
            <a:ext cx="148748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8" name="TextBox 2"/>
          <p:cNvSpPr txBox="1">
            <a:spLocks noChangeArrowheads="1"/>
          </p:cNvSpPr>
          <p:nvPr/>
        </p:nvSpPr>
        <p:spPr bwMode="auto">
          <a:xfrm>
            <a:off x="696384" y="1449392"/>
            <a:ext cx="10657416" cy="3046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2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3200" dirty="0"/>
              <a:t>Cloud </a:t>
            </a:r>
            <a:r>
              <a:rPr lang="en-US" sz="3200" dirty="0" smtClean="0"/>
              <a:t>everywhere</a:t>
            </a:r>
            <a:r>
              <a:rPr lang="en-US" sz="3200" dirty="0" smtClean="0">
                <a:ea typeface="ＭＳ Ｐゴシック" pitchFamily="34" charset="-128"/>
              </a:rPr>
              <a:t>!</a:t>
            </a:r>
            <a:endParaRPr lang="en-US" sz="3200" dirty="0">
              <a:ea typeface="ＭＳ Ｐゴシック" pitchFamily="34" charset="-128"/>
            </a:endParaRPr>
          </a:p>
          <a:p>
            <a:pPr lvl="1" eaLnBrk="1" hangingPunct="1">
              <a:spcBef>
                <a:spcPct val="30000"/>
              </a:spcBef>
              <a:spcAft>
                <a:spcPct val="30000"/>
              </a:spcAft>
              <a:buClr>
                <a:schemeClr val="hlink"/>
              </a:buClr>
              <a:buFont typeface="Arial" charset="0"/>
              <a:buChar char="›"/>
            </a:pPr>
            <a:r>
              <a:rPr lang="en-US" sz="2400" dirty="0">
                <a:ea typeface="ＭＳ Ｐゴシック" pitchFamily="34" charset="-128"/>
              </a:rPr>
              <a:t> Your </a:t>
            </a:r>
            <a:r>
              <a:rPr lang="en-US" sz="2400" dirty="0" smtClean="0">
                <a:ea typeface="ＭＳ Ｐゴシック" pitchFamily="34" charset="-128"/>
              </a:rPr>
              <a:t>organization </a:t>
            </a:r>
            <a:r>
              <a:rPr lang="en-US" sz="2400" dirty="0">
                <a:ea typeface="ＭＳ Ｐゴシック" pitchFamily="34" charset="-128"/>
              </a:rPr>
              <a:t>has it !</a:t>
            </a:r>
          </a:p>
          <a:p>
            <a:pPr lvl="1" eaLnBrk="1" hangingPunct="1">
              <a:spcBef>
                <a:spcPct val="30000"/>
              </a:spcBef>
              <a:spcAft>
                <a:spcPct val="30000"/>
              </a:spcAft>
              <a:buClr>
                <a:schemeClr val="hlink"/>
              </a:buClr>
              <a:buFont typeface="Arial" charset="0"/>
              <a:buChar char="›"/>
            </a:pPr>
            <a:r>
              <a:rPr lang="en-US" sz="2400" dirty="0">
                <a:ea typeface="ＭＳ Ｐゴシック" pitchFamily="34" charset="-128"/>
              </a:rPr>
              <a:t> My </a:t>
            </a:r>
            <a:r>
              <a:rPr lang="en-US" sz="2400" dirty="0" smtClean="0">
                <a:ea typeface="ＭＳ Ｐゴシック" pitchFamily="34" charset="-128"/>
              </a:rPr>
              <a:t>organization </a:t>
            </a:r>
            <a:r>
              <a:rPr lang="en-US" sz="2400" dirty="0">
                <a:ea typeface="ＭＳ Ｐゴシック" pitchFamily="34" charset="-128"/>
              </a:rPr>
              <a:t>has it !</a:t>
            </a:r>
          </a:p>
          <a:p>
            <a:pPr lvl="1" eaLnBrk="1" hangingPunct="1">
              <a:spcBef>
                <a:spcPct val="30000"/>
              </a:spcBef>
              <a:spcAft>
                <a:spcPct val="30000"/>
              </a:spcAft>
              <a:buClr>
                <a:schemeClr val="hlink"/>
              </a:buClr>
              <a:buFont typeface="Arial" charset="0"/>
              <a:buChar char="›"/>
            </a:pPr>
            <a:r>
              <a:rPr lang="en-US" sz="2400" dirty="0">
                <a:ea typeface="ＭＳ Ｐゴシック" pitchFamily="34" charset="-128"/>
              </a:rPr>
              <a:t> Our kids use it </a:t>
            </a:r>
            <a:r>
              <a:rPr lang="en-US" sz="2400" dirty="0" smtClean="0">
                <a:ea typeface="ＭＳ Ｐゴシック" pitchFamily="34" charset="-128"/>
              </a:rPr>
              <a:t>!</a:t>
            </a:r>
          </a:p>
          <a:p>
            <a:pPr marL="457200" lvl="1" indent="0" eaLnBrk="1" hangingPunct="1">
              <a:spcBef>
                <a:spcPct val="30000"/>
              </a:spcBef>
              <a:spcAft>
                <a:spcPct val="30000"/>
              </a:spcAft>
              <a:buClr>
                <a:schemeClr val="hlink"/>
              </a:buClr>
            </a:pPr>
            <a:endParaRPr lang="en-US" sz="2800" dirty="0">
              <a:ea typeface="ＭＳ Ｐゴシック" pitchFamily="34" charset="-128"/>
            </a:endParaRPr>
          </a:p>
        </p:txBody>
      </p:sp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1885" y="2849613"/>
            <a:ext cx="981083" cy="1198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147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514354" y="549280"/>
            <a:ext cx="10435167" cy="487363"/>
          </a:xfrm>
        </p:spPr>
        <p:txBody>
          <a:bodyPr/>
          <a:lstStyle/>
          <a:p>
            <a:pPr eaLnBrk="1" hangingPunct="1"/>
            <a:r>
              <a:rPr lang="en-US" dirty="0" smtClean="0">
                <a:solidFill>
                  <a:schemeClr val="accent1"/>
                </a:solidFill>
              </a:rPr>
              <a:t>Cloud Demystified</a:t>
            </a:r>
          </a:p>
        </p:txBody>
      </p:sp>
      <p:pic>
        <p:nvPicPr>
          <p:cNvPr id="6" name="Picture 12" descr="icloud_hero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343" y="1689895"/>
            <a:ext cx="976084" cy="1056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14" descr="bpct-blend3"/>
          <p:cNvSpPr>
            <a:spLocks noChangeAspect="1"/>
          </p:cNvSpPr>
          <p:nvPr/>
        </p:nvSpPr>
        <p:spPr bwMode="auto">
          <a:xfrm>
            <a:off x="2859932" y="4496381"/>
            <a:ext cx="6108969" cy="1933844"/>
          </a:xfrm>
          <a:custGeom>
            <a:avLst/>
            <a:gdLst>
              <a:gd name="T0" fmla="*/ 4740972 w 474"/>
              <a:gd name="T1" fmla="*/ 1745303 h 295"/>
              <a:gd name="T2" fmla="*/ 4866284 w 474"/>
              <a:gd name="T3" fmla="*/ 1304182 h 295"/>
              <a:gd name="T4" fmla="*/ 4511233 w 474"/>
              <a:gd name="T5" fmla="*/ 584964 h 295"/>
              <a:gd name="T6" fmla="*/ 4385921 w 474"/>
              <a:gd name="T7" fmla="*/ 604143 h 295"/>
              <a:gd name="T8" fmla="*/ 4406806 w 474"/>
              <a:gd name="T9" fmla="*/ 709629 h 295"/>
              <a:gd name="T10" fmla="*/ 4406806 w 474"/>
              <a:gd name="T11" fmla="*/ 709629 h 295"/>
              <a:gd name="T12" fmla="*/ 4699201 w 474"/>
              <a:gd name="T13" fmla="*/ 1304182 h 295"/>
              <a:gd name="T14" fmla="*/ 4563446 w 474"/>
              <a:gd name="T15" fmla="*/ 1716534 h 295"/>
              <a:gd name="T16" fmla="*/ 4584332 w 474"/>
              <a:gd name="T17" fmla="*/ 1812430 h 295"/>
              <a:gd name="T18" fmla="*/ 4782742 w 474"/>
              <a:gd name="T19" fmla="*/ 2205603 h 295"/>
              <a:gd name="T20" fmla="*/ 4646988 w 474"/>
              <a:gd name="T21" fmla="*/ 2512469 h 295"/>
              <a:gd name="T22" fmla="*/ 4281494 w 474"/>
              <a:gd name="T23" fmla="*/ 2675492 h 295"/>
              <a:gd name="T24" fmla="*/ 3654934 w 474"/>
              <a:gd name="T25" fmla="*/ 2675492 h 295"/>
              <a:gd name="T26" fmla="*/ 772757 w 474"/>
              <a:gd name="T27" fmla="*/ 2675492 h 295"/>
              <a:gd name="T28" fmla="*/ 344608 w 474"/>
              <a:gd name="T29" fmla="*/ 2454932 h 295"/>
              <a:gd name="T30" fmla="*/ 167083 w 474"/>
              <a:gd name="T31" fmla="*/ 2004221 h 295"/>
              <a:gd name="T32" fmla="*/ 804085 w 474"/>
              <a:gd name="T33" fmla="*/ 1285003 h 295"/>
              <a:gd name="T34" fmla="*/ 877184 w 474"/>
              <a:gd name="T35" fmla="*/ 1217876 h 295"/>
              <a:gd name="T36" fmla="*/ 2151190 w 474"/>
              <a:gd name="T37" fmla="*/ 153433 h 295"/>
              <a:gd name="T38" fmla="*/ 3185014 w 474"/>
              <a:gd name="T39" fmla="*/ 632912 h 295"/>
              <a:gd name="T40" fmla="*/ 3299883 w 474"/>
              <a:gd name="T41" fmla="*/ 652091 h 295"/>
              <a:gd name="T42" fmla="*/ 3811574 w 474"/>
              <a:gd name="T43" fmla="*/ 498658 h 295"/>
              <a:gd name="T44" fmla="*/ 4124854 w 474"/>
              <a:gd name="T45" fmla="*/ 546606 h 295"/>
              <a:gd name="T46" fmla="*/ 4135297 w 474"/>
              <a:gd name="T47" fmla="*/ 556195 h 295"/>
              <a:gd name="T48" fmla="*/ 4239724 w 474"/>
              <a:gd name="T49" fmla="*/ 517837 h 295"/>
              <a:gd name="T50" fmla="*/ 4250166 w 474"/>
              <a:gd name="T51" fmla="*/ 469889 h 295"/>
              <a:gd name="T52" fmla="*/ 4208396 w 474"/>
              <a:gd name="T53" fmla="*/ 412352 h 295"/>
              <a:gd name="T54" fmla="*/ 3811574 w 474"/>
              <a:gd name="T55" fmla="*/ 345225 h 295"/>
              <a:gd name="T56" fmla="*/ 3268555 w 474"/>
              <a:gd name="T57" fmla="*/ 489068 h 295"/>
              <a:gd name="T58" fmla="*/ 2151190 w 474"/>
              <a:gd name="T59" fmla="*/ 0 h 295"/>
              <a:gd name="T60" fmla="*/ 710101 w 474"/>
              <a:gd name="T61" fmla="*/ 1150749 h 295"/>
              <a:gd name="T62" fmla="*/ 0 w 474"/>
              <a:gd name="T63" fmla="*/ 2004221 h 295"/>
              <a:gd name="T64" fmla="*/ 208853 w 474"/>
              <a:gd name="T65" fmla="*/ 2550827 h 295"/>
              <a:gd name="T66" fmla="*/ 772757 w 474"/>
              <a:gd name="T67" fmla="*/ 2828925 h 295"/>
              <a:gd name="T68" fmla="*/ 3654934 w 474"/>
              <a:gd name="T69" fmla="*/ 2828925 h 295"/>
              <a:gd name="T70" fmla="*/ 3665377 w 474"/>
              <a:gd name="T71" fmla="*/ 2828925 h 295"/>
              <a:gd name="T72" fmla="*/ 3989099 w 474"/>
              <a:gd name="T73" fmla="*/ 2828925 h 295"/>
              <a:gd name="T74" fmla="*/ 3989099 w 474"/>
              <a:gd name="T75" fmla="*/ 2828925 h 295"/>
              <a:gd name="T76" fmla="*/ 3989099 w 474"/>
              <a:gd name="T77" fmla="*/ 2828925 h 295"/>
              <a:gd name="T78" fmla="*/ 4281494 w 474"/>
              <a:gd name="T79" fmla="*/ 2828925 h 295"/>
              <a:gd name="T80" fmla="*/ 4772300 w 474"/>
              <a:gd name="T81" fmla="*/ 2617954 h 295"/>
              <a:gd name="T82" fmla="*/ 4949825 w 474"/>
              <a:gd name="T83" fmla="*/ 2205603 h 295"/>
              <a:gd name="T84" fmla="*/ 4740972 w 474"/>
              <a:gd name="T85" fmla="*/ 1745303 h 29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474" h="295">
                <a:moveTo>
                  <a:pt x="454" y="182"/>
                </a:moveTo>
                <a:cubicBezTo>
                  <a:pt x="461" y="168"/>
                  <a:pt x="466" y="153"/>
                  <a:pt x="466" y="136"/>
                </a:cubicBezTo>
                <a:cubicBezTo>
                  <a:pt x="466" y="106"/>
                  <a:pt x="452" y="80"/>
                  <a:pt x="432" y="61"/>
                </a:cubicBezTo>
                <a:cubicBezTo>
                  <a:pt x="428" y="58"/>
                  <a:pt x="423" y="59"/>
                  <a:pt x="420" y="63"/>
                </a:cubicBezTo>
                <a:cubicBezTo>
                  <a:pt x="418" y="66"/>
                  <a:pt x="418" y="71"/>
                  <a:pt x="422" y="74"/>
                </a:cubicBezTo>
                <a:cubicBezTo>
                  <a:pt x="422" y="74"/>
                  <a:pt x="422" y="74"/>
                  <a:pt x="422" y="74"/>
                </a:cubicBezTo>
                <a:cubicBezTo>
                  <a:pt x="439" y="90"/>
                  <a:pt x="450" y="112"/>
                  <a:pt x="450" y="136"/>
                </a:cubicBezTo>
                <a:cubicBezTo>
                  <a:pt x="450" y="152"/>
                  <a:pt x="445" y="167"/>
                  <a:pt x="437" y="179"/>
                </a:cubicBezTo>
                <a:cubicBezTo>
                  <a:pt x="435" y="183"/>
                  <a:pt x="436" y="187"/>
                  <a:pt x="439" y="189"/>
                </a:cubicBezTo>
                <a:cubicBezTo>
                  <a:pt x="450" y="200"/>
                  <a:pt x="458" y="214"/>
                  <a:pt x="458" y="230"/>
                </a:cubicBezTo>
                <a:cubicBezTo>
                  <a:pt x="458" y="240"/>
                  <a:pt x="453" y="253"/>
                  <a:pt x="445" y="262"/>
                </a:cubicBezTo>
                <a:cubicBezTo>
                  <a:pt x="436" y="272"/>
                  <a:pt x="424" y="279"/>
                  <a:pt x="410" y="279"/>
                </a:cubicBezTo>
                <a:cubicBezTo>
                  <a:pt x="350" y="279"/>
                  <a:pt x="350" y="279"/>
                  <a:pt x="350" y="279"/>
                </a:cubicBezTo>
                <a:cubicBezTo>
                  <a:pt x="74" y="279"/>
                  <a:pt x="74" y="279"/>
                  <a:pt x="74" y="279"/>
                </a:cubicBezTo>
                <a:cubicBezTo>
                  <a:pt x="58" y="279"/>
                  <a:pt x="44" y="270"/>
                  <a:pt x="33" y="256"/>
                </a:cubicBezTo>
                <a:cubicBezTo>
                  <a:pt x="22" y="243"/>
                  <a:pt x="16" y="225"/>
                  <a:pt x="16" y="209"/>
                </a:cubicBezTo>
                <a:cubicBezTo>
                  <a:pt x="16" y="172"/>
                  <a:pt x="42" y="141"/>
                  <a:pt x="77" y="134"/>
                </a:cubicBezTo>
                <a:cubicBezTo>
                  <a:pt x="81" y="133"/>
                  <a:pt x="83" y="130"/>
                  <a:pt x="84" y="127"/>
                </a:cubicBezTo>
                <a:cubicBezTo>
                  <a:pt x="90" y="65"/>
                  <a:pt x="142" y="16"/>
                  <a:pt x="206" y="16"/>
                </a:cubicBezTo>
                <a:cubicBezTo>
                  <a:pt x="247" y="16"/>
                  <a:pt x="282" y="36"/>
                  <a:pt x="305" y="66"/>
                </a:cubicBezTo>
                <a:cubicBezTo>
                  <a:pt x="308" y="70"/>
                  <a:pt x="313" y="70"/>
                  <a:pt x="316" y="68"/>
                </a:cubicBezTo>
                <a:cubicBezTo>
                  <a:pt x="330" y="58"/>
                  <a:pt x="347" y="52"/>
                  <a:pt x="365" y="52"/>
                </a:cubicBezTo>
                <a:cubicBezTo>
                  <a:pt x="376" y="52"/>
                  <a:pt x="386" y="54"/>
                  <a:pt x="395" y="57"/>
                </a:cubicBezTo>
                <a:cubicBezTo>
                  <a:pt x="395" y="57"/>
                  <a:pt x="396" y="58"/>
                  <a:pt x="396" y="58"/>
                </a:cubicBezTo>
                <a:cubicBezTo>
                  <a:pt x="400" y="59"/>
                  <a:pt x="405" y="58"/>
                  <a:pt x="406" y="54"/>
                </a:cubicBezTo>
                <a:cubicBezTo>
                  <a:pt x="407" y="52"/>
                  <a:pt x="407" y="51"/>
                  <a:pt x="407" y="49"/>
                </a:cubicBezTo>
                <a:cubicBezTo>
                  <a:pt x="407" y="47"/>
                  <a:pt x="405" y="44"/>
                  <a:pt x="403" y="43"/>
                </a:cubicBezTo>
                <a:cubicBezTo>
                  <a:pt x="391" y="38"/>
                  <a:pt x="378" y="36"/>
                  <a:pt x="365" y="36"/>
                </a:cubicBezTo>
                <a:cubicBezTo>
                  <a:pt x="346" y="36"/>
                  <a:pt x="328" y="41"/>
                  <a:pt x="313" y="51"/>
                </a:cubicBezTo>
                <a:cubicBezTo>
                  <a:pt x="288" y="20"/>
                  <a:pt x="249" y="0"/>
                  <a:pt x="206" y="0"/>
                </a:cubicBezTo>
                <a:cubicBezTo>
                  <a:pt x="136" y="0"/>
                  <a:pt x="78" y="52"/>
                  <a:pt x="68" y="120"/>
                </a:cubicBezTo>
                <a:cubicBezTo>
                  <a:pt x="29" y="130"/>
                  <a:pt x="0" y="166"/>
                  <a:pt x="0" y="209"/>
                </a:cubicBezTo>
                <a:cubicBezTo>
                  <a:pt x="0" y="229"/>
                  <a:pt x="7" y="250"/>
                  <a:pt x="20" y="266"/>
                </a:cubicBezTo>
                <a:cubicBezTo>
                  <a:pt x="33" y="283"/>
                  <a:pt x="52" y="295"/>
                  <a:pt x="74" y="295"/>
                </a:cubicBezTo>
                <a:cubicBezTo>
                  <a:pt x="350" y="295"/>
                  <a:pt x="350" y="295"/>
                  <a:pt x="350" y="295"/>
                </a:cubicBezTo>
                <a:cubicBezTo>
                  <a:pt x="350" y="295"/>
                  <a:pt x="351" y="295"/>
                  <a:pt x="351" y="295"/>
                </a:cubicBezTo>
                <a:cubicBezTo>
                  <a:pt x="382" y="295"/>
                  <a:pt x="382" y="295"/>
                  <a:pt x="382" y="295"/>
                </a:cubicBezTo>
                <a:cubicBezTo>
                  <a:pt x="382" y="295"/>
                  <a:pt x="382" y="295"/>
                  <a:pt x="382" y="295"/>
                </a:cubicBezTo>
                <a:cubicBezTo>
                  <a:pt x="382" y="295"/>
                  <a:pt x="382" y="295"/>
                  <a:pt x="382" y="295"/>
                </a:cubicBezTo>
                <a:cubicBezTo>
                  <a:pt x="410" y="295"/>
                  <a:pt x="410" y="295"/>
                  <a:pt x="410" y="295"/>
                </a:cubicBezTo>
                <a:cubicBezTo>
                  <a:pt x="430" y="295"/>
                  <a:pt x="446" y="286"/>
                  <a:pt x="457" y="273"/>
                </a:cubicBezTo>
                <a:cubicBezTo>
                  <a:pt x="468" y="260"/>
                  <a:pt x="474" y="244"/>
                  <a:pt x="474" y="230"/>
                </a:cubicBezTo>
                <a:cubicBezTo>
                  <a:pt x="474" y="211"/>
                  <a:pt x="466" y="194"/>
                  <a:pt x="454" y="182"/>
                </a:cubicBezTo>
                <a:close/>
              </a:path>
            </a:pathLst>
          </a:custGeom>
          <a:blipFill dpi="0" rotWithShape="0">
            <a:blip r:embed="rId6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18"/>
          <p:cNvSpPr>
            <a:spLocks noChangeArrowheads="1"/>
          </p:cNvSpPr>
          <p:nvPr/>
        </p:nvSpPr>
        <p:spPr bwMode="auto">
          <a:xfrm>
            <a:off x="3562351" y="5344646"/>
            <a:ext cx="4925481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72000" rIns="72000">
            <a:spAutoFit/>
          </a:bodyPr>
          <a:lstStyle/>
          <a:p>
            <a:pPr algn="ctr"/>
            <a:r>
              <a:rPr lang="en-US" sz="2400" dirty="0"/>
              <a:t>So, the Cloud is not </a:t>
            </a:r>
            <a:r>
              <a:rPr lang="en-US" sz="2400" dirty="0" smtClean="0"/>
              <a:t>NEW!</a:t>
            </a:r>
            <a:endParaRPr lang="en-US" sz="2400" dirty="0"/>
          </a:p>
          <a:p>
            <a:pPr algn="ctr"/>
            <a:r>
              <a:rPr lang="en-US" sz="2400" dirty="0" smtClean="0"/>
              <a:t>Is </a:t>
            </a:r>
            <a:r>
              <a:rPr lang="en-US" sz="2400" dirty="0"/>
              <a:t>i</a:t>
            </a:r>
            <a:r>
              <a:rPr lang="en-US" sz="2400" dirty="0" smtClean="0"/>
              <a:t>t </a:t>
            </a:r>
            <a:r>
              <a:rPr lang="en-US" sz="2400" dirty="0"/>
              <a:t>just </a:t>
            </a:r>
            <a:r>
              <a:rPr lang="en-US" sz="2400" dirty="0" smtClean="0"/>
              <a:t>TRENDY </a:t>
            </a:r>
            <a:r>
              <a:rPr lang="en-US" sz="2400" dirty="0"/>
              <a:t>and </a:t>
            </a:r>
            <a:r>
              <a:rPr lang="en-US" sz="2400" dirty="0" smtClean="0"/>
              <a:t>GROOVY?</a:t>
            </a:r>
            <a:endParaRPr lang="en-US" sz="2400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8901" y="1877786"/>
            <a:ext cx="922867" cy="922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9569" y="1689899"/>
            <a:ext cx="1107024" cy="8408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6271" y="2901038"/>
            <a:ext cx="900643" cy="900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4" descr="Microsoft Office 365">
            <a:hlinkClick r:id="rId10"/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5549" y="2276924"/>
            <a:ext cx="1895475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489770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Line 2"/>
          <p:cNvSpPr>
            <a:spLocks noChangeShapeType="1"/>
          </p:cNvSpPr>
          <p:nvPr/>
        </p:nvSpPr>
        <p:spPr bwMode="auto">
          <a:xfrm>
            <a:off x="588437" y="3518208"/>
            <a:ext cx="5151967" cy="0"/>
          </a:xfrm>
          <a:prstGeom prst="line">
            <a:avLst/>
          </a:prstGeom>
          <a:noFill/>
          <a:ln w="19050" cap="rnd">
            <a:solidFill>
              <a:schemeClr val="bg2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2000" rIns="72000"/>
          <a:lstStyle/>
          <a:p>
            <a:pPr algn="ctr"/>
            <a:endParaRPr lang="en-US" smtClean="0">
              <a:solidFill>
                <a:srgbClr val="58585A"/>
              </a:solidFill>
              <a:latin typeface="Arial" pitchFamily="34" charset="0"/>
            </a:endParaRP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title"/>
          </p:nvPr>
        </p:nvSpPr>
        <p:spPr>
          <a:xfrm>
            <a:off x="524933" y="565155"/>
            <a:ext cx="11237384" cy="487363"/>
          </a:xfrm>
        </p:spPr>
        <p:txBody>
          <a:bodyPr/>
          <a:lstStyle/>
          <a:p>
            <a:pPr eaLnBrk="1" hangingPunct="1"/>
            <a:r>
              <a:rPr lang="sv-SE" dirty="0" smtClean="0">
                <a:latin typeface="Ericsson Capital TT" pitchFamily="2" charset="0"/>
              </a:rPr>
              <a:t>How we use cloud services</a:t>
            </a:r>
            <a:endParaRPr lang="en-US" dirty="0" smtClean="0">
              <a:latin typeface="Ericsson Capital TT" pitchFamily="2" charset="0"/>
            </a:endParaRPr>
          </a:p>
        </p:txBody>
      </p:sp>
      <p:sp>
        <p:nvSpPr>
          <p:cNvPr id="8196" name="Freeform 4" descr="bpct-blend6"/>
          <p:cNvSpPr>
            <a:spLocks noChangeAspect="1"/>
          </p:cNvSpPr>
          <p:nvPr/>
        </p:nvSpPr>
        <p:spPr bwMode="auto">
          <a:xfrm>
            <a:off x="374654" y="1371908"/>
            <a:ext cx="137583" cy="425450"/>
          </a:xfrm>
          <a:custGeom>
            <a:avLst/>
            <a:gdLst>
              <a:gd name="T0" fmla="*/ 2147483647 w 73"/>
              <a:gd name="T1" fmla="*/ 2147483647 h 227"/>
              <a:gd name="T2" fmla="*/ 0 w 73"/>
              <a:gd name="T3" fmla="*/ 2147483647 h 227"/>
              <a:gd name="T4" fmla="*/ 0 w 73"/>
              <a:gd name="T5" fmla="*/ 2147483647 h 227"/>
              <a:gd name="T6" fmla="*/ 0 w 73"/>
              <a:gd name="T7" fmla="*/ 2147483647 h 227"/>
              <a:gd name="T8" fmla="*/ 2147483647 w 73"/>
              <a:gd name="T9" fmla="*/ 0 h 227"/>
              <a:gd name="T10" fmla="*/ 2147483647 w 73"/>
              <a:gd name="T11" fmla="*/ 0 h 227"/>
              <a:gd name="T12" fmla="*/ 2147483647 w 73"/>
              <a:gd name="T13" fmla="*/ 0 h 227"/>
              <a:gd name="T14" fmla="*/ 2147483647 w 73"/>
              <a:gd name="T15" fmla="*/ 0 h 227"/>
              <a:gd name="T16" fmla="*/ 2147483647 w 73"/>
              <a:gd name="T17" fmla="*/ 0 h 227"/>
              <a:gd name="T18" fmla="*/ 2147483647 w 73"/>
              <a:gd name="T19" fmla="*/ 2147483647 h 227"/>
              <a:gd name="T20" fmla="*/ 2147483647 w 73"/>
              <a:gd name="T21" fmla="*/ 2147483647 h 227"/>
              <a:gd name="T22" fmla="*/ 2147483647 w 73"/>
              <a:gd name="T23" fmla="*/ 2147483647 h 227"/>
              <a:gd name="T24" fmla="*/ 2147483647 w 73"/>
              <a:gd name="T25" fmla="*/ 2147483647 h 227"/>
              <a:gd name="T26" fmla="*/ 2147483647 w 73"/>
              <a:gd name="T27" fmla="*/ 2147483647 h 227"/>
              <a:gd name="T28" fmla="*/ 2147483647 w 73"/>
              <a:gd name="T29" fmla="*/ 2147483647 h 227"/>
              <a:gd name="T30" fmla="*/ 2147483647 w 73"/>
              <a:gd name="T31" fmla="*/ 2147483647 h 227"/>
              <a:gd name="T32" fmla="*/ 2147483647 w 73"/>
              <a:gd name="T33" fmla="*/ 2147483647 h 227"/>
              <a:gd name="T34" fmla="*/ 2147483647 w 73"/>
              <a:gd name="T35" fmla="*/ 2147483647 h 227"/>
              <a:gd name="T36" fmla="*/ 2147483647 w 73"/>
              <a:gd name="T37" fmla="*/ 2147483647 h 227"/>
              <a:gd name="T38" fmla="*/ 2147483647 w 73"/>
              <a:gd name="T39" fmla="*/ 2147483647 h 227"/>
              <a:gd name="T40" fmla="*/ 2147483647 w 73"/>
              <a:gd name="T41" fmla="*/ 2147483647 h 227"/>
              <a:gd name="T42" fmla="*/ 2147483647 w 73"/>
              <a:gd name="T43" fmla="*/ 2147483647 h 227"/>
              <a:gd name="T44" fmla="*/ 2147483647 w 73"/>
              <a:gd name="T45" fmla="*/ 2147483647 h 227"/>
              <a:gd name="T46" fmla="*/ 2147483647 w 73"/>
              <a:gd name="T47" fmla="*/ 2147483647 h 227"/>
              <a:gd name="T48" fmla="*/ 2147483647 w 73"/>
              <a:gd name="T49" fmla="*/ 2147483647 h 227"/>
              <a:gd name="T50" fmla="*/ 2147483647 w 73"/>
              <a:gd name="T51" fmla="*/ 2147483647 h 227"/>
              <a:gd name="T52" fmla="*/ 2147483647 w 73"/>
              <a:gd name="T53" fmla="*/ 2147483647 h 227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73" h="227">
                <a:moveTo>
                  <a:pt x="29" y="227"/>
                </a:moveTo>
                <a:cubicBezTo>
                  <a:pt x="13" y="227"/>
                  <a:pt x="0" y="214"/>
                  <a:pt x="0" y="198"/>
                </a:cubicBezTo>
                <a:cubicBezTo>
                  <a:pt x="0" y="198"/>
                  <a:pt x="0" y="198"/>
                  <a:pt x="0" y="198"/>
                </a:cubicBezTo>
                <a:cubicBezTo>
                  <a:pt x="0" y="29"/>
                  <a:pt x="0" y="29"/>
                  <a:pt x="0" y="29"/>
                </a:cubicBezTo>
                <a:cubicBezTo>
                  <a:pt x="0" y="13"/>
                  <a:pt x="13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43" y="0"/>
                  <a:pt x="65" y="0"/>
                </a:cubicBezTo>
                <a:cubicBezTo>
                  <a:pt x="65" y="0"/>
                  <a:pt x="65" y="0"/>
                  <a:pt x="65" y="0"/>
                </a:cubicBezTo>
                <a:cubicBezTo>
                  <a:pt x="65" y="0"/>
                  <a:pt x="65" y="0"/>
                  <a:pt x="65" y="0"/>
                </a:cubicBezTo>
                <a:cubicBezTo>
                  <a:pt x="69" y="0"/>
                  <a:pt x="73" y="3"/>
                  <a:pt x="73" y="8"/>
                </a:cubicBezTo>
                <a:cubicBezTo>
                  <a:pt x="73" y="8"/>
                  <a:pt x="73" y="8"/>
                  <a:pt x="73" y="8"/>
                </a:cubicBezTo>
                <a:cubicBezTo>
                  <a:pt x="73" y="12"/>
                  <a:pt x="69" y="16"/>
                  <a:pt x="65" y="16"/>
                </a:cubicBezTo>
                <a:cubicBezTo>
                  <a:pt x="65" y="16"/>
                  <a:pt x="65" y="16"/>
                  <a:pt x="65" y="16"/>
                </a:cubicBezTo>
                <a:cubicBezTo>
                  <a:pt x="43" y="16"/>
                  <a:pt x="29" y="16"/>
                  <a:pt x="29" y="16"/>
                </a:cubicBezTo>
                <a:cubicBezTo>
                  <a:pt x="29" y="16"/>
                  <a:pt x="29" y="16"/>
                  <a:pt x="29" y="16"/>
                </a:cubicBezTo>
                <a:cubicBezTo>
                  <a:pt x="22" y="16"/>
                  <a:pt x="16" y="22"/>
                  <a:pt x="16" y="29"/>
                </a:cubicBezTo>
                <a:cubicBezTo>
                  <a:pt x="16" y="29"/>
                  <a:pt x="16" y="29"/>
                  <a:pt x="16" y="29"/>
                </a:cubicBezTo>
                <a:cubicBezTo>
                  <a:pt x="16" y="198"/>
                  <a:pt x="16" y="198"/>
                  <a:pt x="16" y="198"/>
                </a:cubicBezTo>
                <a:cubicBezTo>
                  <a:pt x="16" y="205"/>
                  <a:pt x="22" y="211"/>
                  <a:pt x="29" y="211"/>
                </a:cubicBezTo>
                <a:cubicBezTo>
                  <a:pt x="29" y="211"/>
                  <a:pt x="29" y="211"/>
                  <a:pt x="29" y="211"/>
                </a:cubicBezTo>
                <a:cubicBezTo>
                  <a:pt x="29" y="211"/>
                  <a:pt x="43" y="211"/>
                  <a:pt x="65" y="211"/>
                </a:cubicBezTo>
                <a:cubicBezTo>
                  <a:pt x="65" y="211"/>
                  <a:pt x="65" y="211"/>
                  <a:pt x="65" y="211"/>
                </a:cubicBezTo>
                <a:cubicBezTo>
                  <a:pt x="69" y="211"/>
                  <a:pt x="73" y="215"/>
                  <a:pt x="73" y="219"/>
                </a:cubicBezTo>
                <a:cubicBezTo>
                  <a:pt x="73" y="219"/>
                  <a:pt x="73" y="219"/>
                  <a:pt x="73" y="219"/>
                </a:cubicBezTo>
                <a:cubicBezTo>
                  <a:pt x="73" y="223"/>
                  <a:pt x="69" y="227"/>
                  <a:pt x="65" y="227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43" y="227"/>
                  <a:pt x="29" y="227"/>
                  <a:pt x="29" y="227"/>
                </a:cubicBezTo>
                <a:close/>
              </a:path>
            </a:pathLst>
          </a:custGeom>
          <a:blipFill dpi="0" rotWithShape="0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endParaRPr lang="en-US" smtClean="0">
              <a:solidFill>
                <a:srgbClr val="58585A"/>
              </a:solidFill>
              <a:latin typeface="Arial" pitchFamily="34" charset="0"/>
            </a:endParaRPr>
          </a:p>
        </p:txBody>
      </p:sp>
      <p:sp>
        <p:nvSpPr>
          <p:cNvPr id="8197" name="Text Box 5"/>
          <p:cNvSpPr txBox="1">
            <a:spLocks noChangeArrowheads="1"/>
          </p:cNvSpPr>
          <p:nvPr/>
        </p:nvSpPr>
        <p:spPr bwMode="auto">
          <a:xfrm>
            <a:off x="562279" y="1421122"/>
            <a:ext cx="239969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9BA17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prstDash val="dash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600" b="1" smtClean="0">
                <a:solidFill>
                  <a:srgbClr val="E32119"/>
                </a:solidFill>
                <a:ea typeface="MS PGothic" pitchFamily="34" charset="-128"/>
              </a:rPr>
              <a:t>     Software as a Service</a:t>
            </a:r>
            <a:endParaRPr lang="sv-SE" sz="1600" b="1" smtClean="0">
              <a:solidFill>
                <a:srgbClr val="E32119"/>
              </a:solidFill>
              <a:ea typeface="MS PGothic" pitchFamily="34" charset="-128"/>
            </a:endParaRPr>
          </a:p>
        </p:txBody>
      </p:sp>
      <p:grpSp>
        <p:nvGrpSpPr>
          <p:cNvPr id="8198" name="Group 6"/>
          <p:cNvGrpSpPr>
            <a:grpSpLocks/>
          </p:cNvGrpSpPr>
          <p:nvPr/>
        </p:nvGrpSpPr>
        <p:grpSpPr bwMode="auto">
          <a:xfrm>
            <a:off x="4064003" y="1305233"/>
            <a:ext cx="1316567" cy="1027112"/>
            <a:chOff x="4011" y="922"/>
            <a:chExt cx="737" cy="545"/>
          </a:xfrm>
        </p:grpSpPr>
        <p:pic>
          <p:nvPicPr>
            <p:cNvPr id="8256" name="Picture 7" descr="BCS picture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2" y="922"/>
              <a:ext cx="709" cy="4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257" name="Picture 8" descr="ERI_horizontal_rgb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11" y="1319"/>
              <a:ext cx="737" cy="1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8199" name="Text Box 9"/>
          <p:cNvSpPr txBox="1">
            <a:spLocks noChangeArrowheads="1"/>
          </p:cNvSpPr>
          <p:nvPr/>
        </p:nvSpPr>
        <p:spPr bwMode="auto">
          <a:xfrm>
            <a:off x="4276897" y="2691125"/>
            <a:ext cx="1005083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9BA17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prstDash val="dash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400" smtClean="0">
                <a:solidFill>
                  <a:srgbClr val="89BA17"/>
                </a:solidFill>
                <a:ea typeface="MS PGothic" pitchFamily="34" charset="-128"/>
              </a:rPr>
              <a:t>Application </a:t>
            </a:r>
            <a:br>
              <a:rPr lang="en-US" sz="1400" smtClean="0">
                <a:solidFill>
                  <a:srgbClr val="89BA17"/>
                </a:solidFill>
                <a:ea typeface="MS PGothic" pitchFamily="34" charset="-128"/>
              </a:rPr>
            </a:br>
            <a:r>
              <a:rPr lang="en-US" sz="1400" smtClean="0">
                <a:solidFill>
                  <a:srgbClr val="89BA17"/>
                </a:solidFill>
                <a:ea typeface="MS PGothic" pitchFamily="34" charset="-128"/>
              </a:rPr>
              <a:t>Runtime </a:t>
            </a:r>
            <a:br>
              <a:rPr lang="en-US" sz="1400" smtClean="0">
                <a:solidFill>
                  <a:srgbClr val="89BA17"/>
                </a:solidFill>
                <a:ea typeface="MS PGothic" pitchFamily="34" charset="-128"/>
              </a:rPr>
            </a:br>
            <a:r>
              <a:rPr lang="en-US" sz="1400" smtClean="0">
                <a:solidFill>
                  <a:srgbClr val="89BA17"/>
                </a:solidFill>
                <a:ea typeface="MS PGothic" pitchFamily="34" charset="-128"/>
              </a:rPr>
              <a:t>Environment</a:t>
            </a:r>
            <a:endParaRPr lang="sv-SE" sz="1400" smtClean="0">
              <a:solidFill>
                <a:srgbClr val="89BA17"/>
              </a:solidFill>
              <a:ea typeface="MS PGothic" pitchFamily="34" charset="-128"/>
            </a:endParaRPr>
          </a:p>
        </p:txBody>
      </p:sp>
      <p:sp>
        <p:nvSpPr>
          <p:cNvPr id="8200" name="Freeform 10" descr="bpct-blend2"/>
          <p:cNvSpPr>
            <a:spLocks noChangeAspect="1"/>
          </p:cNvSpPr>
          <p:nvPr/>
        </p:nvSpPr>
        <p:spPr bwMode="auto">
          <a:xfrm>
            <a:off x="374654" y="2576820"/>
            <a:ext cx="137583" cy="425450"/>
          </a:xfrm>
          <a:custGeom>
            <a:avLst/>
            <a:gdLst>
              <a:gd name="T0" fmla="*/ 2147483647 w 73"/>
              <a:gd name="T1" fmla="*/ 2147483647 h 227"/>
              <a:gd name="T2" fmla="*/ 0 w 73"/>
              <a:gd name="T3" fmla="*/ 2147483647 h 227"/>
              <a:gd name="T4" fmla="*/ 0 w 73"/>
              <a:gd name="T5" fmla="*/ 2147483647 h 227"/>
              <a:gd name="T6" fmla="*/ 0 w 73"/>
              <a:gd name="T7" fmla="*/ 2147483647 h 227"/>
              <a:gd name="T8" fmla="*/ 2147483647 w 73"/>
              <a:gd name="T9" fmla="*/ 0 h 227"/>
              <a:gd name="T10" fmla="*/ 2147483647 w 73"/>
              <a:gd name="T11" fmla="*/ 0 h 227"/>
              <a:gd name="T12" fmla="*/ 2147483647 w 73"/>
              <a:gd name="T13" fmla="*/ 0 h 227"/>
              <a:gd name="T14" fmla="*/ 2147483647 w 73"/>
              <a:gd name="T15" fmla="*/ 0 h 227"/>
              <a:gd name="T16" fmla="*/ 2147483647 w 73"/>
              <a:gd name="T17" fmla="*/ 0 h 227"/>
              <a:gd name="T18" fmla="*/ 2147483647 w 73"/>
              <a:gd name="T19" fmla="*/ 2147483647 h 227"/>
              <a:gd name="T20" fmla="*/ 2147483647 w 73"/>
              <a:gd name="T21" fmla="*/ 2147483647 h 227"/>
              <a:gd name="T22" fmla="*/ 2147483647 w 73"/>
              <a:gd name="T23" fmla="*/ 2147483647 h 227"/>
              <a:gd name="T24" fmla="*/ 2147483647 w 73"/>
              <a:gd name="T25" fmla="*/ 2147483647 h 227"/>
              <a:gd name="T26" fmla="*/ 2147483647 w 73"/>
              <a:gd name="T27" fmla="*/ 2147483647 h 227"/>
              <a:gd name="T28" fmla="*/ 2147483647 w 73"/>
              <a:gd name="T29" fmla="*/ 2147483647 h 227"/>
              <a:gd name="T30" fmla="*/ 2147483647 w 73"/>
              <a:gd name="T31" fmla="*/ 2147483647 h 227"/>
              <a:gd name="T32" fmla="*/ 2147483647 w 73"/>
              <a:gd name="T33" fmla="*/ 2147483647 h 227"/>
              <a:gd name="T34" fmla="*/ 2147483647 w 73"/>
              <a:gd name="T35" fmla="*/ 2147483647 h 227"/>
              <a:gd name="T36" fmla="*/ 2147483647 w 73"/>
              <a:gd name="T37" fmla="*/ 2147483647 h 227"/>
              <a:gd name="T38" fmla="*/ 2147483647 w 73"/>
              <a:gd name="T39" fmla="*/ 2147483647 h 227"/>
              <a:gd name="T40" fmla="*/ 2147483647 w 73"/>
              <a:gd name="T41" fmla="*/ 2147483647 h 227"/>
              <a:gd name="T42" fmla="*/ 2147483647 w 73"/>
              <a:gd name="T43" fmla="*/ 2147483647 h 227"/>
              <a:gd name="T44" fmla="*/ 2147483647 w 73"/>
              <a:gd name="T45" fmla="*/ 2147483647 h 227"/>
              <a:gd name="T46" fmla="*/ 2147483647 w 73"/>
              <a:gd name="T47" fmla="*/ 2147483647 h 227"/>
              <a:gd name="T48" fmla="*/ 2147483647 w 73"/>
              <a:gd name="T49" fmla="*/ 2147483647 h 227"/>
              <a:gd name="T50" fmla="*/ 2147483647 w 73"/>
              <a:gd name="T51" fmla="*/ 2147483647 h 227"/>
              <a:gd name="T52" fmla="*/ 2147483647 w 73"/>
              <a:gd name="T53" fmla="*/ 2147483647 h 227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73" h="227">
                <a:moveTo>
                  <a:pt x="29" y="227"/>
                </a:moveTo>
                <a:cubicBezTo>
                  <a:pt x="13" y="227"/>
                  <a:pt x="0" y="214"/>
                  <a:pt x="0" y="198"/>
                </a:cubicBezTo>
                <a:cubicBezTo>
                  <a:pt x="0" y="198"/>
                  <a:pt x="0" y="198"/>
                  <a:pt x="0" y="198"/>
                </a:cubicBezTo>
                <a:cubicBezTo>
                  <a:pt x="0" y="29"/>
                  <a:pt x="0" y="29"/>
                  <a:pt x="0" y="29"/>
                </a:cubicBezTo>
                <a:cubicBezTo>
                  <a:pt x="0" y="13"/>
                  <a:pt x="13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43" y="0"/>
                  <a:pt x="65" y="0"/>
                </a:cubicBezTo>
                <a:cubicBezTo>
                  <a:pt x="65" y="0"/>
                  <a:pt x="65" y="0"/>
                  <a:pt x="65" y="0"/>
                </a:cubicBezTo>
                <a:cubicBezTo>
                  <a:pt x="65" y="0"/>
                  <a:pt x="65" y="0"/>
                  <a:pt x="65" y="0"/>
                </a:cubicBezTo>
                <a:cubicBezTo>
                  <a:pt x="69" y="0"/>
                  <a:pt x="73" y="3"/>
                  <a:pt x="73" y="8"/>
                </a:cubicBezTo>
                <a:cubicBezTo>
                  <a:pt x="73" y="8"/>
                  <a:pt x="73" y="8"/>
                  <a:pt x="73" y="8"/>
                </a:cubicBezTo>
                <a:cubicBezTo>
                  <a:pt x="73" y="12"/>
                  <a:pt x="69" y="16"/>
                  <a:pt x="65" y="16"/>
                </a:cubicBezTo>
                <a:cubicBezTo>
                  <a:pt x="65" y="16"/>
                  <a:pt x="65" y="16"/>
                  <a:pt x="65" y="16"/>
                </a:cubicBezTo>
                <a:cubicBezTo>
                  <a:pt x="43" y="16"/>
                  <a:pt x="29" y="16"/>
                  <a:pt x="29" y="16"/>
                </a:cubicBezTo>
                <a:cubicBezTo>
                  <a:pt x="29" y="16"/>
                  <a:pt x="29" y="16"/>
                  <a:pt x="29" y="16"/>
                </a:cubicBezTo>
                <a:cubicBezTo>
                  <a:pt x="22" y="16"/>
                  <a:pt x="16" y="22"/>
                  <a:pt x="16" y="29"/>
                </a:cubicBezTo>
                <a:cubicBezTo>
                  <a:pt x="16" y="29"/>
                  <a:pt x="16" y="29"/>
                  <a:pt x="16" y="29"/>
                </a:cubicBezTo>
                <a:cubicBezTo>
                  <a:pt x="16" y="198"/>
                  <a:pt x="16" y="198"/>
                  <a:pt x="16" y="198"/>
                </a:cubicBezTo>
                <a:cubicBezTo>
                  <a:pt x="16" y="205"/>
                  <a:pt x="22" y="211"/>
                  <a:pt x="29" y="211"/>
                </a:cubicBezTo>
                <a:cubicBezTo>
                  <a:pt x="29" y="211"/>
                  <a:pt x="29" y="211"/>
                  <a:pt x="29" y="211"/>
                </a:cubicBezTo>
                <a:cubicBezTo>
                  <a:pt x="29" y="211"/>
                  <a:pt x="43" y="211"/>
                  <a:pt x="65" y="211"/>
                </a:cubicBezTo>
                <a:cubicBezTo>
                  <a:pt x="65" y="211"/>
                  <a:pt x="65" y="211"/>
                  <a:pt x="65" y="211"/>
                </a:cubicBezTo>
                <a:cubicBezTo>
                  <a:pt x="69" y="211"/>
                  <a:pt x="73" y="215"/>
                  <a:pt x="73" y="219"/>
                </a:cubicBezTo>
                <a:cubicBezTo>
                  <a:pt x="73" y="219"/>
                  <a:pt x="73" y="219"/>
                  <a:pt x="73" y="219"/>
                </a:cubicBezTo>
                <a:cubicBezTo>
                  <a:pt x="73" y="223"/>
                  <a:pt x="69" y="227"/>
                  <a:pt x="65" y="227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43" y="227"/>
                  <a:pt x="29" y="227"/>
                  <a:pt x="29" y="227"/>
                </a:cubicBezTo>
                <a:close/>
              </a:path>
            </a:pathLst>
          </a:custGeom>
          <a:blipFill dpi="0" rotWithShape="0">
            <a:blip r:embed="rId6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endParaRPr lang="en-US" smtClean="0">
              <a:solidFill>
                <a:srgbClr val="58585A"/>
              </a:solidFill>
              <a:latin typeface="Arial" pitchFamily="34" charset="0"/>
            </a:endParaRPr>
          </a:p>
        </p:txBody>
      </p:sp>
      <p:sp>
        <p:nvSpPr>
          <p:cNvPr id="8201" name="Text Box 11"/>
          <p:cNvSpPr txBox="1">
            <a:spLocks noChangeArrowheads="1"/>
          </p:cNvSpPr>
          <p:nvPr/>
        </p:nvSpPr>
        <p:spPr bwMode="auto">
          <a:xfrm>
            <a:off x="653650" y="2662550"/>
            <a:ext cx="230832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9BA17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prstDash val="dash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rtl="1"/>
            <a:r>
              <a:rPr lang="en-US" sz="1600" b="1" smtClean="0">
                <a:solidFill>
                  <a:srgbClr val="89BA17"/>
                </a:solidFill>
                <a:ea typeface="MS PGothic" pitchFamily="34" charset="-128"/>
              </a:rPr>
              <a:t>    Platform as a Service</a:t>
            </a:r>
            <a:endParaRPr lang="sv-SE" sz="1600" b="1" smtClean="0">
              <a:solidFill>
                <a:srgbClr val="89BA17"/>
              </a:solidFill>
              <a:ea typeface="MS PGothic" pitchFamily="34" charset="-128"/>
            </a:endParaRPr>
          </a:p>
        </p:txBody>
      </p:sp>
      <p:sp>
        <p:nvSpPr>
          <p:cNvPr id="8202" name="Freeform 8" descr="bpct-blend3"/>
          <p:cNvSpPr>
            <a:spLocks noChangeAspect="1" noEditPoints="1"/>
          </p:cNvSpPr>
          <p:nvPr/>
        </p:nvSpPr>
        <p:spPr bwMode="auto">
          <a:xfrm>
            <a:off x="4474637" y="4191308"/>
            <a:ext cx="300567" cy="481012"/>
          </a:xfrm>
          <a:custGeom>
            <a:avLst/>
            <a:gdLst>
              <a:gd name="T0" fmla="*/ 2147483647 w 255"/>
              <a:gd name="T1" fmla="*/ 2147483647 h 412"/>
              <a:gd name="T2" fmla="*/ 2147483647 w 255"/>
              <a:gd name="T3" fmla="*/ 2147483647 h 412"/>
              <a:gd name="T4" fmla="*/ 2147483647 w 255"/>
              <a:gd name="T5" fmla="*/ 2147483647 h 412"/>
              <a:gd name="T6" fmla="*/ 2147483647 w 255"/>
              <a:gd name="T7" fmla="*/ 2147483647 h 412"/>
              <a:gd name="T8" fmla="*/ 2147483647 w 255"/>
              <a:gd name="T9" fmla="*/ 2147483647 h 412"/>
              <a:gd name="T10" fmla="*/ 2147483647 w 255"/>
              <a:gd name="T11" fmla="*/ 2147483647 h 412"/>
              <a:gd name="T12" fmla="*/ 2147483647 w 255"/>
              <a:gd name="T13" fmla="*/ 2147483647 h 412"/>
              <a:gd name="T14" fmla="*/ 2147483647 w 255"/>
              <a:gd name="T15" fmla="*/ 2147483647 h 412"/>
              <a:gd name="T16" fmla="*/ 2147483647 w 255"/>
              <a:gd name="T17" fmla="*/ 2147483647 h 412"/>
              <a:gd name="T18" fmla="*/ 2147483647 w 255"/>
              <a:gd name="T19" fmla="*/ 2147483647 h 412"/>
              <a:gd name="T20" fmla="*/ 2147483647 w 255"/>
              <a:gd name="T21" fmla="*/ 2147483647 h 412"/>
              <a:gd name="T22" fmla="*/ 2147483647 w 255"/>
              <a:gd name="T23" fmla="*/ 2147483647 h 412"/>
              <a:gd name="T24" fmla="*/ 2147483647 w 255"/>
              <a:gd name="T25" fmla="*/ 2147483647 h 412"/>
              <a:gd name="T26" fmla="*/ 2147483647 w 255"/>
              <a:gd name="T27" fmla="*/ 2147483647 h 412"/>
              <a:gd name="T28" fmla="*/ 2147483647 w 255"/>
              <a:gd name="T29" fmla="*/ 2147483647 h 412"/>
              <a:gd name="T30" fmla="*/ 2147483647 w 255"/>
              <a:gd name="T31" fmla="*/ 2147483647 h 412"/>
              <a:gd name="T32" fmla="*/ 2147483647 w 255"/>
              <a:gd name="T33" fmla="*/ 2147483647 h 412"/>
              <a:gd name="T34" fmla="*/ 2147483647 w 255"/>
              <a:gd name="T35" fmla="*/ 2147483647 h 412"/>
              <a:gd name="T36" fmla="*/ 2147483647 w 255"/>
              <a:gd name="T37" fmla="*/ 2147483647 h 412"/>
              <a:gd name="T38" fmla="*/ 2147483647 w 255"/>
              <a:gd name="T39" fmla="*/ 2147483647 h 412"/>
              <a:gd name="T40" fmla="*/ 2147483647 w 255"/>
              <a:gd name="T41" fmla="*/ 2147483647 h 412"/>
              <a:gd name="T42" fmla="*/ 2147483647 w 255"/>
              <a:gd name="T43" fmla="*/ 2147483647 h 412"/>
              <a:gd name="T44" fmla="*/ 2147483647 w 255"/>
              <a:gd name="T45" fmla="*/ 2147483647 h 412"/>
              <a:gd name="T46" fmla="*/ 2147483647 w 255"/>
              <a:gd name="T47" fmla="*/ 2147483647 h 412"/>
              <a:gd name="T48" fmla="*/ 2147483647 w 255"/>
              <a:gd name="T49" fmla="*/ 2147483647 h 412"/>
              <a:gd name="T50" fmla="*/ 2147483647 w 255"/>
              <a:gd name="T51" fmla="*/ 2147483647 h 412"/>
              <a:gd name="T52" fmla="*/ 2147483647 w 255"/>
              <a:gd name="T53" fmla="*/ 2147483647 h 412"/>
              <a:gd name="T54" fmla="*/ 2147483647 w 255"/>
              <a:gd name="T55" fmla="*/ 2147483647 h 412"/>
              <a:gd name="T56" fmla="*/ 2147483647 w 255"/>
              <a:gd name="T57" fmla="*/ 2147483647 h 412"/>
              <a:gd name="T58" fmla="*/ 2147483647 w 255"/>
              <a:gd name="T59" fmla="*/ 2147483647 h 412"/>
              <a:gd name="T60" fmla="*/ 2147483647 w 255"/>
              <a:gd name="T61" fmla="*/ 2147483647 h 412"/>
              <a:gd name="T62" fmla="*/ 2147483647 w 255"/>
              <a:gd name="T63" fmla="*/ 2147483647 h 412"/>
              <a:gd name="T64" fmla="*/ 2147483647 w 255"/>
              <a:gd name="T65" fmla="*/ 2147483647 h 412"/>
              <a:gd name="T66" fmla="*/ 2147483647 w 255"/>
              <a:gd name="T67" fmla="*/ 2147483647 h 412"/>
              <a:gd name="T68" fmla="*/ 2147483647 w 255"/>
              <a:gd name="T69" fmla="*/ 2147483647 h 412"/>
              <a:gd name="T70" fmla="*/ 2147483647 w 255"/>
              <a:gd name="T71" fmla="*/ 2147483647 h 412"/>
              <a:gd name="T72" fmla="*/ 2147483647 w 255"/>
              <a:gd name="T73" fmla="*/ 2147483647 h 412"/>
              <a:gd name="T74" fmla="*/ 2147483647 w 255"/>
              <a:gd name="T75" fmla="*/ 2147483647 h 412"/>
              <a:gd name="T76" fmla="*/ 2147483647 w 255"/>
              <a:gd name="T77" fmla="*/ 2147483647 h 412"/>
              <a:gd name="T78" fmla="*/ 2147483647 w 255"/>
              <a:gd name="T79" fmla="*/ 2147483647 h 412"/>
              <a:gd name="T80" fmla="*/ 2147483647 w 255"/>
              <a:gd name="T81" fmla="*/ 2147483647 h 412"/>
              <a:gd name="T82" fmla="*/ 2147483647 w 255"/>
              <a:gd name="T83" fmla="*/ 2147483647 h 412"/>
              <a:gd name="T84" fmla="*/ 2147483647 w 255"/>
              <a:gd name="T85" fmla="*/ 2147483647 h 412"/>
              <a:gd name="T86" fmla="*/ 2147483647 w 255"/>
              <a:gd name="T87" fmla="*/ 2147483647 h 412"/>
              <a:gd name="T88" fmla="*/ 2147483647 w 255"/>
              <a:gd name="T89" fmla="*/ 2147483647 h 412"/>
              <a:gd name="T90" fmla="*/ 2147483647 w 255"/>
              <a:gd name="T91" fmla="*/ 2147483647 h 412"/>
              <a:gd name="T92" fmla="*/ 2147483647 w 255"/>
              <a:gd name="T93" fmla="*/ 2147483647 h 412"/>
              <a:gd name="T94" fmla="*/ 2147483647 w 255"/>
              <a:gd name="T95" fmla="*/ 2147483647 h 412"/>
              <a:gd name="T96" fmla="*/ 2147483647 w 255"/>
              <a:gd name="T97" fmla="*/ 2147483647 h 412"/>
              <a:gd name="T98" fmla="*/ 2147483647 w 255"/>
              <a:gd name="T99" fmla="*/ 2147483647 h 412"/>
              <a:gd name="T100" fmla="*/ 0 w 255"/>
              <a:gd name="T101" fmla="*/ 2147483647 h 412"/>
              <a:gd name="T102" fmla="*/ 2147483647 w 255"/>
              <a:gd name="T103" fmla="*/ 2147483647 h 412"/>
              <a:gd name="T104" fmla="*/ 2147483647 w 255"/>
              <a:gd name="T105" fmla="*/ 2147483647 h 412"/>
              <a:gd name="T106" fmla="*/ 2147483647 w 255"/>
              <a:gd name="T107" fmla="*/ 2147483647 h 412"/>
              <a:gd name="T108" fmla="*/ 2147483647 w 255"/>
              <a:gd name="T109" fmla="*/ 2147483647 h 412"/>
              <a:gd name="T110" fmla="*/ 2147483647 w 255"/>
              <a:gd name="T111" fmla="*/ 2147483647 h 41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55"/>
              <a:gd name="T169" fmla="*/ 0 h 412"/>
              <a:gd name="T170" fmla="*/ 255 w 255"/>
              <a:gd name="T171" fmla="*/ 412 h 412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55" h="412">
                <a:moveTo>
                  <a:pt x="169" y="344"/>
                </a:moveTo>
                <a:cubicBezTo>
                  <a:pt x="45" y="344"/>
                  <a:pt x="45" y="344"/>
                  <a:pt x="45" y="344"/>
                </a:cubicBezTo>
                <a:cubicBezTo>
                  <a:pt x="37" y="344"/>
                  <a:pt x="30" y="349"/>
                  <a:pt x="29" y="358"/>
                </a:cubicBezTo>
                <a:cubicBezTo>
                  <a:pt x="29" y="370"/>
                  <a:pt x="29" y="370"/>
                  <a:pt x="29" y="370"/>
                </a:cubicBezTo>
                <a:cubicBezTo>
                  <a:pt x="30" y="380"/>
                  <a:pt x="37" y="385"/>
                  <a:pt x="45" y="385"/>
                </a:cubicBezTo>
                <a:cubicBezTo>
                  <a:pt x="169" y="385"/>
                  <a:pt x="169" y="385"/>
                  <a:pt x="169" y="385"/>
                </a:cubicBezTo>
                <a:cubicBezTo>
                  <a:pt x="177" y="385"/>
                  <a:pt x="185" y="380"/>
                  <a:pt x="185" y="370"/>
                </a:cubicBezTo>
                <a:cubicBezTo>
                  <a:pt x="185" y="358"/>
                  <a:pt x="185" y="358"/>
                  <a:pt x="185" y="358"/>
                </a:cubicBezTo>
                <a:cubicBezTo>
                  <a:pt x="184" y="349"/>
                  <a:pt x="177" y="344"/>
                  <a:pt x="169" y="344"/>
                </a:cubicBezTo>
                <a:close/>
                <a:moveTo>
                  <a:pt x="169" y="369"/>
                </a:moveTo>
                <a:cubicBezTo>
                  <a:pt x="45" y="369"/>
                  <a:pt x="45" y="369"/>
                  <a:pt x="45" y="369"/>
                </a:cubicBezTo>
                <a:cubicBezTo>
                  <a:pt x="45" y="369"/>
                  <a:pt x="45" y="369"/>
                  <a:pt x="45" y="369"/>
                </a:cubicBezTo>
                <a:cubicBezTo>
                  <a:pt x="45" y="360"/>
                  <a:pt x="45" y="360"/>
                  <a:pt x="45" y="360"/>
                </a:cubicBezTo>
                <a:cubicBezTo>
                  <a:pt x="45" y="360"/>
                  <a:pt x="45" y="360"/>
                  <a:pt x="45" y="360"/>
                </a:cubicBezTo>
                <a:cubicBezTo>
                  <a:pt x="169" y="360"/>
                  <a:pt x="169" y="360"/>
                  <a:pt x="169" y="360"/>
                </a:cubicBezTo>
                <a:lnTo>
                  <a:pt x="169" y="369"/>
                </a:lnTo>
                <a:close/>
                <a:moveTo>
                  <a:pt x="185" y="306"/>
                </a:moveTo>
                <a:cubicBezTo>
                  <a:pt x="185" y="297"/>
                  <a:pt x="177" y="291"/>
                  <a:pt x="169" y="291"/>
                </a:cubicBezTo>
                <a:cubicBezTo>
                  <a:pt x="45" y="291"/>
                  <a:pt x="45" y="291"/>
                  <a:pt x="45" y="291"/>
                </a:cubicBezTo>
                <a:cubicBezTo>
                  <a:pt x="37" y="291"/>
                  <a:pt x="30" y="297"/>
                  <a:pt x="29" y="306"/>
                </a:cubicBezTo>
                <a:cubicBezTo>
                  <a:pt x="29" y="318"/>
                  <a:pt x="29" y="318"/>
                  <a:pt x="29" y="318"/>
                </a:cubicBezTo>
                <a:cubicBezTo>
                  <a:pt x="30" y="327"/>
                  <a:pt x="37" y="333"/>
                  <a:pt x="45" y="333"/>
                </a:cubicBezTo>
                <a:cubicBezTo>
                  <a:pt x="169" y="333"/>
                  <a:pt x="169" y="333"/>
                  <a:pt x="169" y="333"/>
                </a:cubicBezTo>
                <a:cubicBezTo>
                  <a:pt x="177" y="333"/>
                  <a:pt x="184" y="327"/>
                  <a:pt x="185" y="318"/>
                </a:cubicBezTo>
                <a:lnTo>
                  <a:pt x="185" y="306"/>
                </a:lnTo>
                <a:close/>
                <a:moveTo>
                  <a:pt x="169" y="317"/>
                </a:moveTo>
                <a:cubicBezTo>
                  <a:pt x="45" y="317"/>
                  <a:pt x="45" y="317"/>
                  <a:pt x="45" y="317"/>
                </a:cubicBezTo>
                <a:cubicBezTo>
                  <a:pt x="45" y="317"/>
                  <a:pt x="45" y="317"/>
                  <a:pt x="45" y="317"/>
                </a:cubicBezTo>
                <a:cubicBezTo>
                  <a:pt x="45" y="307"/>
                  <a:pt x="45" y="307"/>
                  <a:pt x="45" y="307"/>
                </a:cubicBezTo>
                <a:cubicBezTo>
                  <a:pt x="45" y="307"/>
                  <a:pt x="45" y="307"/>
                  <a:pt x="45" y="307"/>
                </a:cubicBezTo>
                <a:cubicBezTo>
                  <a:pt x="169" y="307"/>
                  <a:pt x="169" y="307"/>
                  <a:pt x="169" y="307"/>
                </a:cubicBezTo>
                <a:lnTo>
                  <a:pt x="169" y="317"/>
                </a:lnTo>
                <a:close/>
                <a:moveTo>
                  <a:pt x="185" y="253"/>
                </a:moveTo>
                <a:cubicBezTo>
                  <a:pt x="184" y="244"/>
                  <a:pt x="177" y="239"/>
                  <a:pt x="169" y="239"/>
                </a:cubicBezTo>
                <a:cubicBezTo>
                  <a:pt x="45" y="239"/>
                  <a:pt x="45" y="239"/>
                  <a:pt x="45" y="239"/>
                </a:cubicBezTo>
                <a:cubicBezTo>
                  <a:pt x="37" y="239"/>
                  <a:pt x="30" y="244"/>
                  <a:pt x="29" y="253"/>
                </a:cubicBezTo>
                <a:cubicBezTo>
                  <a:pt x="29" y="265"/>
                  <a:pt x="29" y="265"/>
                  <a:pt x="29" y="265"/>
                </a:cubicBezTo>
                <a:cubicBezTo>
                  <a:pt x="30" y="275"/>
                  <a:pt x="37" y="280"/>
                  <a:pt x="45" y="280"/>
                </a:cubicBezTo>
                <a:cubicBezTo>
                  <a:pt x="169" y="280"/>
                  <a:pt x="169" y="280"/>
                  <a:pt x="169" y="280"/>
                </a:cubicBezTo>
                <a:cubicBezTo>
                  <a:pt x="177" y="280"/>
                  <a:pt x="185" y="275"/>
                  <a:pt x="185" y="265"/>
                </a:cubicBezTo>
                <a:lnTo>
                  <a:pt x="185" y="253"/>
                </a:lnTo>
                <a:close/>
                <a:moveTo>
                  <a:pt x="169" y="264"/>
                </a:moveTo>
                <a:cubicBezTo>
                  <a:pt x="45" y="264"/>
                  <a:pt x="45" y="264"/>
                  <a:pt x="45" y="264"/>
                </a:cubicBezTo>
                <a:cubicBezTo>
                  <a:pt x="45" y="264"/>
                  <a:pt x="45" y="264"/>
                  <a:pt x="45" y="264"/>
                </a:cubicBezTo>
                <a:cubicBezTo>
                  <a:pt x="45" y="255"/>
                  <a:pt x="45" y="255"/>
                  <a:pt x="45" y="255"/>
                </a:cubicBezTo>
                <a:cubicBezTo>
                  <a:pt x="45" y="255"/>
                  <a:pt x="45" y="255"/>
                  <a:pt x="45" y="255"/>
                </a:cubicBezTo>
                <a:cubicBezTo>
                  <a:pt x="169" y="255"/>
                  <a:pt x="169" y="255"/>
                  <a:pt x="169" y="255"/>
                </a:cubicBezTo>
                <a:lnTo>
                  <a:pt x="169" y="264"/>
                </a:lnTo>
                <a:close/>
                <a:moveTo>
                  <a:pt x="185" y="201"/>
                </a:moveTo>
                <a:cubicBezTo>
                  <a:pt x="185" y="192"/>
                  <a:pt x="177" y="186"/>
                  <a:pt x="169" y="186"/>
                </a:cubicBezTo>
                <a:cubicBezTo>
                  <a:pt x="45" y="186"/>
                  <a:pt x="45" y="186"/>
                  <a:pt x="45" y="186"/>
                </a:cubicBezTo>
                <a:cubicBezTo>
                  <a:pt x="37" y="186"/>
                  <a:pt x="30" y="192"/>
                  <a:pt x="29" y="201"/>
                </a:cubicBezTo>
                <a:cubicBezTo>
                  <a:pt x="29" y="213"/>
                  <a:pt x="29" y="213"/>
                  <a:pt x="29" y="213"/>
                </a:cubicBezTo>
                <a:cubicBezTo>
                  <a:pt x="30" y="222"/>
                  <a:pt x="37" y="228"/>
                  <a:pt x="45" y="228"/>
                </a:cubicBezTo>
                <a:cubicBezTo>
                  <a:pt x="169" y="228"/>
                  <a:pt x="169" y="228"/>
                  <a:pt x="169" y="228"/>
                </a:cubicBezTo>
                <a:cubicBezTo>
                  <a:pt x="177" y="228"/>
                  <a:pt x="184" y="222"/>
                  <a:pt x="185" y="213"/>
                </a:cubicBezTo>
                <a:lnTo>
                  <a:pt x="185" y="201"/>
                </a:lnTo>
                <a:close/>
                <a:moveTo>
                  <a:pt x="169" y="212"/>
                </a:moveTo>
                <a:cubicBezTo>
                  <a:pt x="45" y="212"/>
                  <a:pt x="45" y="212"/>
                  <a:pt x="45" y="212"/>
                </a:cubicBezTo>
                <a:cubicBezTo>
                  <a:pt x="45" y="212"/>
                  <a:pt x="45" y="212"/>
                  <a:pt x="45" y="212"/>
                </a:cubicBezTo>
                <a:cubicBezTo>
                  <a:pt x="45" y="202"/>
                  <a:pt x="45" y="202"/>
                  <a:pt x="45" y="202"/>
                </a:cubicBezTo>
                <a:cubicBezTo>
                  <a:pt x="45" y="202"/>
                  <a:pt x="45" y="202"/>
                  <a:pt x="45" y="202"/>
                </a:cubicBezTo>
                <a:cubicBezTo>
                  <a:pt x="169" y="202"/>
                  <a:pt x="169" y="202"/>
                  <a:pt x="169" y="202"/>
                </a:cubicBezTo>
                <a:lnTo>
                  <a:pt x="169" y="212"/>
                </a:lnTo>
                <a:close/>
                <a:moveTo>
                  <a:pt x="185" y="148"/>
                </a:moveTo>
                <a:cubicBezTo>
                  <a:pt x="184" y="139"/>
                  <a:pt x="177" y="134"/>
                  <a:pt x="169" y="134"/>
                </a:cubicBezTo>
                <a:cubicBezTo>
                  <a:pt x="45" y="134"/>
                  <a:pt x="45" y="134"/>
                  <a:pt x="45" y="134"/>
                </a:cubicBezTo>
                <a:cubicBezTo>
                  <a:pt x="37" y="134"/>
                  <a:pt x="30" y="139"/>
                  <a:pt x="29" y="148"/>
                </a:cubicBezTo>
                <a:cubicBezTo>
                  <a:pt x="29" y="161"/>
                  <a:pt x="29" y="161"/>
                  <a:pt x="29" y="161"/>
                </a:cubicBezTo>
                <a:cubicBezTo>
                  <a:pt x="30" y="170"/>
                  <a:pt x="37" y="175"/>
                  <a:pt x="45" y="175"/>
                </a:cubicBezTo>
                <a:cubicBezTo>
                  <a:pt x="169" y="175"/>
                  <a:pt x="169" y="175"/>
                  <a:pt x="169" y="175"/>
                </a:cubicBezTo>
                <a:cubicBezTo>
                  <a:pt x="177" y="175"/>
                  <a:pt x="185" y="170"/>
                  <a:pt x="185" y="161"/>
                </a:cubicBezTo>
                <a:lnTo>
                  <a:pt x="185" y="148"/>
                </a:lnTo>
                <a:close/>
                <a:moveTo>
                  <a:pt x="169" y="159"/>
                </a:moveTo>
                <a:cubicBezTo>
                  <a:pt x="45" y="159"/>
                  <a:pt x="45" y="159"/>
                  <a:pt x="45" y="159"/>
                </a:cubicBezTo>
                <a:cubicBezTo>
                  <a:pt x="45" y="159"/>
                  <a:pt x="45" y="159"/>
                  <a:pt x="45" y="159"/>
                </a:cubicBezTo>
                <a:cubicBezTo>
                  <a:pt x="45" y="150"/>
                  <a:pt x="45" y="150"/>
                  <a:pt x="45" y="150"/>
                </a:cubicBezTo>
                <a:cubicBezTo>
                  <a:pt x="45" y="150"/>
                  <a:pt x="45" y="150"/>
                  <a:pt x="45" y="150"/>
                </a:cubicBezTo>
                <a:cubicBezTo>
                  <a:pt x="169" y="150"/>
                  <a:pt x="169" y="150"/>
                  <a:pt x="169" y="150"/>
                </a:cubicBezTo>
                <a:lnTo>
                  <a:pt x="169" y="159"/>
                </a:lnTo>
                <a:close/>
                <a:moveTo>
                  <a:pt x="185" y="96"/>
                </a:moveTo>
                <a:cubicBezTo>
                  <a:pt x="185" y="87"/>
                  <a:pt x="177" y="81"/>
                  <a:pt x="169" y="81"/>
                </a:cubicBezTo>
                <a:cubicBezTo>
                  <a:pt x="45" y="81"/>
                  <a:pt x="45" y="81"/>
                  <a:pt x="45" y="81"/>
                </a:cubicBezTo>
                <a:cubicBezTo>
                  <a:pt x="37" y="81"/>
                  <a:pt x="30" y="87"/>
                  <a:pt x="29" y="96"/>
                </a:cubicBezTo>
                <a:cubicBezTo>
                  <a:pt x="29" y="108"/>
                  <a:pt x="29" y="108"/>
                  <a:pt x="29" y="108"/>
                </a:cubicBezTo>
                <a:cubicBezTo>
                  <a:pt x="30" y="117"/>
                  <a:pt x="37" y="123"/>
                  <a:pt x="45" y="123"/>
                </a:cubicBezTo>
                <a:cubicBezTo>
                  <a:pt x="169" y="123"/>
                  <a:pt x="169" y="123"/>
                  <a:pt x="169" y="123"/>
                </a:cubicBezTo>
                <a:cubicBezTo>
                  <a:pt x="177" y="123"/>
                  <a:pt x="184" y="117"/>
                  <a:pt x="185" y="108"/>
                </a:cubicBezTo>
                <a:lnTo>
                  <a:pt x="185" y="96"/>
                </a:lnTo>
                <a:close/>
                <a:moveTo>
                  <a:pt x="169" y="107"/>
                </a:moveTo>
                <a:cubicBezTo>
                  <a:pt x="45" y="107"/>
                  <a:pt x="45" y="107"/>
                  <a:pt x="45" y="107"/>
                </a:cubicBezTo>
                <a:cubicBezTo>
                  <a:pt x="45" y="107"/>
                  <a:pt x="45" y="107"/>
                  <a:pt x="45" y="107"/>
                </a:cubicBezTo>
                <a:cubicBezTo>
                  <a:pt x="45" y="97"/>
                  <a:pt x="45" y="97"/>
                  <a:pt x="45" y="97"/>
                </a:cubicBezTo>
                <a:cubicBezTo>
                  <a:pt x="45" y="97"/>
                  <a:pt x="45" y="97"/>
                  <a:pt x="45" y="97"/>
                </a:cubicBezTo>
                <a:cubicBezTo>
                  <a:pt x="169" y="97"/>
                  <a:pt x="169" y="97"/>
                  <a:pt x="169" y="97"/>
                </a:cubicBezTo>
                <a:lnTo>
                  <a:pt x="169" y="107"/>
                </a:lnTo>
                <a:close/>
                <a:moveTo>
                  <a:pt x="185" y="44"/>
                </a:moveTo>
                <a:cubicBezTo>
                  <a:pt x="184" y="34"/>
                  <a:pt x="177" y="29"/>
                  <a:pt x="169" y="29"/>
                </a:cubicBezTo>
                <a:cubicBezTo>
                  <a:pt x="45" y="29"/>
                  <a:pt x="45" y="29"/>
                  <a:pt x="45" y="29"/>
                </a:cubicBezTo>
                <a:cubicBezTo>
                  <a:pt x="37" y="29"/>
                  <a:pt x="30" y="34"/>
                  <a:pt x="29" y="44"/>
                </a:cubicBezTo>
                <a:cubicBezTo>
                  <a:pt x="29" y="56"/>
                  <a:pt x="29" y="56"/>
                  <a:pt x="29" y="56"/>
                </a:cubicBezTo>
                <a:cubicBezTo>
                  <a:pt x="30" y="65"/>
                  <a:pt x="37" y="70"/>
                  <a:pt x="45" y="70"/>
                </a:cubicBezTo>
                <a:cubicBezTo>
                  <a:pt x="169" y="70"/>
                  <a:pt x="169" y="70"/>
                  <a:pt x="169" y="70"/>
                </a:cubicBezTo>
                <a:cubicBezTo>
                  <a:pt x="177" y="70"/>
                  <a:pt x="185" y="65"/>
                  <a:pt x="185" y="56"/>
                </a:cubicBezTo>
                <a:lnTo>
                  <a:pt x="185" y="44"/>
                </a:lnTo>
                <a:close/>
                <a:moveTo>
                  <a:pt x="169" y="54"/>
                </a:moveTo>
                <a:cubicBezTo>
                  <a:pt x="45" y="54"/>
                  <a:pt x="45" y="54"/>
                  <a:pt x="45" y="54"/>
                </a:cubicBezTo>
                <a:cubicBezTo>
                  <a:pt x="45" y="54"/>
                  <a:pt x="45" y="54"/>
                  <a:pt x="45" y="54"/>
                </a:cubicBezTo>
                <a:cubicBezTo>
                  <a:pt x="45" y="45"/>
                  <a:pt x="45" y="45"/>
                  <a:pt x="45" y="45"/>
                </a:cubicBezTo>
                <a:cubicBezTo>
                  <a:pt x="45" y="45"/>
                  <a:pt x="45" y="45"/>
                  <a:pt x="45" y="45"/>
                </a:cubicBezTo>
                <a:cubicBezTo>
                  <a:pt x="169" y="45"/>
                  <a:pt x="169" y="45"/>
                  <a:pt x="169" y="45"/>
                </a:cubicBezTo>
                <a:lnTo>
                  <a:pt x="169" y="54"/>
                </a:lnTo>
                <a:close/>
                <a:moveTo>
                  <a:pt x="212" y="88"/>
                </a:moveTo>
                <a:cubicBezTo>
                  <a:pt x="204" y="88"/>
                  <a:pt x="198" y="94"/>
                  <a:pt x="198" y="102"/>
                </a:cubicBezTo>
                <a:cubicBezTo>
                  <a:pt x="198" y="110"/>
                  <a:pt x="204" y="116"/>
                  <a:pt x="212" y="116"/>
                </a:cubicBezTo>
                <a:cubicBezTo>
                  <a:pt x="220" y="116"/>
                  <a:pt x="226" y="110"/>
                  <a:pt x="226" y="102"/>
                </a:cubicBezTo>
                <a:cubicBezTo>
                  <a:pt x="226" y="94"/>
                  <a:pt x="220" y="88"/>
                  <a:pt x="212" y="88"/>
                </a:cubicBezTo>
                <a:close/>
                <a:moveTo>
                  <a:pt x="212" y="35"/>
                </a:moveTo>
                <a:cubicBezTo>
                  <a:pt x="204" y="35"/>
                  <a:pt x="198" y="42"/>
                  <a:pt x="198" y="50"/>
                </a:cubicBezTo>
                <a:cubicBezTo>
                  <a:pt x="198" y="57"/>
                  <a:pt x="204" y="64"/>
                  <a:pt x="212" y="64"/>
                </a:cubicBezTo>
                <a:cubicBezTo>
                  <a:pt x="220" y="64"/>
                  <a:pt x="226" y="57"/>
                  <a:pt x="226" y="50"/>
                </a:cubicBezTo>
                <a:cubicBezTo>
                  <a:pt x="226" y="42"/>
                  <a:pt x="220" y="35"/>
                  <a:pt x="212" y="35"/>
                </a:cubicBezTo>
                <a:close/>
                <a:moveTo>
                  <a:pt x="212" y="140"/>
                </a:moveTo>
                <a:cubicBezTo>
                  <a:pt x="204" y="140"/>
                  <a:pt x="198" y="147"/>
                  <a:pt x="198" y="155"/>
                </a:cubicBezTo>
                <a:cubicBezTo>
                  <a:pt x="198" y="162"/>
                  <a:pt x="204" y="169"/>
                  <a:pt x="212" y="169"/>
                </a:cubicBezTo>
                <a:cubicBezTo>
                  <a:pt x="220" y="169"/>
                  <a:pt x="226" y="162"/>
                  <a:pt x="226" y="155"/>
                </a:cubicBezTo>
                <a:cubicBezTo>
                  <a:pt x="226" y="147"/>
                  <a:pt x="220" y="140"/>
                  <a:pt x="212" y="140"/>
                </a:cubicBezTo>
                <a:close/>
                <a:moveTo>
                  <a:pt x="212" y="193"/>
                </a:moveTo>
                <a:cubicBezTo>
                  <a:pt x="204" y="193"/>
                  <a:pt x="198" y="199"/>
                  <a:pt x="198" y="207"/>
                </a:cubicBezTo>
                <a:cubicBezTo>
                  <a:pt x="198" y="215"/>
                  <a:pt x="204" y="221"/>
                  <a:pt x="212" y="221"/>
                </a:cubicBezTo>
                <a:cubicBezTo>
                  <a:pt x="220" y="221"/>
                  <a:pt x="226" y="215"/>
                  <a:pt x="226" y="207"/>
                </a:cubicBezTo>
                <a:cubicBezTo>
                  <a:pt x="226" y="199"/>
                  <a:pt x="220" y="193"/>
                  <a:pt x="212" y="193"/>
                </a:cubicBezTo>
                <a:close/>
                <a:moveTo>
                  <a:pt x="212" y="245"/>
                </a:moveTo>
                <a:cubicBezTo>
                  <a:pt x="204" y="245"/>
                  <a:pt x="198" y="252"/>
                  <a:pt x="198" y="259"/>
                </a:cubicBezTo>
                <a:cubicBezTo>
                  <a:pt x="198" y="267"/>
                  <a:pt x="204" y="274"/>
                  <a:pt x="212" y="274"/>
                </a:cubicBezTo>
                <a:cubicBezTo>
                  <a:pt x="220" y="274"/>
                  <a:pt x="226" y="267"/>
                  <a:pt x="226" y="259"/>
                </a:cubicBezTo>
                <a:cubicBezTo>
                  <a:pt x="226" y="252"/>
                  <a:pt x="220" y="245"/>
                  <a:pt x="212" y="245"/>
                </a:cubicBezTo>
                <a:close/>
                <a:moveTo>
                  <a:pt x="212" y="298"/>
                </a:moveTo>
                <a:cubicBezTo>
                  <a:pt x="204" y="298"/>
                  <a:pt x="198" y="304"/>
                  <a:pt x="198" y="312"/>
                </a:cubicBezTo>
                <a:cubicBezTo>
                  <a:pt x="198" y="320"/>
                  <a:pt x="204" y="326"/>
                  <a:pt x="212" y="326"/>
                </a:cubicBezTo>
                <a:cubicBezTo>
                  <a:pt x="220" y="326"/>
                  <a:pt x="226" y="320"/>
                  <a:pt x="226" y="312"/>
                </a:cubicBezTo>
                <a:cubicBezTo>
                  <a:pt x="226" y="304"/>
                  <a:pt x="220" y="298"/>
                  <a:pt x="212" y="298"/>
                </a:cubicBezTo>
                <a:close/>
                <a:moveTo>
                  <a:pt x="212" y="350"/>
                </a:moveTo>
                <a:cubicBezTo>
                  <a:pt x="204" y="350"/>
                  <a:pt x="198" y="356"/>
                  <a:pt x="198" y="364"/>
                </a:cubicBezTo>
                <a:cubicBezTo>
                  <a:pt x="198" y="372"/>
                  <a:pt x="204" y="379"/>
                  <a:pt x="212" y="379"/>
                </a:cubicBezTo>
                <a:cubicBezTo>
                  <a:pt x="220" y="379"/>
                  <a:pt x="226" y="372"/>
                  <a:pt x="226" y="364"/>
                </a:cubicBezTo>
                <a:cubicBezTo>
                  <a:pt x="226" y="356"/>
                  <a:pt x="220" y="350"/>
                  <a:pt x="212" y="350"/>
                </a:cubicBezTo>
                <a:close/>
                <a:moveTo>
                  <a:pt x="247" y="44"/>
                </a:moveTo>
                <a:cubicBezTo>
                  <a:pt x="251" y="44"/>
                  <a:pt x="255" y="41"/>
                  <a:pt x="255" y="36"/>
                </a:cubicBezTo>
                <a:cubicBezTo>
                  <a:pt x="255" y="16"/>
                  <a:pt x="255" y="16"/>
                  <a:pt x="255" y="16"/>
                </a:cubicBezTo>
                <a:cubicBezTo>
                  <a:pt x="255" y="7"/>
                  <a:pt x="248" y="0"/>
                  <a:pt x="23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7" y="0"/>
                  <a:pt x="0" y="7"/>
                  <a:pt x="0" y="16"/>
                </a:cubicBezTo>
                <a:cubicBezTo>
                  <a:pt x="0" y="396"/>
                  <a:pt x="0" y="396"/>
                  <a:pt x="0" y="396"/>
                </a:cubicBezTo>
                <a:cubicBezTo>
                  <a:pt x="0" y="405"/>
                  <a:pt x="7" y="412"/>
                  <a:pt x="16" y="412"/>
                </a:cubicBezTo>
                <a:cubicBezTo>
                  <a:pt x="239" y="412"/>
                  <a:pt x="239" y="412"/>
                  <a:pt x="239" y="412"/>
                </a:cubicBezTo>
                <a:cubicBezTo>
                  <a:pt x="248" y="412"/>
                  <a:pt x="255" y="405"/>
                  <a:pt x="255" y="396"/>
                </a:cubicBezTo>
                <a:cubicBezTo>
                  <a:pt x="255" y="60"/>
                  <a:pt x="255" y="60"/>
                  <a:pt x="255" y="60"/>
                </a:cubicBezTo>
                <a:cubicBezTo>
                  <a:pt x="255" y="56"/>
                  <a:pt x="251" y="52"/>
                  <a:pt x="247" y="52"/>
                </a:cubicBezTo>
                <a:cubicBezTo>
                  <a:pt x="242" y="52"/>
                  <a:pt x="239" y="56"/>
                  <a:pt x="239" y="60"/>
                </a:cubicBezTo>
                <a:cubicBezTo>
                  <a:pt x="239" y="396"/>
                  <a:pt x="239" y="396"/>
                  <a:pt x="239" y="396"/>
                </a:cubicBezTo>
                <a:cubicBezTo>
                  <a:pt x="16" y="396"/>
                  <a:pt x="16" y="396"/>
                  <a:pt x="16" y="396"/>
                </a:cubicBezTo>
                <a:cubicBezTo>
                  <a:pt x="16" y="396"/>
                  <a:pt x="16" y="396"/>
                  <a:pt x="16" y="396"/>
                </a:cubicBezTo>
                <a:cubicBezTo>
                  <a:pt x="16" y="16"/>
                  <a:pt x="16" y="16"/>
                  <a:pt x="16" y="16"/>
                </a:cubicBezTo>
                <a:cubicBezTo>
                  <a:pt x="16" y="16"/>
                  <a:pt x="16" y="16"/>
                  <a:pt x="16" y="16"/>
                </a:cubicBezTo>
                <a:cubicBezTo>
                  <a:pt x="239" y="16"/>
                  <a:pt x="239" y="16"/>
                  <a:pt x="239" y="16"/>
                </a:cubicBezTo>
                <a:cubicBezTo>
                  <a:pt x="239" y="36"/>
                  <a:pt x="239" y="36"/>
                  <a:pt x="239" y="36"/>
                </a:cubicBezTo>
                <a:cubicBezTo>
                  <a:pt x="239" y="41"/>
                  <a:pt x="242" y="44"/>
                  <a:pt x="247" y="44"/>
                </a:cubicBezTo>
                <a:close/>
              </a:path>
            </a:pathLst>
          </a:custGeom>
          <a:blipFill dpi="0" rotWithShape="0">
            <a:blip r:embed="rId7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endParaRPr lang="en-US" smtClean="0">
              <a:solidFill>
                <a:srgbClr val="58585A"/>
              </a:solidFill>
              <a:latin typeface="Arial" pitchFamily="34" charset="0"/>
            </a:endParaRPr>
          </a:p>
        </p:txBody>
      </p:sp>
      <p:sp>
        <p:nvSpPr>
          <p:cNvPr id="8203" name="Freeform 13" descr="bpct-blend3"/>
          <p:cNvSpPr>
            <a:spLocks noChangeAspect="1"/>
          </p:cNvSpPr>
          <p:nvPr/>
        </p:nvSpPr>
        <p:spPr bwMode="auto">
          <a:xfrm>
            <a:off x="374654" y="3867463"/>
            <a:ext cx="137583" cy="425450"/>
          </a:xfrm>
          <a:custGeom>
            <a:avLst/>
            <a:gdLst>
              <a:gd name="T0" fmla="*/ 2147483647 w 73"/>
              <a:gd name="T1" fmla="*/ 2147483647 h 227"/>
              <a:gd name="T2" fmla="*/ 0 w 73"/>
              <a:gd name="T3" fmla="*/ 2147483647 h 227"/>
              <a:gd name="T4" fmla="*/ 0 w 73"/>
              <a:gd name="T5" fmla="*/ 2147483647 h 227"/>
              <a:gd name="T6" fmla="*/ 0 w 73"/>
              <a:gd name="T7" fmla="*/ 2147483647 h 227"/>
              <a:gd name="T8" fmla="*/ 2147483647 w 73"/>
              <a:gd name="T9" fmla="*/ 0 h 227"/>
              <a:gd name="T10" fmla="*/ 2147483647 w 73"/>
              <a:gd name="T11" fmla="*/ 0 h 227"/>
              <a:gd name="T12" fmla="*/ 2147483647 w 73"/>
              <a:gd name="T13" fmla="*/ 0 h 227"/>
              <a:gd name="T14" fmla="*/ 2147483647 w 73"/>
              <a:gd name="T15" fmla="*/ 0 h 227"/>
              <a:gd name="T16" fmla="*/ 2147483647 w 73"/>
              <a:gd name="T17" fmla="*/ 0 h 227"/>
              <a:gd name="T18" fmla="*/ 2147483647 w 73"/>
              <a:gd name="T19" fmla="*/ 2147483647 h 227"/>
              <a:gd name="T20" fmla="*/ 2147483647 w 73"/>
              <a:gd name="T21" fmla="*/ 2147483647 h 227"/>
              <a:gd name="T22" fmla="*/ 2147483647 w 73"/>
              <a:gd name="T23" fmla="*/ 2147483647 h 227"/>
              <a:gd name="T24" fmla="*/ 2147483647 w 73"/>
              <a:gd name="T25" fmla="*/ 2147483647 h 227"/>
              <a:gd name="T26" fmla="*/ 2147483647 w 73"/>
              <a:gd name="T27" fmla="*/ 2147483647 h 227"/>
              <a:gd name="T28" fmla="*/ 2147483647 w 73"/>
              <a:gd name="T29" fmla="*/ 2147483647 h 227"/>
              <a:gd name="T30" fmla="*/ 2147483647 w 73"/>
              <a:gd name="T31" fmla="*/ 2147483647 h 227"/>
              <a:gd name="T32" fmla="*/ 2147483647 w 73"/>
              <a:gd name="T33" fmla="*/ 2147483647 h 227"/>
              <a:gd name="T34" fmla="*/ 2147483647 w 73"/>
              <a:gd name="T35" fmla="*/ 2147483647 h 227"/>
              <a:gd name="T36" fmla="*/ 2147483647 w 73"/>
              <a:gd name="T37" fmla="*/ 2147483647 h 227"/>
              <a:gd name="T38" fmla="*/ 2147483647 w 73"/>
              <a:gd name="T39" fmla="*/ 2147483647 h 227"/>
              <a:gd name="T40" fmla="*/ 2147483647 w 73"/>
              <a:gd name="T41" fmla="*/ 2147483647 h 227"/>
              <a:gd name="T42" fmla="*/ 2147483647 w 73"/>
              <a:gd name="T43" fmla="*/ 2147483647 h 227"/>
              <a:gd name="T44" fmla="*/ 2147483647 w 73"/>
              <a:gd name="T45" fmla="*/ 2147483647 h 227"/>
              <a:gd name="T46" fmla="*/ 2147483647 w 73"/>
              <a:gd name="T47" fmla="*/ 2147483647 h 227"/>
              <a:gd name="T48" fmla="*/ 2147483647 w 73"/>
              <a:gd name="T49" fmla="*/ 2147483647 h 227"/>
              <a:gd name="T50" fmla="*/ 2147483647 w 73"/>
              <a:gd name="T51" fmla="*/ 2147483647 h 227"/>
              <a:gd name="T52" fmla="*/ 2147483647 w 73"/>
              <a:gd name="T53" fmla="*/ 2147483647 h 227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73" h="227">
                <a:moveTo>
                  <a:pt x="29" y="227"/>
                </a:moveTo>
                <a:cubicBezTo>
                  <a:pt x="13" y="227"/>
                  <a:pt x="0" y="214"/>
                  <a:pt x="0" y="198"/>
                </a:cubicBezTo>
                <a:cubicBezTo>
                  <a:pt x="0" y="198"/>
                  <a:pt x="0" y="198"/>
                  <a:pt x="0" y="198"/>
                </a:cubicBezTo>
                <a:cubicBezTo>
                  <a:pt x="0" y="29"/>
                  <a:pt x="0" y="29"/>
                  <a:pt x="0" y="29"/>
                </a:cubicBezTo>
                <a:cubicBezTo>
                  <a:pt x="0" y="13"/>
                  <a:pt x="13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43" y="0"/>
                  <a:pt x="65" y="0"/>
                </a:cubicBezTo>
                <a:cubicBezTo>
                  <a:pt x="65" y="0"/>
                  <a:pt x="65" y="0"/>
                  <a:pt x="65" y="0"/>
                </a:cubicBezTo>
                <a:cubicBezTo>
                  <a:pt x="65" y="0"/>
                  <a:pt x="65" y="0"/>
                  <a:pt x="65" y="0"/>
                </a:cubicBezTo>
                <a:cubicBezTo>
                  <a:pt x="69" y="0"/>
                  <a:pt x="73" y="3"/>
                  <a:pt x="73" y="8"/>
                </a:cubicBezTo>
                <a:cubicBezTo>
                  <a:pt x="73" y="8"/>
                  <a:pt x="73" y="8"/>
                  <a:pt x="73" y="8"/>
                </a:cubicBezTo>
                <a:cubicBezTo>
                  <a:pt x="73" y="12"/>
                  <a:pt x="69" y="16"/>
                  <a:pt x="65" y="16"/>
                </a:cubicBezTo>
                <a:cubicBezTo>
                  <a:pt x="65" y="16"/>
                  <a:pt x="65" y="16"/>
                  <a:pt x="65" y="16"/>
                </a:cubicBezTo>
                <a:cubicBezTo>
                  <a:pt x="43" y="16"/>
                  <a:pt x="29" y="16"/>
                  <a:pt x="29" y="16"/>
                </a:cubicBezTo>
                <a:cubicBezTo>
                  <a:pt x="29" y="16"/>
                  <a:pt x="29" y="16"/>
                  <a:pt x="29" y="16"/>
                </a:cubicBezTo>
                <a:cubicBezTo>
                  <a:pt x="22" y="16"/>
                  <a:pt x="16" y="22"/>
                  <a:pt x="16" y="29"/>
                </a:cubicBezTo>
                <a:cubicBezTo>
                  <a:pt x="16" y="29"/>
                  <a:pt x="16" y="29"/>
                  <a:pt x="16" y="29"/>
                </a:cubicBezTo>
                <a:cubicBezTo>
                  <a:pt x="16" y="198"/>
                  <a:pt x="16" y="198"/>
                  <a:pt x="16" y="198"/>
                </a:cubicBezTo>
                <a:cubicBezTo>
                  <a:pt x="16" y="205"/>
                  <a:pt x="22" y="211"/>
                  <a:pt x="29" y="211"/>
                </a:cubicBezTo>
                <a:cubicBezTo>
                  <a:pt x="29" y="211"/>
                  <a:pt x="29" y="211"/>
                  <a:pt x="29" y="211"/>
                </a:cubicBezTo>
                <a:cubicBezTo>
                  <a:pt x="29" y="211"/>
                  <a:pt x="43" y="211"/>
                  <a:pt x="65" y="211"/>
                </a:cubicBezTo>
                <a:cubicBezTo>
                  <a:pt x="65" y="211"/>
                  <a:pt x="65" y="211"/>
                  <a:pt x="65" y="211"/>
                </a:cubicBezTo>
                <a:cubicBezTo>
                  <a:pt x="69" y="211"/>
                  <a:pt x="73" y="215"/>
                  <a:pt x="73" y="219"/>
                </a:cubicBezTo>
                <a:cubicBezTo>
                  <a:pt x="73" y="219"/>
                  <a:pt x="73" y="219"/>
                  <a:pt x="73" y="219"/>
                </a:cubicBezTo>
                <a:cubicBezTo>
                  <a:pt x="73" y="223"/>
                  <a:pt x="69" y="227"/>
                  <a:pt x="65" y="227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43" y="227"/>
                  <a:pt x="29" y="227"/>
                  <a:pt x="29" y="227"/>
                </a:cubicBezTo>
                <a:close/>
              </a:path>
            </a:pathLst>
          </a:custGeom>
          <a:blipFill dpi="0" rotWithShape="0">
            <a:blip r:embed="rId7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endParaRPr lang="en-US" smtClean="0">
              <a:solidFill>
                <a:srgbClr val="58585A"/>
              </a:solidFill>
              <a:latin typeface="Arial" pitchFamily="34" charset="0"/>
            </a:endParaRPr>
          </a:p>
        </p:txBody>
      </p:sp>
      <p:sp>
        <p:nvSpPr>
          <p:cNvPr id="8204" name="Text Box 14"/>
          <p:cNvSpPr txBox="1">
            <a:spLocks noChangeArrowheads="1"/>
          </p:cNvSpPr>
          <p:nvPr/>
        </p:nvSpPr>
        <p:spPr bwMode="auto">
          <a:xfrm>
            <a:off x="796368" y="3726170"/>
            <a:ext cx="224901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9BA17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prstDash val="dash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400" b="1" smtClean="0">
                <a:solidFill>
                  <a:srgbClr val="00285F"/>
                </a:solidFill>
                <a:ea typeface="MS PGothic" pitchFamily="34" charset="-128"/>
              </a:rPr>
              <a:t>Infrastructure as a Service</a:t>
            </a:r>
            <a:endParaRPr lang="sv-SE" sz="1400" b="1" smtClean="0">
              <a:solidFill>
                <a:srgbClr val="00285F"/>
              </a:solidFill>
              <a:ea typeface="MS PGothic" pitchFamily="34" charset="-128"/>
            </a:endParaRPr>
          </a:p>
        </p:txBody>
      </p:sp>
      <p:sp>
        <p:nvSpPr>
          <p:cNvPr id="8205" name="Freeform 15" descr="bpct-blend3"/>
          <p:cNvSpPr>
            <a:spLocks noChangeAspect="1" noEditPoints="1"/>
          </p:cNvSpPr>
          <p:nvPr/>
        </p:nvSpPr>
        <p:spPr bwMode="auto">
          <a:xfrm>
            <a:off x="4870453" y="4283388"/>
            <a:ext cx="378883" cy="388937"/>
          </a:xfrm>
          <a:custGeom>
            <a:avLst/>
            <a:gdLst>
              <a:gd name="T0" fmla="*/ 2147483647 w 325"/>
              <a:gd name="T1" fmla="*/ 2147483647 h 333"/>
              <a:gd name="T2" fmla="*/ 2147483647 w 325"/>
              <a:gd name="T3" fmla="*/ 2147483647 h 333"/>
              <a:gd name="T4" fmla="*/ 2147483647 w 325"/>
              <a:gd name="T5" fmla="*/ 2147483647 h 333"/>
              <a:gd name="T6" fmla="*/ 2147483647 w 325"/>
              <a:gd name="T7" fmla="*/ 2147483647 h 333"/>
              <a:gd name="T8" fmla="*/ 2147483647 w 325"/>
              <a:gd name="T9" fmla="*/ 2147483647 h 333"/>
              <a:gd name="T10" fmla="*/ 2147483647 w 325"/>
              <a:gd name="T11" fmla="*/ 0 h 333"/>
              <a:gd name="T12" fmla="*/ 2147483647 w 325"/>
              <a:gd name="T13" fmla="*/ 2147483647 h 333"/>
              <a:gd name="T14" fmla="*/ 2147483647 w 325"/>
              <a:gd name="T15" fmla="*/ 2147483647 h 333"/>
              <a:gd name="T16" fmla="*/ 2147483647 w 325"/>
              <a:gd name="T17" fmla="*/ 2147483647 h 333"/>
              <a:gd name="T18" fmla="*/ 0 w 325"/>
              <a:gd name="T19" fmla="*/ 2147483647 h 333"/>
              <a:gd name="T20" fmla="*/ 0 w 325"/>
              <a:gd name="T21" fmla="*/ 2147483647 h 333"/>
              <a:gd name="T22" fmla="*/ 0 w 325"/>
              <a:gd name="T23" fmla="*/ 2147483647 h 333"/>
              <a:gd name="T24" fmla="*/ 2147483647 w 325"/>
              <a:gd name="T25" fmla="*/ 2147483647 h 333"/>
              <a:gd name="T26" fmla="*/ 2147483647 w 325"/>
              <a:gd name="T27" fmla="*/ 2147483647 h 333"/>
              <a:gd name="T28" fmla="*/ 2147483647 w 325"/>
              <a:gd name="T29" fmla="*/ 2147483647 h 333"/>
              <a:gd name="T30" fmla="*/ 2147483647 w 325"/>
              <a:gd name="T31" fmla="*/ 2147483647 h 333"/>
              <a:gd name="T32" fmla="*/ 2147483647 w 325"/>
              <a:gd name="T33" fmla="*/ 2147483647 h 333"/>
              <a:gd name="T34" fmla="*/ 2147483647 w 325"/>
              <a:gd name="T35" fmla="*/ 2147483647 h 333"/>
              <a:gd name="T36" fmla="*/ 2147483647 w 325"/>
              <a:gd name="T37" fmla="*/ 2147483647 h 333"/>
              <a:gd name="T38" fmla="*/ 2147483647 w 325"/>
              <a:gd name="T39" fmla="*/ 2147483647 h 333"/>
              <a:gd name="T40" fmla="*/ 2147483647 w 325"/>
              <a:gd name="T41" fmla="*/ 2147483647 h 333"/>
              <a:gd name="T42" fmla="*/ 2147483647 w 325"/>
              <a:gd name="T43" fmla="*/ 2147483647 h 333"/>
              <a:gd name="T44" fmla="*/ 2147483647 w 325"/>
              <a:gd name="T45" fmla="*/ 2147483647 h 333"/>
              <a:gd name="T46" fmla="*/ 2147483647 w 325"/>
              <a:gd name="T47" fmla="*/ 2147483647 h 333"/>
              <a:gd name="T48" fmla="*/ 2147483647 w 325"/>
              <a:gd name="T49" fmla="*/ 2147483647 h 333"/>
              <a:gd name="T50" fmla="*/ 2147483647 w 325"/>
              <a:gd name="T51" fmla="*/ 2147483647 h 333"/>
              <a:gd name="T52" fmla="*/ 2147483647 w 325"/>
              <a:gd name="T53" fmla="*/ 2147483647 h 333"/>
              <a:gd name="T54" fmla="*/ 2147483647 w 325"/>
              <a:gd name="T55" fmla="*/ 2147483647 h 333"/>
              <a:gd name="T56" fmla="*/ 2147483647 w 325"/>
              <a:gd name="T57" fmla="*/ 2147483647 h 333"/>
              <a:gd name="T58" fmla="*/ 2147483647 w 325"/>
              <a:gd name="T59" fmla="*/ 2147483647 h 333"/>
              <a:gd name="T60" fmla="*/ 2147483647 w 325"/>
              <a:gd name="T61" fmla="*/ 2147483647 h 333"/>
              <a:gd name="T62" fmla="*/ 2147483647 w 325"/>
              <a:gd name="T63" fmla="*/ 2147483647 h 333"/>
              <a:gd name="T64" fmla="*/ 2147483647 w 325"/>
              <a:gd name="T65" fmla="*/ 2147483647 h 333"/>
              <a:gd name="T66" fmla="*/ 2147483647 w 325"/>
              <a:gd name="T67" fmla="*/ 2147483647 h 333"/>
              <a:gd name="T68" fmla="*/ 2147483647 w 325"/>
              <a:gd name="T69" fmla="*/ 2147483647 h 333"/>
              <a:gd name="T70" fmla="*/ 2147483647 w 325"/>
              <a:gd name="T71" fmla="*/ 2147483647 h 333"/>
              <a:gd name="T72" fmla="*/ 2147483647 w 325"/>
              <a:gd name="T73" fmla="*/ 2147483647 h 333"/>
              <a:gd name="T74" fmla="*/ 2147483647 w 325"/>
              <a:gd name="T75" fmla="*/ 2147483647 h 333"/>
              <a:gd name="T76" fmla="*/ 2147483647 w 325"/>
              <a:gd name="T77" fmla="*/ 2147483647 h 333"/>
              <a:gd name="T78" fmla="*/ 2147483647 w 325"/>
              <a:gd name="T79" fmla="*/ 2147483647 h 333"/>
              <a:gd name="T80" fmla="*/ 2147483647 w 325"/>
              <a:gd name="T81" fmla="*/ 2147483647 h 333"/>
              <a:gd name="T82" fmla="*/ 2147483647 w 325"/>
              <a:gd name="T83" fmla="*/ 2147483647 h 333"/>
              <a:gd name="T84" fmla="*/ 2147483647 w 325"/>
              <a:gd name="T85" fmla="*/ 2147483647 h 333"/>
              <a:gd name="T86" fmla="*/ 2147483647 w 325"/>
              <a:gd name="T87" fmla="*/ 2147483647 h 333"/>
              <a:gd name="T88" fmla="*/ 2147483647 w 325"/>
              <a:gd name="T89" fmla="*/ 2147483647 h 333"/>
              <a:gd name="T90" fmla="*/ 2147483647 w 325"/>
              <a:gd name="T91" fmla="*/ 2147483647 h 333"/>
              <a:gd name="T92" fmla="*/ 2147483647 w 325"/>
              <a:gd name="T93" fmla="*/ 2147483647 h 333"/>
              <a:gd name="T94" fmla="*/ 2147483647 w 325"/>
              <a:gd name="T95" fmla="*/ 2147483647 h 333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25" h="333">
                <a:moveTo>
                  <a:pt x="317" y="81"/>
                </a:moveTo>
                <a:cubicBezTo>
                  <a:pt x="321" y="81"/>
                  <a:pt x="325" y="78"/>
                  <a:pt x="325" y="73"/>
                </a:cubicBezTo>
                <a:cubicBezTo>
                  <a:pt x="325" y="35"/>
                  <a:pt x="325" y="35"/>
                  <a:pt x="325" y="35"/>
                </a:cubicBezTo>
                <a:cubicBezTo>
                  <a:pt x="325" y="29"/>
                  <a:pt x="322" y="26"/>
                  <a:pt x="319" y="23"/>
                </a:cubicBezTo>
                <a:cubicBezTo>
                  <a:pt x="313" y="19"/>
                  <a:pt x="306" y="16"/>
                  <a:pt x="296" y="13"/>
                </a:cubicBezTo>
                <a:cubicBezTo>
                  <a:pt x="268" y="5"/>
                  <a:pt x="219" y="0"/>
                  <a:pt x="162" y="0"/>
                </a:cubicBezTo>
                <a:cubicBezTo>
                  <a:pt x="119" y="0"/>
                  <a:pt x="80" y="3"/>
                  <a:pt x="52" y="8"/>
                </a:cubicBezTo>
                <a:cubicBezTo>
                  <a:pt x="37" y="11"/>
                  <a:pt x="26" y="13"/>
                  <a:pt x="17" y="17"/>
                </a:cubicBezTo>
                <a:cubicBezTo>
                  <a:pt x="12" y="19"/>
                  <a:pt x="9" y="21"/>
                  <a:pt x="6" y="23"/>
                </a:cubicBezTo>
                <a:cubicBezTo>
                  <a:pt x="3" y="26"/>
                  <a:pt x="0" y="29"/>
                  <a:pt x="0" y="35"/>
                </a:cubicBezTo>
                <a:cubicBezTo>
                  <a:pt x="0" y="35"/>
                  <a:pt x="0" y="35"/>
                  <a:pt x="0" y="35"/>
                </a:cubicBezTo>
                <a:cubicBezTo>
                  <a:pt x="0" y="292"/>
                  <a:pt x="0" y="292"/>
                  <a:pt x="0" y="292"/>
                </a:cubicBezTo>
                <a:cubicBezTo>
                  <a:pt x="0" y="297"/>
                  <a:pt x="2" y="301"/>
                  <a:pt x="5" y="303"/>
                </a:cubicBezTo>
                <a:cubicBezTo>
                  <a:pt x="11" y="308"/>
                  <a:pt x="18" y="312"/>
                  <a:pt x="27" y="315"/>
                </a:cubicBezTo>
                <a:cubicBezTo>
                  <a:pt x="56" y="325"/>
                  <a:pt x="105" y="333"/>
                  <a:pt x="162" y="333"/>
                </a:cubicBezTo>
                <a:cubicBezTo>
                  <a:pt x="205" y="333"/>
                  <a:pt x="244" y="329"/>
                  <a:pt x="273" y="322"/>
                </a:cubicBezTo>
                <a:cubicBezTo>
                  <a:pt x="288" y="318"/>
                  <a:pt x="299" y="315"/>
                  <a:pt x="308" y="310"/>
                </a:cubicBezTo>
                <a:cubicBezTo>
                  <a:pt x="312" y="308"/>
                  <a:pt x="316" y="306"/>
                  <a:pt x="319" y="303"/>
                </a:cubicBezTo>
                <a:cubicBezTo>
                  <a:pt x="322" y="301"/>
                  <a:pt x="324" y="297"/>
                  <a:pt x="325" y="292"/>
                </a:cubicBezTo>
                <a:cubicBezTo>
                  <a:pt x="325" y="106"/>
                  <a:pt x="325" y="106"/>
                  <a:pt x="325" y="106"/>
                </a:cubicBezTo>
                <a:cubicBezTo>
                  <a:pt x="325" y="101"/>
                  <a:pt x="321" y="98"/>
                  <a:pt x="317" y="98"/>
                </a:cubicBezTo>
                <a:cubicBezTo>
                  <a:pt x="312" y="98"/>
                  <a:pt x="309" y="101"/>
                  <a:pt x="309" y="106"/>
                </a:cubicBezTo>
                <a:cubicBezTo>
                  <a:pt x="309" y="291"/>
                  <a:pt x="309" y="291"/>
                  <a:pt x="309" y="291"/>
                </a:cubicBezTo>
                <a:cubicBezTo>
                  <a:pt x="308" y="292"/>
                  <a:pt x="303" y="295"/>
                  <a:pt x="297" y="298"/>
                </a:cubicBezTo>
                <a:cubicBezTo>
                  <a:pt x="273" y="308"/>
                  <a:pt x="221" y="317"/>
                  <a:pt x="162" y="317"/>
                </a:cubicBezTo>
                <a:cubicBezTo>
                  <a:pt x="120" y="317"/>
                  <a:pt x="82" y="313"/>
                  <a:pt x="55" y="306"/>
                </a:cubicBezTo>
                <a:cubicBezTo>
                  <a:pt x="41" y="303"/>
                  <a:pt x="30" y="299"/>
                  <a:pt x="23" y="296"/>
                </a:cubicBezTo>
                <a:cubicBezTo>
                  <a:pt x="20" y="294"/>
                  <a:pt x="17" y="293"/>
                  <a:pt x="16" y="292"/>
                </a:cubicBezTo>
                <a:cubicBezTo>
                  <a:pt x="16" y="291"/>
                  <a:pt x="16" y="291"/>
                  <a:pt x="16" y="291"/>
                </a:cubicBezTo>
                <a:cubicBezTo>
                  <a:pt x="16" y="52"/>
                  <a:pt x="16" y="52"/>
                  <a:pt x="16" y="52"/>
                </a:cubicBezTo>
                <a:cubicBezTo>
                  <a:pt x="19" y="53"/>
                  <a:pt x="23" y="55"/>
                  <a:pt x="28" y="56"/>
                </a:cubicBezTo>
                <a:cubicBezTo>
                  <a:pt x="56" y="64"/>
                  <a:pt x="106" y="69"/>
                  <a:pt x="162" y="69"/>
                </a:cubicBezTo>
                <a:cubicBezTo>
                  <a:pt x="205" y="69"/>
                  <a:pt x="244" y="66"/>
                  <a:pt x="273" y="61"/>
                </a:cubicBezTo>
                <a:cubicBezTo>
                  <a:pt x="287" y="59"/>
                  <a:pt x="299" y="56"/>
                  <a:pt x="307" y="52"/>
                </a:cubicBezTo>
                <a:cubicBezTo>
                  <a:pt x="308" y="52"/>
                  <a:pt x="308" y="52"/>
                  <a:pt x="309" y="52"/>
                </a:cubicBezTo>
                <a:cubicBezTo>
                  <a:pt x="309" y="73"/>
                  <a:pt x="309" y="73"/>
                  <a:pt x="309" y="73"/>
                </a:cubicBezTo>
                <a:cubicBezTo>
                  <a:pt x="309" y="78"/>
                  <a:pt x="312" y="81"/>
                  <a:pt x="317" y="81"/>
                </a:cubicBezTo>
                <a:close/>
                <a:moveTo>
                  <a:pt x="292" y="41"/>
                </a:moveTo>
                <a:cubicBezTo>
                  <a:pt x="267" y="48"/>
                  <a:pt x="218" y="53"/>
                  <a:pt x="162" y="53"/>
                </a:cubicBezTo>
                <a:cubicBezTo>
                  <a:pt x="120" y="53"/>
                  <a:pt x="82" y="50"/>
                  <a:pt x="54" y="45"/>
                </a:cubicBezTo>
                <a:cubicBezTo>
                  <a:pt x="41" y="43"/>
                  <a:pt x="30" y="40"/>
                  <a:pt x="23" y="38"/>
                </a:cubicBezTo>
                <a:cubicBezTo>
                  <a:pt x="20" y="37"/>
                  <a:pt x="18" y="35"/>
                  <a:pt x="17" y="35"/>
                </a:cubicBezTo>
                <a:cubicBezTo>
                  <a:pt x="20" y="33"/>
                  <a:pt x="25" y="31"/>
                  <a:pt x="32" y="29"/>
                </a:cubicBezTo>
                <a:cubicBezTo>
                  <a:pt x="57" y="21"/>
                  <a:pt x="106" y="16"/>
                  <a:pt x="162" y="16"/>
                </a:cubicBezTo>
                <a:cubicBezTo>
                  <a:pt x="204" y="16"/>
                  <a:pt x="243" y="19"/>
                  <a:pt x="270" y="24"/>
                </a:cubicBezTo>
                <a:cubicBezTo>
                  <a:pt x="284" y="26"/>
                  <a:pt x="295" y="29"/>
                  <a:pt x="301" y="32"/>
                </a:cubicBezTo>
                <a:cubicBezTo>
                  <a:pt x="304" y="33"/>
                  <a:pt x="306" y="34"/>
                  <a:pt x="307" y="35"/>
                </a:cubicBezTo>
                <a:cubicBezTo>
                  <a:pt x="305" y="36"/>
                  <a:pt x="299" y="39"/>
                  <a:pt x="292" y="41"/>
                </a:cubicBezTo>
                <a:close/>
              </a:path>
            </a:pathLst>
          </a:custGeom>
          <a:blipFill dpi="0" rotWithShape="0">
            <a:blip r:embed="rId7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endParaRPr lang="en-US" smtClean="0">
              <a:solidFill>
                <a:srgbClr val="58585A"/>
              </a:solidFill>
              <a:latin typeface="Arial" pitchFamily="34" charset="0"/>
            </a:endParaRPr>
          </a:p>
        </p:txBody>
      </p:sp>
      <p:sp>
        <p:nvSpPr>
          <p:cNvPr id="8206" name="Freeform 16" descr="bpct-blend2"/>
          <p:cNvSpPr>
            <a:spLocks noChangeAspect="1" noEditPoints="1"/>
          </p:cNvSpPr>
          <p:nvPr/>
        </p:nvSpPr>
        <p:spPr bwMode="auto">
          <a:xfrm>
            <a:off x="5344584" y="4283388"/>
            <a:ext cx="381000" cy="388937"/>
          </a:xfrm>
          <a:custGeom>
            <a:avLst/>
            <a:gdLst>
              <a:gd name="T0" fmla="*/ 2147483647 w 325"/>
              <a:gd name="T1" fmla="*/ 2147483647 h 333"/>
              <a:gd name="T2" fmla="*/ 2147483647 w 325"/>
              <a:gd name="T3" fmla="*/ 2147483647 h 333"/>
              <a:gd name="T4" fmla="*/ 2147483647 w 325"/>
              <a:gd name="T5" fmla="*/ 2147483647 h 333"/>
              <a:gd name="T6" fmla="*/ 2147483647 w 325"/>
              <a:gd name="T7" fmla="*/ 2147483647 h 333"/>
              <a:gd name="T8" fmla="*/ 2147483647 w 325"/>
              <a:gd name="T9" fmla="*/ 2147483647 h 333"/>
              <a:gd name="T10" fmla="*/ 2147483647 w 325"/>
              <a:gd name="T11" fmla="*/ 0 h 333"/>
              <a:gd name="T12" fmla="*/ 2147483647 w 325"/>
              <a:gd name="T13" fmla="*/ 2147483647 h 333"/>
              <a:gd name="T14" fmla="*/ 2147483647 w 325"/>
              <a:gd name="T15" fmla="*/ 2147483647 h 333"/>
              <a:gd name="T16" fmla="*/ 2147483647 w 325"/>
              <a:gd name="T17" fmla="*/ 2147483647 h 333"/>
              <a:gd name="T18" fmla="*/ 0 w 325"/>
              <a:gd name="T19" fmla="*/ 2147483647 h 333"/>
              <a:gd name="T20" fmla="*/ 0 w 325"/>
              <a:gd name="T21" fmla="*/ 2147483647 h 333"/>
              <a:gd name="T22" fmla="*/ 0 w 325"/>
              <a:gd name="T23" fmla="*/ 2147483647 h 333"/>
              <a:gd name="T24" fmla="*/ 2147483647 w 325"/>
              <a:gd name="T25" fmla="*/ 2147483647 h 333"/>
              <a:gd name="T26" fmla="*/ 2147483647 w 325"/>
              <a:gd name="T27" fmla="*/ 2147483647 h 333"/>
              <a:gd name="T28" fmla="*/ 2147483647 w 325"/>
              <a:gd name="T29" fmla="*/ 2147483647 h 333"/>
              <a:gd name="T30" fmla="*/ 2147483647 w 325"/>
              <a:gd name="T31" fmla="*/ 2147483647 h 333"/>
              <a:gd name="T32" fmla="*/ 2147483647 w 325"/>
              <a:gd name="T33" fmla="*/ 2147483647 h 333"/>
              <a:gd name="T34" fmla="*/ 2147483647 w 325"/>
              <a:gd name="T35" fmla="*/ 2147483647 h 333"/>
              <a:gd name="T36" fmla="*/ 2147483647 w 325"/>
              <a:gd name="T37" fmla="*/ 2147483647 h 333"/>
              <a:gd name="T38" fmla="*/ 2147483647 w 325"/>
              <a:gd name="T39" fmla="*/ 2147483647 h 333"/>
              <a:gd name="T40" fmla="*/ 2147483647 w 325"/>
              <a:gd name="T41" fmla="*/ 2147483647 h 333"/>
              <a:gd name="T42" fmla="*/ 2147483647 w 325"/>
              <a:gd name="T43" fmla="*/ 2147483647 h 333"/>
              <a:gd name="T44" fmla="*/ 2147483647 w 325"/>
              <a:gd name="T45" fmla="*/ 2147483647 h 333"/>
              <a:gd name="T46" fmla="*/ 2147483647 w 325"/>
              <a:gd name="T47" fmla="*/ 2147483647 h 333"/>
              <a:gd name="T48" fmla="*/ 2147483647 w 325"/>
              <a:gd name="T49" fmla="*/ 2147483647 h 333"/>
              <a:gd name="T50" fmla="*/ 2147483647 w 325"/>
              <a:gd name="T51" fmla="*/ 2147483647 h 333"/>
              <a:gd name="T52" fmla="*/ 2147483647 w 325"/>
              <a:gd name="T53" fmla="*/ 2147483647 h 333"/>
              <a:gd name="T54" fmla="*/ 2147483647 w 325"/>
              <a:gd name="T55" fmla="*/ 2147483647 h 333"/>
              <a:gd name="T56" fmla="*/ 2147483647 w 325"/>
              <a:gd name="T57" fmla="*/ 2147483647 h 333"/>
              <a:gd name="T58" fmla="*/ 2147483647 w 325"/>
              <a:gd name="T59" fmla="*/ 2147483647 h 333"/>
              <a:gd name="T60" fmla="*/ 2147483647 w 325"/>
              <a:gd name="T61" fmla="*/ 2147483647 h 333"/>
              <a:gd name="T62" fmla="*/ 2147483647 w 325"/>
              <a:gd name="T63" fmla="*/ 2147483647 h 333"/>
              <a:gd name="T64" fmla="*/ 2147483647 w 325"/>
              <a:gd name="T65" fmla="*/ 2147483647 h 333"/>
              <a:gd name="T66" fmla="*/ 2147483647 w 325"/>
              <a:gd name="T67" fmla="*/ 2147483647 h 333"/>
              <a:gd name="T68" fmla="*/ 2147483647 w 325"/>
              <a:gd name="T69" fmla="*/ 2147483647 h 333"/>
              <a:gd name="T70" fmla="*/ 2147483647 w 325"/>
              <a:gd name="T71" fmla="*/ 2147483647 h 333"/>
              <a:gd name="T72" fmla="*/ 2147483647 w 325"/>
              <a:gd name="T73" fmla="*/ 2147483647 h 333"/>
              <a:gd name="T74" fmla="*/ 2147483647 w 325"/>
              <a:gd name="T75" fmla="*/ 2147483647 h 333"/>
              <a:gd name="T76" fmla="*/ 2147483647 w 325"/>
              <a:gd name="T77" fmla="*/ 2147483647 h 333"/>
              <a:gd name="T78" fmla="*/ 2147483647 w 325"/>
              <a:gd name="T79" fmla="*/ 2147483647 h 333"/>
              <a:gd name="T80" fmla="*/ 2147483647 w 325"/>
              <a:gd name="T81" fmla="*/ 2147483647 h 333"/>
              <a:gd name="T82" fmla="*/ 2147483647 w 325"/>
              <a:gd name="T83" fmla="*/ 2147483647 h 333"/>
              <a:gd name="T84" fmla="*/ 2147483647 w 325"/>
              <a:gd name="T85" fmla="*/ 2147483647 h 333"/>
              <a:gd name="T86" fmla="*/ 2147483647 w 325"/>
              <a:gd name="T87" fmla="*/ 2147483647 h 333"/>
              <a:gd name="T88" fmla="*/ 2147483647 w 325"/>
              <a:gd name="T89" fmla="*/ 2147483647 h 333"/>
              <a:gd name="T90" fmla="*/ 2147483647 w 325"/>
              <a:gd name="T91" fmla="*/ 2147483647 h 333"/>
              <a:gd name="T92" fmla="*/ 2147483647 w 325"/>
              <a:gd name="T93" fmla="*/ 2147483647 h 333"/>
              <a:gd name="T94" fmla="*/ 2147483647 w 325"/>
              <a:gd name="T95" fmla="*/ 2147483647 h 333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25" h="333">
                <a:moveTo>
                  <a:pt x="317" y="81"/>
                </a:moveTo>
                <a:cubicBezTo>
                  <a:pt x="321" y="81"/>
                  <a:pt x="325" y="78"/>
                  <a:pt x="325" y="73"/>
                </a:cubicBezTo>
                <a:cubicBezTo>
                  <a:pt x="325" y="35"/>
                  <a:pt x="325" y="35"/>
                  <a:pt x="325" y="35"/>
                </a:cubicBezTo>
                <a:cubicBezTo>
                  <a:pt x="325" y="29"/>
                  <a:pt x="322" y="26"/>
                  <a:pt x="319" y="23"/>
                </a:cubicBezTo>
                <a:cubicBezTo>
                  <a:pt x="313" y="19"/>
                  <a:pt x="306" y="16"/>
                  <a:pt x="296" y="13"/>
                </a:cubicBezTo>
                <a:cubicBezTo>
                  <a:pt x="268" y="5"/>
                  <a:pt x="219" y="0"/>
                  <a:pt x="162" y="0"/>
                </a:cubicBezTo>
                <a:cubicBezTo>
                  <a:pt x="119" y="0"/>
                  <a:pt x="80" y="3"/>
                  <a:pt x="52" y="8"/>
                </a:cubicBezTo>
                <a:cubicBezTo>
                  <a:pt x="37" y="11"/>
                  <a:pt x="26" y="13"/>
                  <a:pt x="17" y="17"/>
                </a:cubicBezTo>
                <a:cubicBezTo>
                  <a:pt x="12" y="19"/>
                  <a:pt x="9" y="21"/>
                  <a:pt x="6" y="23"/>
                </a:cubicBezTo>
                <a:cubicBezTo>
                  <a:pt x="3" y="26"/>
                  <a:pt x="0" y="29"/>
                  <a:pt x="0" y="35"/>
                </a:cubicBezTo>
                <a:cubicBezTo>
                  <a:pt x="0" y="35"/>
                  <a:pt x="0" y="35"/>
                  <a:pt x="0" y="35"/>
                </a:cubicBezTo>
                <a:cubicBezTo>
                  <a:pt x="0" y="292"/>
                  <a:pt x="0" y="292"/>
                  <a:pt x="0" y="292"/>
                </a:cubicBezTo>
                <a:cubicBezTo>
                  <a:pt x="0" y="297"/>
                  <a:pt x="2" y="301"/>
                  <a:pt x="5" y="303"/>
                </a:cubicBezTo>
                <a:cubicBezTo>
                  <a:pt x="11" y="308"/>
                  <a:pt x="18" y="312"/>
                  <a:pt x="27" y="315"/>
                </a:cubicBezTo>
                <a:cubicBezTo>
                  <a:pt x="56" y="325"/>
                  <a:pt x="105" y="333"/>
                  <a:pt x="162" y="333"/>
                </a:cubicBezTo>
                <a:cubicBezTo>
                  <a:pt x="205" y="333"/>
                  <a:pt x="244" y="329"/>
                  <a:pt x="273" y="322"/>
                </a:cubicBezTo>
                <a:cubicBezTo>
                  <a:pt x="288" y="318"/>
                  <a:pt x="299" y="315"/>
                  <a:pt x="308" y="310"/>
                </a:cubicBezTo>
                <a:cubicBezTo>
                  <a:pt x="312" y="308"/>
                  <a:pt x="316" y="306"/>
                  <a:pt x="319" y="303"/>
                </a:cubicBezTo>
                <a:cubicBezTo>
                  <a:pt x="322" y="301"/>
                  <a:pt x="324" y="297"/>
                  <a:pt x="325" y="292"/>
                </a:cubicBezTo>
                <a:cubicBezTo>
                  <a:pt x="325" y="106"/>
                  <a:pt x="325" y="106"/>
                  <a:pt x="325" y="106"/>
                </a:cubicBezTo>
                <a:cubicBezTo>
                  <a:pt x="325" y="101"/>
                  <a:pt x="321" y="98"/>
                  <a:pt x="317" y="98"/>
                </a:cubicBezTo>
                <a:cubicBezTo>
                  <a:pt x="312" y="98"/>
                  <a:pt x="309" y="101"/>
                  <a:pt x="309" y="106"/>
                </a:cubicBezTo>
                <a:cubicBezTo>
                  <a:pt x="309" y="291"/>
                  <a:pt x="309" y="291"/>
                  <a:pt x="309" y="291"/>
                </a:cubicBezTo>
                <a:cubicBezTo>
                  <a:pt x="308" y="292"/>
                  <a:pt x="303" y="295"/>
                  <a:pt x="297" y="298"/>
                </a:cubicBezTo>
                <a:cubicBezTo>
                  <a:pt x="273" y="308"/>
                  <a:pt x="221" y="317"/>
                  <a:pt x="162" y="317"/>
                </a:cubicBezTo>
                <a:cubicBezTo>
                  <a:pt x="120" y="317"/>
                  <a:pt x="82" y="313"/>
                  <a:pt x="55" y="306"/>
                </a:cubicBezTo>
                <a:cubicBezTo>
                  <a:pt x="41" y="303"/>
                  <a:pt x="30" y="299"/>
                  <a:pt x="23" y="296"/>
                </a:cubicBezTo>
                <a:cubicBezTo>
                  <a:pt x="20" y="294"/>
                  <a:pt x="17" y="293"/>
                  <a:pt x="16" y="292"/>
                </a:cubicBezTo>
                <a:cubicBezTo>
                  <a:pt x="16" y="291"/>
                  <a:pt x="16" y="291"/>
                  <a:pt x="16" y="291"/>
                </a:cubicBezTo>
                <a:cubicBezTo>
                  <a:pt x="16" y="52"/>
                  <a:pt x="16" y="52"/>
                  <a:pt x="16" y="52"/>
                </a:cubicBezTo>
                <a:cubicBezTo>
                  <a:pt x="19" y="53"/>
                  <a:pt x="23" y="55"/>
                  <a:pt x="28" y="56"/>
                </a:cubicBezTo>
                <a:cubicBezTo>
                  <a:pt x="56" y="64"/>
                  <a:pt x="106" y="69"/>
                  <a:pt x="162" y="69"/>
                </a:cubicBezTo>
                <a:cubicBezTo>
                  <a:pt x="205" y="69"/>
                  <a:pt x="244" y="66"/>
                  <a:pt x="273" y="61"/>
                </a:cubicBezTo>
                <a:cubicBezTo>
                  <a:pt x="287" y="59"/>
                  <a:pt x="299" y="56"/>
                  <a:pt x="307" y="52"/>
                </a:cubicBezTo>
                <a:cubicBezTo>
                  <a:pt x="308" y="52"/>
                  <a:pt x="308" y="52"/>
                  <a:pt x="309" y="52"/>
                </a:cubicBezTo>
                <a:cubicBezTo>
                  <a:pt x="309" y="73"/>
                  <a:pt x="309" y="73"/>
                  <a:pt x="309" y="73"/>
                </a:cubicBezTo>
                <a:cubicBezTo>
                  <a:pt x="309" y="78"/>
                  <a:pt x="312" y="81"/>
                  <a:pt x="317" y="81"/>
                </a:cubicBezTo>
                <a:close/>
                <a:moveTo>
                  <a:pt x="292" y="41"/>
                </a:moveTo>
                <a:cubicBezTo>
                  <a:pt x="267" y="48"/>
                  <a:pt x="218" y="53"/>
                  <a:pt x="162" y="53"/>
                </a:cubicBezTo>
                <a:cubicBezTo>
                  <a:pt x="120" y="53"/>
                  <a:pt x="82" y="50"/>
                  <a:pt x="54" y="45"/>
                </a:cubicBezTo>
                <a:cubicBezTo>
                  <a:pt x="41" y="43"/>
                  <a:pt x="30" y="40"/>
                  <a:pt x="23" y="38"/>
                </a:cubicBezTo>
                <a:cubicBezTo>
                  <a:pt x="20" y="37"/>
                  <a:pt x="18" y="35"/>
                  <a:pt x="17" y="35"/>
                </a:cubicBezTo>
                <a:cubicBezTo>
                  <a:pt x="20" y="33"/>
                  <a:pt x="25" y="31"/>
                  <a:pt x="32" y="29"/>
                </a:cubicBezTo>
                <a:cubicBezTo>
                  <a:pt x="57" y="21"/>
                  <a:pt x="106" y="16"/>
                  <a:pt x="162" y="16"/>
                </a:cubicBezTo>
                <a:cubicBezTo>
                  <a:pt x="204" y="16"/>
                  <a:pt x="243" y="19"/>
                  <a:pt x="270" y="24"/>
                </a:cubicBezTo>
                <a:cubicBezTo>
                  <a:pt x="284" y="26"/>
                  <a:pt x="295" y="29"/>
                  <a:pt x="301" y="32"/>
                </a:cubicBezTo>
                <a:cubicBezTo>
                  <a:pt x="304" y="33"/>
                  <a:pt x="306" y="34"/>
                  <a:pt x="307" y="35"/>
                </a:cubicBezTo>
                <a:cubicBezTo>
                  <a:pt x="305" y="36"/>
                  <a:pt x="299" y="39"/>
                  <a:pt x="292" y="41"/>
                </a:cubicBezTo>
                <a:close/>
              </a:path>
            </a:pathLst>
          </a:custGeom>
          <a:blipFill dpi="0" rotWithShape="0">
            <a:blip r:embed="rId6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endParaRPr lang="en-US" smtClean="0">
              <a:solidFill>
                <a:srgbClr val="58585A"/>
              </a:solidFill>
              <a:latin typeface="Arial" pitchFamily="34" charset="0"/>
            </a:endParaRPr>
          </a:p>
        </p:txBody>
      </p:sp>
      <p:sp>
        <p:nvSpPr>
          <p:cNvPr id="8207" name="Freeform 8" descr="bpct-blend6"/>
          <p:cNvSpPr>
            <a:spLocks noChangeAspect="1" noEditPoints="1"/>
          </p:cNvSpPr>
          <p:nvPr/>
        </p:nvSpPr>
        <p:spPr bwMode="auto">
          <a:xfrm>
            <a:off x="4474637" y="3638858"/>
            <a:ext cx="300567" cy="481012"/>
          </a:xfrm>
          <a:custGeom>
            <a:avLst/>
            <a:gdLst>
              <a:gd name="T0" fmla="*/ 2147483647 w 255"/>
              <a:gd name="T1" fmla="*/ 2147483647 h 412"/>
              <a:gd name="T2" fmla="*/ 2147483647 w 255"/>
              <a:gd name="T3" fmla="*/ 2147483647 h 412"/>
              <a:gd name="T4" fmla="*/ 2147483647 w 255"/>
              <a:gd name="T5" fmla="*/ 2147483647 h 412"/>
              <a:gd name="T6" fmla="*/ 2147483647 w 255"/>
              <a:gd name="T7" fmla="*/ 2147483647 h 412"/>
              <a:gd name="T8" fmla="*/ 2147483647 w 255"/>
              <a:gd name="T9" fmla="*/ 2147483647 h 412"/>
              <a:gd name="T10" fmla="*/ 2147483647 w 255"/>
              <a:gd name="T11" fmla="*/ 2147483647 h 412"/>
              <a:gd name="T12" fmla="*/ 2147483647 w 255"/>
              <a:gd name="T13" fmla="*/ 2147483647 h 412"/>
              <a:gd name="T14" fmla="*/ 2147483647 w 255"/>
              <a:gd name="T15" fmla="*/ 2147483647 h 412"/>
              <a:gd name="T16" fmla="*/ 2147483647 w 255"/>
              <a:gd name="T17" fmla="*/ 2147483647 h 412"/>
              <a:gd name="T18" fmla="*/ 2147483647 w 255"/>
              <a:gd name="T19" fmla="*/ 2147483647 h 412"/>
              <a:gd name="T20" fmla="*/ 2147483647 w 255"/>
              <a:gd name="T21" fmla="*/ 2147483647 h 412"/>
              <a:gd name="T22" fmla="*/ 2147483647 w 255"/>
              <a:gd name="T23" fmla="*/ 2147483647 h 412"/>
              <a:gd name="T24" fmla="*/ 2147483647 w 255"/>
              <a:gd name="T25" fmla="*/ 2147483647 h 412"/>
              <a:gd name="T26" fmla="*/ 2147483647 w 255"/>
              <a:gd name="T27" fmla="*/ 2147483647 h 412"/>
              <a:gd name="T28" fmla="*/ 2147483647 w 255"/>
              <a:gd name="T29" fmla="*/ 2147483647 h 412"/>
              <a:gd name="T30" fmla="*/ 2147483647 w 255"/>
              <a:gd name="T31" fmla="*/ 2147483647 h 412"/>
              <a:gd name="T32" fmla="*/ 2147483647 w 255"/>
              <a:gd name="T33" fmla="*/ 2147483647 h 412"/>
              <a:gd name="T34" fmla="*/ 2147483647 w 255"/>
              <a:gd name="T35" fmla="*/ 2147483647 h 412"/>
              <a:gd name="T36" fmla="*/ 2147483647 w 255"/>
              <a:gd name="T37" fmla="*/ 2147483647 h 412"/>
              <a:gd name="T38" fmla="*/ 2147483647 w 255"/>
              <a:gd name="T39" fmla="*/ 2147483647 h 412"/>
              <a:gd name="T40" fmla="*/ 2147483647 w 255"/>
              <a:gd name="T41" fmla="*/ 2147483647 h 412"/>
              <a:gd name="T42" fmla="*/ 2147483647 w 255"/>
              <a:gd name="T43" fmla="*/ 2147483647 h 412"/>
              <a:gd name="T44" fmla="*/ 2147483647 w 255"/>
              <a:gd name="T45" fmla="*/ 2147483647 h 412"/>
              <a:gd name="T46" fmla="*/ 2147483647 w 255"/>
              <a:gd name="T47" fmla="*/ 2147483647 h 412"/>
              <a:gd name="T48" fmla="*/ 2147483647 w 255"/>
              <a:gd name="T49" fmla="*/ 2147483647 h 412"/>
              <a:gd name="T50" fmla="*/ 2147483647 w 255"/>
              <a:gd name="T51" fmla="*/ 2147483647 h 412"/>
              <a:gd name="T52" fmla="*/ 2147483647 w 255"/>
              <a:gd name="T53" fmla="*/ 2147483647 h 412"/>
              <a:gd name="T54" fmla="*/ 2147483647 w 255"/>
              <a:gd name="T55" fmla="*/ 2147483647 h 412"/>
              <a:gd name="T56" fmla="*/ 2147483647 w 255"/>
              <a:gd name="T57" fmla="*/ 2147483647 h 412"/>
              <a:gd name="T58" fmla="*/ 2147483647 w 255"/>
              <a:gd name="T59" fmla="*/ 2147483647 h 412"/>
              <a:gd name="T60" fmla="*/ 2147483647 w 255"/>
              <a:gd name="T61" fmla="*/ 2147483647 h 412"/>
              <a:gd name="T62" fmla="*/ 2147483647 w 255"/>
              <a:gd name="T63" fmla="*/ 2147483647 h 412"/>
              <a:gd name="T64" fmla="*/ 2147483647 w 255"/>
              <a:gd name="T65" fmla="*/ 2147483647 h 412"/>
              <a:gd name="T66" fmla="*/ 2147483647 w 255"/>
              <a:gd name="T67" fmla="*/ 2147483647 h 412"/>
              <a:gd name="T68" fmla="*/ 2147483647 w 255"/>
              <a:gd name="T69" fmla="*/ 2147483647 h 412"/>
              <a:gd name="T70" fmla="*/ 2147483647 w 255"/>
              <a:gd name="T71" fmla="*/ 2147483647 h 412"/>
              <a:gd name="T72" fmla="*/ 2147483647 w 255"/>
              <a:gd name="T73" fmla="*/ 2147483647 h 412"/>
              <a:gd name="T74" fmla="*/ 2147483647 w 255"/>
              <a:gd name="T75" fmla="*/ 2147483647 h 412"/>
              <a:gd name="T76" fmla="*/ 2147483647 w 255"/>
              <a:gd name="T77" fmla="*/ 2147483647 h 412"/>
              <a:gd name="T78" fmla="*/ 2147483647 w 255"/>
              <a:gd name="T79" fmla="*/ 2147483647 h 412"/>
              <a:gd name="T80" fmla="*/ 2147483647 w 255"/>
              <a:gd name="T81" fmla="*/ 2147483647 h 412"/>
              <a:gd name="T82" fmla="*/ 2147483647 w 255"/>
              <a:gd name="T83" fmla="*/ 2147483647 h 412"/>
              <a:gd name="T84" fmla="*/ 2147483647 w 255"/>
              <a:gd name="T85" fmla="*/ 2147483647 h 412"/>
              <a:gd name="T86" fmla="*/ 2147483647 w 255"/>
              <a:gd name="T87" fmla="*/ 2147483647 h 412"/>
              <a:gd name="T88" fmla="*/ 2147483647 w 255"/>
              <a:gd name="T89" fmla="*/ 2147483647 h 412"/>
              <a:gd name="T90" fmla="*/ 2147483647 w 255"/>
              <a:gd name="T91" fmla="*/ 2147483647 h 412"/>
              <a:gd name="T92" fmla="*/ 2147483647 w 255"/>
              <a:gd name="T93" fmla="*/ 2147483647 h 412"/>
              <a:gd name="T94" fmla="*/ 2147483647 w 255"/>
              <a:gd name="T95" fmla="*/ 2147483647 h 412"/>
              <a:gd name="T96" fmla="*/ 2147483647 w 255"/>
              <a:gd name="T97" fmla="*/ 2147483647 h 412"/>
              <a:gd name="T98" fmla="*/ 2147483647 w 255"/>
              <a:gd name="T99" fmla="*/ 2147483647 h 412"/>
              <a:gd name="T100" fmla="*/ 0 w 255"/>
              <a:gd name="T101" fmla="*/ 2147483647 h 412"/>
              <a:gd name="T102" fmla="*/ 2147483647 w 255"/>
              <a:gd name="T103" fmla="*/ 2147483647 h 412"/>
              <a:gd name="T104" fmla="*/ 2147483647 w 255"/>
              <a:gd name="T105" fmla="*/ 2147483647 h 412"/>
              <a:gd name="T106" fmla="*/ 2147483647 w 255"/>
              <a:gd name="T107" fmla="*/ 2147483647 h 412"/>
              <a:gd name="T108" fmla="*/ 2147483647 w 255"/>
              <a:gd name="T109" fmla="*/ 2147483647 h 412"/>
              <a:gd name="T110" fmla="*/ 2147483647 w 255"/>
              <a:gd name="T111" fmla="*/ 2147483647 h 41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55"/>
              <a:gd name="T169" fmla="*/ 0 h 412"/>
              <a:gd name="T170" fmla="*/ 255 w 255"/>
              <a:gd name="T171" fmla="*/ 412 h 412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55" h="412">
                <a:moveTo>
                  <a:pt x="169" y="344"/>
                </a:moveTo>
                <a:cubicBezTo>
                  <a:pt x="45" y="344"/>
                  <a:pt x="45" y="344"/>
                  <a:pt x="45" y="344"/>
                </a:cubicBezTo>
                <a:cubicBezTo>
                  <a:pt x="37" y="344"/>
                  <a:pt x="30" y="349"/>
                  <a:pt x="29" y="358"/>
                </a:cubicBezTo>
                <a:cubicBezTo>
                  <a:pt x="29" y="370"/>
                  <a:pt x="29" y="370"/>
                  <a:pt x="29" y="370"/>
                </a:cubicBezTo>
                <a:cubicBezTo>
                  <a:pt x="30" y="380"/>
                  <a:pt x="37" y="385"/>
                  <a:pt x="45" y="385"/>
                </a:cubicBezTo>
                <a:cubicBezTo>
                  <a:pt x="169" y="385"/>
                  <a:pt x="169" y="385"/>
                  <a:pt x="169" y="385"/>
                </a:cubicBezTo>
                <a:cubicBezTo>
                  <a:pt x="177" y="385"/>
                  <a:pt x="185" y="380"/>
                  <a:pt x="185" y="370"/>
                </a:cubicBezTo>
                <a:cubicBezTo>
                  <a:pt x="185" y="358"/>
                  <a:pt x="185" y="358"/>
                  <a:pt x="185" y="358"/>
                </a:cubicBezTo>
                <a:cubicBezTo>
                  <a:pt x="184" y="349"/>
                  <a:pt x="177" y="344"/>
                  <a:pt x="169" y="344"/>
                </a:cubicBezTo>
                <a:close/>
                <a:moveTo>
                  <a:pt x="169" y="369"/>
                </a:moveTo>
                <a:cubicBezTo>
                  <a:pt x="45" y="369"/>
                  <a:pt x="45" y="369"/>
                  <a:pt x="45" y="369"/>
                </a:cubicBezTo>
                <a:cubicBezTo>
                  <a:pt x="45" y="369"/>
                  <a:pt x="45" y="369"/>
                  <a:pt x="45" y="369"/>
                </a:cubicBezTo>
                <a:cubicBezTo>
                  <a:pt x="45" y="360"/>
                  <a:pt x="45" y="360"/>
                  <a:pt x="45" y="360"/>
                </a:cubicBezTo>
                <a:cubicBezTo>
                  <a:pt x="45" y="360"/>
                  <a:pt x="45" y="360"/>
                  <a:pt x="45" y="360"/>
                </a:cubicBezTo>
                <a:cubicBezTo>
                  <a:pt x="169" y="360"/>
                  <a:pt x="169" y="360"/>
                  <a:pt x="169" y="360"/>
                </a:cubicBezTo>
                <a:lnTo>
                  <a:pt x="169" y="369"/>
                </a:lnTo>
                <a:close/>
                <a:moveTo>
                  <a:pt x="185" y="306"/>
                </a:moveTo>
                <a:cubicBezTo>
                  <a:pt x="185" y="297"/>
                  <a:pt x="177" y="291"/>
                  <a:pt x="169" y="291"/>
                </a:cubicBezTo>
                <a:cubicBezTo>
                  <a:pt x="45" y="291"/>
                  <a:pt x="45" y="291"/>
                  <a:pt x="45" y="291"/>
                </a:cubicBezTo>
                <a:cubicBezTo>
                  <a:pt x="37" y="291"/>
                  <a:pt x="30" y="297"/>
                  <a:pt x="29" y="306"/>
                </a:cubicBezTo>
                <a:cubicBezTo>
                  <a:pt x="29" y="318"/>
                  <a:pt x="29" y="318"/>
                  <a:pt x="29" y="318"/>
                </a:cubicBezTo>
                <a:cubicBezTo>
                  <a:pt x="30" y="327"/>
                  <a:pt x="37" y="333"/>
                  <a:pt x="45" y="333"/>
                </a:cubicBezTo>
                <a:cubicBezTo>
                  <a:pt x="169" y="333"/>
                  <a:pt x="169" y="333"/>
                  <a:pt x="169" y="333"/>
                </a:cubicBezTo>
                <a:cubicBezTo>
                  <a:pt x="177" y="333"/>
                  <a:pt x="184" y="327"/>
                  <a:pt x="185" y="318"/>
                </a:cubicBezTo>
                <a:lnTo>
                  <a:pt x="185" y="306"/>
                </a:lnTo>
                <a:close/>
                <a:moveTo>
                  <a:pt x="169" y="317"/>
                </a:moveTo>
                <a:cubicBezTo>
                  <a:pt x="45" y="317"/>
                  <a:pt x="45" y="317"/>
                  <a:pt x="45" y="317"/>
                </a:cubicBezTo>
                <a:cubicBezTo>
                  <a:pt x="45" y="317"/>
                  <a:pt x="45" y="317"/>
                  <a:pt x="45" y="317"/>
                </a:cubicBezTo>
                <a:cubicBezTo>
                  <a:pt x="45" y="307"/>
                  <a:pt x="45" y="307"/>
                  <a:pt x="45" y="307"/>
                </a:cubicBezTo>
                <a:cubicBezTo>
                  <a:pt x="45" y="307"/>
                  <a:pt x="45" y="307"/>
                  <a:pt x="45" y="307"/>
                </a:cubicBezTo>
                <a:cubicBezTo>
                  <a:pt x="169" y="307"/>
                  <a:pt x="169" y="307"/>
                  <a:pt x="169" y="307"/>
                </a:cubicBezTo>
                <a:lnTo>
                  <a:pt x="169" y="317"/>
                </a:lnTo>
                <a:close/>
                <a:moveTo>
                  <a:pt x="185" y="253"/>
                </a:moveTo>
                <a:cubicBezTo>
                  <a:pt x="184" y="244"/>
                  <a:pt x="177" y="239"/>
                  <a:pt x="169" y="239"/>
                </a:cubicBezTo>
                <a:cubicBezTo>
                  <a:pt x="45" y="239"/>
                  <a:pt x="45" y="239"/>
                  <a:pt x="45" y="239"/>
                </a:cubicBezTo>
                <a:cubicBezTo>
                  <a:pt x="37" y="239"/>
                  <a:pt x="30" y="244"/>
                  <a:pt x="29" y="253"/>
                </a:cubicBezTo>
                <a:cubicBezTo>
                  <a:pt x="29" y="265"/>
                  <a:pt x="29" y="265"/>
                  <a:pt x="29" y="265"/>
                </a:cubicBezTo>
                <a:cubicBezTo>
                  <a:pt x="30" y="275"/>
                  <a:pt x="37" y="280"/>
                  <a:pt x="45" y="280"/>
                </a:cubicBezTo>
                <a:cubicBezTo>
                  <a:pt x="169" y="280"/>
                  <a:pt x="169" y="280"/>
                  <a:pt x="169" y="280"/>
                </a:cubicBezTo>
                <a:cubicBezTo>
                  <a:pt x="177" y="280"/>
                  <a:pt x="185" y="275"/>
                  <a:pt x="185" y="265"/>
                </a:cubicBezTo>
                <a:lnTo>
                  <a:pt x="185" y="253"/>
                </a:lnTo>
                <a:close/>
                <a:moveTo>
                  <a:pt x="169" y="264"/>
                </a:moveTo>
                <a:cubicBezTo>
                  <a:pt x="45" y="264"/>
                  <a:pt x="45" y="264"/>
                  <a:pt x="45" y="264"/>
                </a:cubicBezTo>
                <a:cubicBezTo>
                  <a:pt x="45" y="264"/>
                  <a:pt x="45" y="264"/>
                  <a:pt x="45" y="264"/>
                </a:cubicBezTo>
                <a:cubicBezTo>
                  <a:pt x="45" y="255"/>
                  <a:pt x="45" y="255"/>
                  <a:pt x="45" y="255"/>
                </a:cubicBezTo>
                <a:cubicBezTo>
                  <a:pt x="45" y="255"/>
                  <a:pt x="45" y="255"/>
                  <a:pt x="45" y="255"/>
                </a:cubicBezTo>
                <a:cubicBezTo>
                  <a:pt x="169" y="255"/>
                  <a:pt x="169" y="255"/>
                  <a:pt x="169" y="255"/>
                </a:cubicBezTo>
                <a:lnTo>
                  <a:pt x="169" y="264"/>
                </a:lnTo>
                <a:close/>
                <a:moveTo>
                  <a:pt x="185" y="201"/>
                </a:moveTo>
                <a:cubicBezTo>
                  <a:pt x="185" y="192"/>
                  <a:pt x="177" y="186"/>
                  <a:pt x="169" y="186"/>
                </a:cubicBezTo>
                <a:cubicBezTo>
                  <a:pt x="45" y="186"/>
                  <a:pt x="45" y="186"/>
                  <a:pt x="45" y="186"/>
                </a:cubicBezTo>
                <a:cubicBezTo>
                  <a:pt x="37" y="186"/>
                  <a:pt x="30" y="192"/>
                  <a:pt x="29" y="201"/>
                </a:cubicBezTo>
                <a:cubicBezTo>
                  <a:pt x="29" y="213"/>
                  <a:pt x="29" y="213"/>
                  <a:pt x="29" y="213"/>
                </a:cubicBezTo>
                <a:cubicBezTo>
                  <a:pt x="30" y="222"/>
                  <a:pt x="37" y="228"/>
                  <a:pt x="45" y="228"/>
                </a:cubicBezTo>
                <a:cubicBezTo>
                  <a:pt x="169" y="228"/>
                  <a:pt x="169" y="228"/>
                  <a:pt x="169" y="228"/>
                </a:cubicBezTo>
                <a:cubicBezTo>
                  <a:pt x="177" y="228"/>
                  <a:pt x="184" y="222"/>
                  <a:pt x="185" y="213"/>
                </a:cubicBezTo>
                <a:lnTo>
                  <a:pt x="185" y="201"/>
                </a:lnTo>
                <a:close/>
                <a:moveTo>
                  <a:pt x="169" y="212"/>
                </a:moveTo>
                <a:cubicBezTo>
                  <a:pt x="45" y="212"/>
                  <a:pt x="45" y="212"/>
                  <a:pt x="45" y="212"/>
                </a:cubicBezTo>
                <a:cubicBezTo>
                  <a:pt x="45" y="212"/>
                  <a:pt x="45" y="212"/>
                  <a:pt x="45" y="212"/>
                </a:cubicBezTo>
                <a:cubicBezTo>
                  <a:pt x="45" y="202"/>
                  <a:pt x="45" y="202"/>
                  <a:pt x="45" y="202"/>
                </a:cubicBezTo>
                <a:cubicBezTo>
                  <a:pt x="45" y="202"/>
                  <a:pt x="45" y="202"/>
                  <a:pt x="45" y="202"/>
                </a:cubicBezTo>
                <a:cubicBezTo>
                  <a:pt x="169" y="202"/>
                  <a:pt x="169" y="202"/>
                  <a:pt x="169" y="202"/>
                </a:cubicBezTo>
                <a:lnTo>
                  <a:pt x="169" y="212"/>
                </a:lnTo>
                <a:close/>
                <a:moveTo>
                  <a:pt x="185" y="148"/>
                </a:moveTo>
                <a:cubicBezTo>
                  <a:pt x="184" y="139"/>
                  <a:pt x="177" y="134"/>
                  <a:pt x="169" y="134"/>
                </a:cubicBezTo>
                <a:cubicBezTo>
                  <a:pt x="45" y="134"/>
                  <a:pt x="45" y="134"/>
                  <a:pt x="45" y="134"/>
                </a:cubicBezTo>
                <a:cubicBezTo>
                  <a:pt x="37" y="134"/>
                  <a:pt x="30" y="139"/>
                  <a:pt x="29" y="148"/>
                </a:cubicBezTo>
                <a:cubicBezTo>
                  <a:pt x="29" y="161"/>
                  <a:pt x="29" y="161"/>
                  <a:pt x="29" y="161"/>
                </a:cubicBezTo>
                <a:cubicBezTo>
                  <a:pt x="30" y="170"/>
                  <a:pt x="37" y="175"/>
                  <a:pt x="45" y="175"/>
                </a:cubicBezTo>
                <a:cubicBezTo>
                  <a:pt x="169" y="175"/>
                  <a:pt x="169" y="175"/>
                  <a:pt x="169" y="175"/>
                </a:cubicBezTo>
                <a:cubicBezTo>
                  <a:pt x="177" y="175"/>
                  <a:pt x="185" y="170"/>
                  <a:pt x="185" y="161"/>
                </a:cubicBezTo>
                <a:lnTo>
                  <a:pt x="185" y="148"/>
                </a:lnTo>
                <a:close/>
                <a:moveTo>
                  <a:pt x="169" y="159"/>
                </a:moveTo>
                <a:cubicBezTo>
                  <a:pt x="45" y="159"/>
                  <a:pt x="45" y="159"/>
                  <a:pt x="45" y="159"/>
                </a:cubicBezTo>
                <a:cubicBezTo>
                  <a:pt x="45" y="159"/>
                  <a:pt x="45" y="159"/>
                  <a:pt x="45" y="159"/>
                </a:cubicBezTo>
                <a:cubicBezTo>
                  <a:pt x="45" y="150"/>
                  <a:pt x="45" y="150"/>
                  <a:pt x="45" y="150"/>
                </a:cubicBezTo>
                <a:cubicBezTo>
                  <a:pt x="45" y="150"/>
                  <a:pt x="45" y="150"/>
                  <a:pt x="45" y="150"/>
                </a:cubicBezTo>
                <a:cubicBezTo>
                  <a:pt x="169" y="150"/>
                  <a:pt x="169" y="150"/>
                  <a:pt x="169" y="150"/>
                </a:cubicBezTo>
                <a:lnTo>
                  <a:pt x="169" y="159"/>
                </a:lnTo>
                <a:close/>
                <a:moveTo>
                  <a:pt x="185" y="96"/>
                </a:moveTo>
                <a:cubicBezTo>
                  <a:pt x="185" y="87"/>
                  <a:pt x="177" y="81"/>
                  <a:pt x="169" y="81"/>
                </a:cubicBezTo>
                <a:cubicBezTo>
                  <a:pt x="45" y="81"/>
                  <a:pt x="45" y="81"/>
                  <a:pt x="45" y="81"/>
                </a:cubicBezTo>
                <a:cubicBezTo>
                  <a:pt x="37" y="81"/>
                  <a:pt x="30" y="87"/>
                  <a:pt x="29" y="96"/>
                </a:cubicBezTo>
                <a:cubicBezTo>
                  <a:pt x="29" y="108"/>
                  <a:pt x="29" y="108"/>
                  <a:pt x="29" y="108"/>
                </a:cubicBezTo>
                <a:cubicBezTo>
                  <a:pt x="30" y="117"/>
                  <a:pt x="37" y="123"/>
                  <a:pt x="45" y="123"/>
                </a:cubicBezTo>
                <a:cubicBezTo>
                  <a:pt x="169" y="123"/>
                  <a:pt x="169" y="123"/>
                  <a:pt x="169" y="123"/>
                </a:cubicBezTo>
                <a:cubicBezTo>
                  <a:pt x="177" y="123"/>
                  <a:pt x="184" y="117"/>
                  <a:pt x="185" y="108"/>
                </a:cubicBezTo>
                <a:lnTo>
                  <a:pt x="185" y="96"/>
                </a:lnTo>
                <a:close/>
                <a:moveTo>
                  <a:pt x="169" y="107"/>
                </a:moveTo>
                <a:cubicBezTo>
                  <a:pt x="45" y="107"/>
                  <a:pt x="45" y="107"/>
                  <a:pt x="45" y="107"/>
                </a:cubicBezTo>
                <a:cubicBezTo>
                  <a:pt x="45" y="107"/>
                  <a:pt x="45" y="107"/>
                  <a:pt x="45" y="107"/>
                </a:cubicBezTo>
                <a:cubicBezTo>
                  <a:pt x="45" y="97"/>
                  <a:pt x="45" y="97"/>
                  <a:pt x="45" y="97"/>
                </a:cubicBezTo>
                <a:cubicBezTo>
                  <a:pt x="45" y="97"/>
                  <a:pt x="45" y="97"/>
                  <a:pt x="45" y="97"/>
                </a:cubicBezTo>
                <a:cubicBezTo>
                  <a:pt x="169" y="97"/>
                  <a:pt x="169" y="97"/>
                  <a:pt x="169" y="97"/>
                </a:cubicBezTo>
                <a:lnTo>
                  <a:pt x="169" y="107"/>
                </a:lnTo>
                <a:close/>
                <a:moveTo>
                  <a:pt x="185" y="44"/>
                </a:moveTo>
                <a:cubicBezTo>
                  <a:pt x="184" y="34"/>
                  <a:pt x="177" y="29"/>
                  <a:pt x="169" y="29"/>
                </a:cubicBezTo>
                <a:cubicBezTo>
                  <a:pt x="45" y="29"/>
                  <a:pt x="45" y="29"/>
                  <a:pt x="45" y="29"/>
                </a:cubicBezTo>
                <a:cubicBezTo>
                  <a:pt x="37" y="29"/>
                  <a:pt x="30" y="34"/>
                  <a:pt x="29" y="44"/>
                </a:cubicBezTo>
                <a:cubicBezTo>
                  <a:pt x="29" y="56"/>
                  <a:pt x="29" y="56"/>
                  <a:pt x="29" y="56"/>
                </a:cubicBezTo>
                <a:cubicBezTo>
                  <a:pt x="30" y="65"/>
                  <a:pt x="37" y="70"/>
                  <a:pt x="45" y="70"/>
                </a:cubicBezTo>
                <a:cubicBezTo>
                  <a:pt x="169" y="70"/>
                  <a:pt x="169" y="70"/>
                  <a:pt x="169" y="70"/>
                </a:cubicBezTo>
                <a:cubicBezTo>
                  <a:pt x="177" y="70"/>
                  <a:pt x="185" y="65"/>
                  <a:pt x="185" y="56"/>
                </a:cubicBezTo>
                <a:lnTo>
                  <a:pt x="185" y="44"/>
                </a:lnTo>
                <a:close/>
                <a:moveTo>
                  <a:pt x="169" y="54"/>
                </a:moveTo>
                <a:cubicBezTo>
                  <a:pt x="45" y="54"/>
                  <a:pt x="45" y="54"/>
                  <a:pt x="45" y="54"/>
                </a:cubicBezTo>
                <a:cubicBezTo>
                  <a:pt x="45" y="54"/>
                  <a:pt x="45" y="54"/>
                  <a:pt x="45" y="54"/>
                </a:cubicBezTo>
                <a:cubicBezTo>
                  <a:pt x="45" y="45"/>
                  <a:pt x="45" y="45"/>
                  <a:pt x="45" y="45"/>
                </a:cubicBezTo>
                <a:cubicBezTo>
                  <a:pt x="45" y="45"/>
                  <a:pt x="45" y="45"/>
                  <a:pt x="45" y="45"/>
                </a:cubicBezTo>
                <a:cubicBezTo>
                  <a:pt x="169" y="45"/>
                  <a:pt x="169" y="45"/>
                  <a:pt x="169" y="45"/>
                </a:cubicBezTo>
                <a:lnTo>
                  <a:pt x="169" y="54"/>
                </a:lnTo>
                <a:close/>
                <a:moveTo>
                  <a:pt x="212" y="88"/>
                </a:moveTo>
                <a:cubicBezTo>
                  <a:pt x="204" y="88"/>
                  <a:pt x="198" y="94"/>
                  <a:pt x="198" y="102"/>
                </a:cubicBezTo>
                <a:cubicBezTo>
                  <a:pt x="198" y="110"/>
                  <a:pt x="204" y="116"/>
                  <a:pt x="212" y="116"/>
                </a:cubicBezTo>
                <a:cubicBezTo>
                  <a:pt x="220" y="116"/>
                  <a:pt x="226" y="110"/>
                  <a:pt x="226" y="102"/>
                </a:cubicBezTo>
                <a:cubicBezTo>
                  <a:pt x="226" y="94"/>
                  <a:pt x="220" y="88"/>
                  <a:pt x="212" y="88"/>
                </a:cubicBezTo>
                <a:close/>
                <a:moveTo>
                  <a:pt x="212" y="35"/>
                </a:moveTo>
                <a:cubicBezTo>
                  <a:pt x="204" y="35"/>
                  <a:pt x="198" y="42"/>
                  <a:pt x="198" y="50"/>
                </a:cubicBezTo>
                <a:cubicBezTo>
                  <a:pt x="198" y="57"/>
                  <a:pt x="204" y="64"/>
                  <a:pt x="212" y="64"/>
                </a:cubicBezTo>
                <a:cubicBezTo>
                  <a:pt x="220" y="64"/>
                  <a:pt x="226" y="57"/>
                  <a:pt x="226" y="50"/>
                </a:cubicBezTo>
                <a:cubicBezTo>
                  <a:pt x="226" y="42"/>
                  <a:pt x="220" y="35"/>
                  <a:pt x="212" y="35"/>
                </a:cubicBezTo>
                <a:close/>
                <a:moveTo>
                  <a:pt x="212" y="140"/>
                </a:moveTo>
                <a:cubicBezTo>
                  <a:pt x="204" y="140"/>
                  <a:pt x="198" y="147"/>
                  <a:pt x="198" y="155"/>
                </a:cubicBezTo>
                <a:cubicBezTo>
                  <a:pt x="198" y="162"/>
                  <a:pt x="204" y="169"/>
                  <a:pt x="212" y="169"/>
                </a:cubicBezTo>
                <a:cubicBezTo>
                  <a:pt x="220" y="169"/>
                  <a:pt x="226" y="162"/>
                  <a:pt x="226" y="155"/>
                </a:cubicBezTo>
                <a:cubicBezTo>
                  <a:pt x="226" y="147"/>
                  <a:pt x="220" y="140"/>
                  <a:pt x="212" y="140"/>
                </a:cubicBezTo>
                <a:close/>
                <a:moveTo>
                  <a:pt x="212" y="193"/>
                </a:moveTo>
                <a:cubicBezTo>
                  <a:pt x="204" y="193"/>
                  <a:pt x="198" y="199"/>
                  <a:pt x="198" y="207"/>
                </a:cubicBezTo>
                <a:cubicBezTo>
                  <a:pt x="198" y="215"/>
                  <a:pt x="204" y="221"/>
                  <a:pt x="212" y="221"/>
                </a:cubicBezTo>
                <a:cubicBezTo>
                  <a:pt x="220" y="221"/>
                  <a:pt x="226" y="215"/>
                  <a:pt x="226" y="207"/>
                </a:cubicBezTo>
                <a:cubicBezTo>
                  <a:pt x="226" y="199"/>
                  <a:pt x="220" y="193"/>
                  <a:pt x="212" y="193"/>
                </a:cubicBezTo>
                <a:close/>
                <a:moveTo>
                  <a:pt x="212" y="245"/>
                </a:moveTo>
                <a:cubicBezTo>
                  <a:pt x="204" y="245"/>
                  <a:pt x="198" y="252"/>
                  <a:pt x="198" y="259"/>
                </a:cubicBezTo>
                <a:cubicBezTo>
                  <a:pt x="198" y="267"/>
                  <a:pt x="204" y="274"/>
                  <a:pt x="212" y="274"/>
                </a:cubicBezTo>
                <a:cubicBezTo>
                  <a:pt x="220" y="274"/>
                  <a:pt x="226" y="267"/>
                  <a:pt x="226" y="259"/>
                </a:cubicBezTo>
                <a:cubicBezTo>
                  <a:pt x="226" y="252"/>
                  <a:pt x="220" y="245"/>
                  <a:pt x="212" y="245"/>
                </a:cubicBezTo>
                <a:close/>
                <a:moveTo>
                  <a:pt x="212" y="298"/>
                </a:moveTo>
                <a:cubicBezTo>
                  <a:pt x="204" y="298"/>
                  <a:pt x="198" y="304"/>
                  <a:pt x="198" y="312"/>
                </a:cubicBezTo>
                <a:cubicBezTo>
                  <a:pt x="198" y="320"/>
                  <a:pt x="204" y="326"/>
                  <a:pt x="212" y="326"/>
                </a:cubicBezTo>
                <a:cubicBezTo>
                  <a:pt x="220" y="326"/>
                  <a:pt x="226" y="320"/>
                  <a:pt x="226" y="312"/>
                </a:cubicBezTo>
                <a:cubicBezTo>
                  <a:pt x="226" y="304"/>
                  <a:pt x="220" y="298"/>
                  <a:pt x="212" y="298"/>
                </a:cubicBezTo>
                <a:close/>
                <a:moveTo>
                  <a:pt x="212" y="350"/>
                </a:moveTo>
                <a:cubicBezTo>
                  <a:pt x="204" y="350"/>
                  <a:pt x="198" y="356"/>
                  <a:pt x="198" y="364"/>
                </a:cubicBezTo>
                <a:cubicBezTo>
                  <a:pt x="198" y="372"/>
                  <a:pt x="204" y="379"/>
                  <a:pt x="212" y="379"/>
                </a:cubicBezTo>
                <a:cubicBezTo>
                  <a:pt x="220" y="379"/>
                  <a:pt x="226" y="372"/>
                  <a:pt x="226" y="364"/>
                </a:cubicBezTo>
                <a:cubicBezTo>
                  <a:pt x="226" y="356"/>
                  <a:pt x="220" y="350"/>
                  <a:pt x="212" y="350"/>
                </a:cubicBezTo>
                <a:close/>
                <a:moveTo>
                  <a:pt x="247" y="44"/>
                </a:moveTo>
                <a:cubicBezTo>
                  <a:pt x="251" y="44"/>
                  <a:pt x="255" y="41"/>
                  <a:pt x="255" y="36"/>
                </a:cubicBezTo>
                <a:cubicBezTo>
                  <a:pt x="255" y="16"/>
                  <a:pt x="255" y="16"/>
                  <a:pt x="255" y="16"/>
                </a:cubicBezTo>
                <a:cubicBezTo>
                  <a:pt x="255" y="7"/>
                  <a:pt x="248" y="0"/>
                  <a:pt x="23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7" y="0"/>
                  <a:pt x="0" y="7"/>
                  <a:pt x="0" y="16"/>
                </a:cubicBezTo>
                <a:cubicBezTo>
                  <a:pt x="0" y="396"/>
                  <a:pt x="0" y="396"/>
                  <a:pt x="0" y="396"/>
                </a:cubicBezTo>
                <a:cubicBezTo>
                  <a:pt x="0" y="405"/>
                  <a:pt x="7" y="412"/>
                  <a:pt x="16" y="412"/>
                </a:cubicBezTo>
                <a:cubicBezTo>
                  <a:pt x="239" y="412"/>
                  <a:pt x="239" y="412"/>
                  <a:pt x="239" y="412"/>
                </a:cubicBezTo>
                <a:cubicBezTo>
                  <a:pt x="248" y="412"/>
                  <a:pt x="255" y="405"/>
                  <a:pt x="255" y="396"/>
                </a:cubicBezTo>
                <a:cubicBezTo>
                  <a:pt x="255" y="60"/>
                  <a:pt x="255" y="60"/>
                  <a:pt x="255" y="60"/>
                </a:cubicBezTo>
                <a:cubicBezTo>
                  <a:pt x="255" y="56"/>
                  <a:pt x="251" y="52"/>
                  <a:pt x="247" y="52"/>
                </a:cubicBezTo>
                <a:cubicBezTo>
                  <a:pt x="242" y="52"/>
                  <a:pt x="239" y="56"/>
                  <a:pt x="239" y="60"/>
                </a:cubicBezTo>
                <a:cubicBezTo>
                  <a:pt x="239" y="396"/>
                  <a:pt x="239" y="396"/>
                  <a:pt x="239" y="396"/>
                </a:cubicBezTo>
                <a:cubicBezTo>
                  <a:pt x="16" y="396"/>
                  <a:pt x="16" y="396"/>
                  <a:pt x="16" y="396"/>
                </a:cubicBezTo>
                <a:cubicBezTo>
                  <a:pt x="16" y="396"/>
                  <a:pt x="16" y="396"/>
                  <a:pt x="16" y="396"/>
                </a:cubicBezTo>
                <a:cubicBezTo>
                  <a:pt x="16" y="16"/>
                  <a:pt x="16" y="16"/>
                  <a:pt x="16" y="16"/>
                </a:cubicBezTo>
                <a:cubicBezTo>
                  <a:pt x="16" y="16"/>
                  <a:pt x="16" y="16"/>
                  <a:pt x="16" y="16"/>
                </a:cubicBezTo>
                <a:cubicBezTo>
                  <a:pt x="239" y="16"/>
                  <a:pt x="239" y="16"/>
                  <a:pt x="239" y="16"/>
                </a:cubicBezTo>
                <a:cubicBezTo>
                  <a:pt x="239" y="36"/>
                  <a:pt x="239" y="36"/>
                  <a:pt x="239" y="36"/>
                </a:cubicBezTo>
                <a:cubicBezTo>
                  <a:pt x="239" y="41"/>
                  <a:pt x="242" y="44"/>
                  <a:pt x="247" y="44"/>
                </a:cubicBezTo>
                <a:close/>
              </a:path>
            </a:pathLst>
          </a:custGeom>
          <a:blipFill dpi="0" rotWithShape="0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endParaRPr lang="en-US" smtClean="0">
              <a:solidFill>
                <a:srgbClr val="58585A"/>
              </a:solidFill>
              <a:latin typeface="Arial" pitchFamily="34" charset="0"/>
            </a:endParaRPr>
          </a:p>
        </p:txBody>
      </p:sp>
      <p:sp>
        <p:nvSpPr>
          <p:cNvPr id="8208" name="Freeform 18" descr="bpct-blend3"/>
          <p:cNvSpPr>
            <a:spLocks noChangeAspect="1" noEditPoints="1"/>
          </p:cNvSpPr>
          <p:nvPr/>
        </p:nvSpPr>
        <p:spPr bwMode="auto">
          <a:xfrm>
            <a:off x="4870453" y="3730936"/>
            <a:ext cx="378883" cy="388937"/>
          </a:xfrm>
          <a:custGeom>
            <a:avLst/>
            <a:gdLst>
              <a:gd name="T0" fmla="*/ 2147483647 w 325"/>
              <a:gd name="T1" fmla="*/ 2147483647 h 333"/>
              <a:gd name="T2" fmla="*/ 2147483647 w 325"/>
              <a:gd name="T3" fmla="*/ 2147483647 h 333"/>
              <a:gd name="T4" fmla="*/ 2147483647 w 325"/>
              <a:gd name="T5" fmla="*/ 2147483647 h 333"/>
              <a:gd name="T6" fmla="*/ 2147483647 w 325"/>
              <a:gd name="T7" fmla="*/ 2147483647 h 333"/>
              <a:gd name="T8" fmla="*/ 2147483647 w 325"/>
              <a:gd name="T9" fmla="*/ 2147483647 h 333"/>
              <a:gd name="T10" fmla="*/ 2147483647 w 325"/>
              <a:gd name="T11" fmla="*/ 0 h 333"/>
              <a:gd name="T12" fmla="*/ 2147483647 w 325"/>
              <a:gd name="T13" fmla="*/ 2147483647 h 333"/>
              <a:gd name="T14" fmla="*/ 2147483647 w 325"/>
              <a:gd name="T15" fmla="*/ 2147483647 h 333"/>
              <a:gd name="T16" fmla="*/ 2147483647 w 325"/>
              <a:gd name="T17" fmla="*/ 2147483647 h 333"/>
              <a:gd name="T18" fmla="*/ 0 w 325"/>
              <a:gd name="T19" fmla="*/ 2147483647 h 333"/>
              <a:gd name="T20" fmla="*/ 0 w 325"/>
              <a:gd name="T21" fmla="*/ 2147483647 h 333"/>
              <a:gd name="T22" fmla="*/ 0 w 325"/>
              <a:gd name="T23" fmla="*/ 2147483647 h 333"/>
              <a:gd name="T24" fmla="*/ 2147483647 w 325"/>
              <a:gd name="T25" fmla="*/ 2147483647 h 333"/>
              <a:gd name="T26" fmla="*/ 2147483647 w 325"/>
              <a:gd name="T27" fmla="*/ 2147483647 h 333"/>
              <a:gd name="T28" fmla="*/ 2147483647 w 325"/>
              <a:gd name="T29" fmla="*/ 2147483647 h 333"/>
              <a:gd name="T30" fmla="*/ 2147483647 w 325"/>
              <a:gd name="T31" fmla="*/ 2147483647 h 333"/>
              <a:gd name="T32" fmla="*/ 2147483647 w 325"/>
              <a:gd name="T33" fmla="*/ 2147483647 h 333"/>
              <a:gd name="T34" fmla="*/ 2147483647 w 325"/>
              <a:gd name="T35" fmla="*/ 2147483647 h 333"/>
              <a:gd name="T36" fmla="*/ 2147483647 w 325"/>
              <a:gd name="T37" fmla="*/ 2147483647 h 333"/>
              <a:gd name="T38" fmla="*/ 2147483647 w 325"/>
              <a:gd name="T39" fmla="*/ 2147483647 h 333"/>
              <a:gd name="T40" fmla="*/ 2147483647 w 325"/>
              <a:gd name="T41" fmla="*/ 2147483647 h 333"/>
              <a:gd name="T42" fmla="*/ 2147483647 w 325"/>
              <a:gd name="T43" fmla="*/ 2147483647 h 333"/>
              <a:gd name="T44" fmla="*/ 2147483647 w 325"/>
              <a:gd name="T45" fmla="*/ 2147483647 h 333"/>
              <a:gd name="T46" fmla="*/ 2147483647 w 325"/>
              <a:gd name="T47" fmla="*/ 2147483647 h 333"/>
              <a:gd name="T48" fmla="*/ 2147483647 w 325"/>
              <a:gd name="T49" fmla="*/ 2147483647 h 333"/>
              <a:gd name="T50" fmla="*/ 2147483647 w 325"/>
              <a:gd name="T51" fmla="*/ 2147483647 h 333"/>
              <a:gd name="T52" fmla="*/ 2147483647 w 325"/>
              <a:gd name="T53" fmla="*/ 2147483647 h 333"/>
              <a:gd name="T54" fmla="*/ 2147483647 w 325"/>
              <a:gd name="T55" fmla="*/ 2147483647 h 333"/>
              <a:gd name="T56" fmla="*/ 2147483647 w 325"/>
              <a:gd name="T57" fmla="*/ 2147483647 h 333"/>
              <a:gd name="T58" fmla="*/ 2147483647 w 325"/>
              <a:gd name="T59" fmla="*/ 2147483647 h 333"/>
              <a:gd name="T60" fmla="*/ 2147483647 w 325"/>
              <a:gd name="T61" fmla="*/ 2147483647 h 333"/>
              <a:gd name="T62" fmla="*/ 2147483647 w 325"/>
              <a:gd name="T63" fmla="*/ 2147483647 h 333"/>
              <a:gd name="T64" fmla="*/ 2147483647 w 325"/>
              <a:gd name="T65" fmla="*/ 2147483647 h 333"/>
              <a:gd name="T66" fmla="*/ 2147483647 w 325"/>
              <a:gd name="T67" fmla="*/ 2147483647 h 333"/>
              <a:gd name="T68" fmla="*/ 2147483647 w 325"/>
              <a:gd name="T69" fmla="*/ 2147483647 h 333"/>
              <a:gd name="T70" fmla="*/ 2147483647 w 325"/>
              <a:gd name="T71" fmla="*/ 2147483647 h 333"/>
              <a:gd name="T72" fmla="*/ 2147483647 w 325"/>
              <a:gd name="T73" fmla="*/ 2147483647 h 333"/>
              <a:gd name="T74" fmla="*/ 2147483647 w 325"/>
              <a:gd name="T75" fmla="*/ 2147483647 h 333"/>
              <a:gd name="T76" fmla="*/ 2147483647 w 325"/>
              <a:gd name="T77" fmla="*/ 2147483647 h 333"/>
              <a:gd name="T78" fmla="*/ 2147483647 w 325"/>
              <a:gd name="T79" fmla="*/ 2147483647 h 333"/>
              <a:gd name="T80" fmla="*/ 2147483647 w 325"/>
              <a:gd name="T81" fmla="*/ 2147483647 h 333"/>
              <a:gd name="T82" fmla="*/ 2147483647 w 325"/>
              <a:gd name="T83" fmla="*/ 2147483647 h 333"/>
              <a:gd name="T84" fmla="*/ 2147483647 w 325"/>
              <a:gd name="T85" fmla="*/ 2147483647 h 333"/>
              <a:gd name="T86" fmla="*/ 2147483647 w 325"/>
              <a:gd name="T87" fmla="*/ 2147483647 h 333"/>
              <a:gd name="T88" fmla="*/ 2147483647 w 325"/>
              <a:gd name="T89" fmla="*/ 2147483647 h 333"/>
              <a:gd name="T90" fmla="*/ 2147483647 w 325"/>
              <a:gd name="T91" fmla="*/ 2147483647 h 333"/>
              <a:gd name="T92" fmla="*/ 2147483647 w 325"/>
              <a:gd name="T93" fmla="*/ 2147483647 h 333"/>
              <a:gd name="T94" fmla="*/ 2147483647 w 325"/>
              <a:gd name="T95" fmla="*/ 2147483647 h 333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25" h="333">
                <a:moveTo>
                  <a:pt x="317" y="81"/>
                </a:moveTo>
                <a:cubicBezTo>
                  <a:pt x="321" y="81"/>
                  <a:pt x="325" y="78"/>
                  <a:pt x="325" y="73"/>
                </a:cubicBezTo>
                <a:cubicBezTo>
                  <a:pt x="325" y="35"/>
                  <a:pt x="325" y="35"/>
                  <a:pt x="325" y="35"/>
                </a:cubicBezTo>
                <a:cubicBezTo>
                  <a:pt x="325" y="29"/>
                  <a:pt x="322" y="26"/>
                  <a:pt x="319" y="23"/>
                </a:cubicBezTo>
                <a:cubicBezTo>
                  <a:pt x="313" y="19"/>
                  <a:pt x="306" y="16"/>
                  <a:pt x="296" y="13"/>
                </a:cubicBezTo>
                <a:cubicBezTo>
                  <a:pt x="268" y="5"/>
                  <a:pt x="219" y="0"/>
                  <a:pt x="162" y="0"/>
                </a:cubicBezTo>
                <a:cubicBezTo>
                  <a:pt x="119" y="0"/>
                  <a:pt x="80" y="3"/>
                  <a:pt x="52" y="8"/>
                </a:cubicBezTo>
                <a:cubicBezTo>
                  <a:pt x="37" y="11"/>
                  <a:pt x="26" y="13"/>
                  <a:pt x="17" y="17"/>
                </a:cubicBezTo>
                <a:cubicBezTo>
                  <a:pt x="12" y="19"/>
                  <a:pt x="9" y="21"/>
                  <a:pt x="6" y="23"/>
                </a:cubicBezTo>
                <a:cubicBezTo>
                  <a:pt x="3" y="26"/>
                  <a:pt x="0" y="29"/>
                  <a:pt x="0" y="35"/>
                </a:cubicBezTo>
                <a:cubicBezTo>
                  <a:pt x="0" y="35"/>
                  <a:pt x="0" y="35"/>
                  <a:pt x="0" y="35"/>
                </a:cubicBezTo>
                <a:cubicBezTo>
                  <a:pt x="0" y="292"/>
                  <a:pt x="0" y="292"/>
                  <a:pt x="0" y="292"/>
                </a:cubicBezTo>
                <a:cubicBezTo>
                  <a:pt x="0" y="297"/>
                  <a:pt x="2" y="301"/>
                  <a:pt x="5" y="303"/>
                </a:cubicBezTo>
                <a:cubicBezTo>
                  <a:pt x="11" y="308"/>
                  <a:pt x="18" y="312"/>
                  <a:pt x="27" y="315"/>
                </a:cubicBezTo>
                <a:cubicBezTo>
                  <a:pt x="56" y="325"/>
                  <a:pt x="105" y="333"/>
                  <a:pt x="162" y="333"/>
                </a:cubicBezTo>
                <a:cubicBezTo>
                  <a:pt x="205" y="333"/>
                  <a:pt x="244" y="329"/>
                  <a:pt x="273" y="322"/>
                </a:cubicBezTo>
                <a:cubicBezTo>
                  <a:pt x="288" y="318"/>
                  <a:pt x="299" y="315"/>
                  <a:pt x="308" y="310"/>
                </a:cubicBezTo>
                <a:cubicBezTo>
                  <a:pt x="312" y="308"/>
                  <a:pt x="316" y="306"/>
                  <a:pt x="319" y="303"/>
                </a:cubicBezTo>
                <a:cubicBezTo>
                  <a:pt x="322" y="301"/>
                  <a:pt x="324" y="297"/>
                  <a:pt x="325" y="292"/>
                </a:cubicBezTo>
                <a:cubicBezTo>
                  <a:pt x="325" y="106"/>
                  <a:pt x="325" y="106"/>
                  <a:pt x="325" y="106"/>
                </a:cubicBezTo>
                <a:cubicBezTo>
                  <a:pt x="325" y="101"/>
                  <a:pt x="321" y="98"/>
                  <a:pt x="317" y="98"/>
                </a:cubicBezTo>
                <a:cubicBezTo>
                  <a:pt x="312" y="98"/>
                  <a:pt x="309" y="101"/>
                  <a:pt x="309" y="106"/>
                </a:cubicBezTo>
                <a:cubicBezTo>
                  <a:pt x="309" y="291"/>
                  <a:pt x="309" y="291"/>
                  <a:pt x="309" y="291"/>
                </a:cubicBezTo>
                <a:cubicBezTo>
                  <a:pt x="308" y="292"/>
                  <a:pt x="303" y="295"/>
                  <a:pt x="297" y="298"/>
                </a:cubicBezTo>
                <a:cubicBezTo>
                  <a:pt x="273" y="308"/>
                  <a:pt x="221" y="317"/>
                  <a:pt x="162" y="317"/>
                </a:cubicBezTo>
                <a:cubicBezTo>
                  <a:pt x="120" y="317"/>
                  <a:pt x="82" y="313"/>
                  <a:pt x="55" y="306"/>
                </a:cubicBezTo>
                <a:cubicBezTo>
                  <a:pt x="41" y="303"/>
                  <a:pt x="30" y="299"/>
                  <a:pt x="23" y="296"/>
                </a:cubicBezTo>
                <a:cubicBezTo>
                  <a:pt x="20" y="294"/>
                  <a:pt x="17" y="293"/>
                  <a:pt x="16" y="292"/>
                </a:cubicBezTo>
                <a:cubicBezTo>
                  <a:pt x="16" y="291"/>
                  <a:pt x="16" y="291"/>
                  <a:pt x="16" y="291"/>
                </a:cubicBezTo>
                <a:cubicBezTo>
                  <a:pt x="16" y="52"/>
                  <a:pt x="16" y="52"/>
                  <a:pt x="16" y="52"/>
                </a:cubicBezTo>
                <a:cubicBezTo>
                  <a:pt x="19" y="53"/>
                  <a:pt x="23" y="55"/>
                  <a:pt x="28" y="56"/>
                </a:cubicBezTo>
                <a:cubicBezTo>
                  <a:pt x="56" y="64"/>
                  <a:pt x="106" y="69"/>
                  <a:pt x="162" y="69"/>
                </a:cubicBezTo>
                <a:cubicBezTo>
                  <a:pt x="205" y="69"/>
                  <a:pt x="244" y="66"/>
                  <a:pt x="273" y="61"/>
                </a:cubicBezTo>
                <a:cubicBezTo>
                  <a:pt x="287" y="59"/>
                  <a:pt x="299" y="56"/>
                  <a:pt x="307" y="52"/>
                </a:cubicBezTo>
                <a:cubicBezTo>
                  <a:pt x="308" y="52"/>
                  <a:pt x="308" y="52"/>
                  <a:pt x="309" y="52"/>
                </a:cubicBezTo>
                <a:cubicBezTo>
                  <a:pt x="309" y="73"/>
                  <a:pt x="309" y="73"/>
                  <a:pt x="309" y="73"/>
                </a:cubicBezTo>
                <a:cubicBezTo>
                  <a:pt x="309" y="78"/>
                  <a:pt x="312" y="81"/>
                  <a:pt x="317" y="81"/>
                </a:cubicBezTo>
                <a:close/>
                <a:moveTo>
                  <a:pt x="292" y="41"/>
                </a:moveTo>
                <a:cubicBezTo>
                  <a:pt x="267" y="48"/>
                  <a:pt x="218" y="53"/>
                  <a:pt x="162" y="53"/>
                </a:cubicBezTo>
                <a:cubicBezTo>
                  <a:pt x="120" y="53"/>
                  <a:pt x="82" y="50"/>
                  <a:pt x="54" y="45"/>
                </a:cubicBezTo>
                <a:cubicBezTo>
                  <a:pt x="41" y="43"/>
                  <a:pt x="30" y="40"/>
                  <a:pt x="23" y="38"/>
                </a:cubicBezTo>
                <a:cubicBezTo>
                  <a:pt x="20" y="37"/>
                  <a:pt x="18" y="35"/>
                  <a:pt x="17" y="35"/>
                </a:cubicBezTo>
                <a:cubicBezTo>
                  <a:pt x="20" y="33"/>
                  <a:pt x="25" y="31"/>
                  <a:pt x="32" y="29"/>
                </a:cubicBezTo>
                <a:cubicBezTo>
                  <a:pt x="57" y="21"/>
                  <a:pt x="106" y="16"/>
                  <a:pt x="162" y="16"/>
                </a:cubicBezTo>
                <a:cubicBezTo>
                  <a:pt x="204" y="16"/>
                  <a:pt x="243" y="19"/>
                  <a:pt x="270" y="24"/>
                </a:cubicBezTo>
                <a:cubicBezTo>
                  <a:pt x="284" y="26"/>
                  <a:pt x="295" y="29"/>
                  <a:pt x="301" y="32"/>
                </a:cubicBezTo>
                <a:cubicBezTo>
                  <a:pt x="304" y="33"/>
                  <a:pt x="306" y="34"/>
                  <a:pt x="307" y="35"/>
                </a:cubicBezTo>
                <a:cubicBezTo>
                  <a:pt x="305" y="36"/>
                  <a:pt x="299" y="39"/>
                  <a:pt x="292" y="41"/>
                </a:cubicBezTo>
                <a:close/>
              </a:path>
            </a:pathLst>
          </a:custGeom>
          <a:blipFill dpi="0" rotWithShape="0">
            <a:blip r:embed="rId7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endParaRPr lang="en-US" smtClean="0">
              <a:solidFill>
                <a:srgbClr val="58585A"/>
              </a:solidFill>
              <a:latin typeface="Arial" pitchFamily="34" charset="0"/>
            </a:endParaRPr>
          </a:p>
        </p:txBody>
      </p:sp>
      <p:sp>
        <p:nvSpPr>
          <p:cNvPr id="8209" name="Freeform 19" descr="bpct-blend6"/>
          <p:cNvSpPr>
            <a:spLocks noChangeAspect="1" noEditPoints="1"/>
          </p:cNvSpPr>
          <p:nvPr/>
        </p:nvSpPr>
        <p:spPr bwMode="auto">
          <a:xfrm>
            <a:off x="5344584" y="3730936"/>
            <a:ext cx="381000" cy="388937"/>
          </a:xfrm>
          <a:custGeom>
            <a:avLst/>
            <a:gdLst>
              <a:gd name="T0" fmla="*/ 2147483647 w 325"/>
              <a:gd name="T1" fmla="*/ 2147483647 h 333"/>
              <a:gd name="T2" fmla="*/ 2147483647 w 325"/>
              <a:gd name="T3" fmla="*/ 2147483647 h 333"/>
              <a:gd name="T4" fmla="*/ 2147483647 w 325"/>
              <a:gd name="T5" fmla="*/ 2147483647 h 333"/>
              <a:gd name="T6" fmla="*/ 2147483647 w 325"/>
              <a:gd name="T7" fmla="*/ 2147483647 h 333"/>
              <a:gd name="T8" fmla="*/ 2147483647 w 325"/>
              <a:gd name="T9" fmla="*/ 2147483647 h 333"/>
              <a:gd name="T10" fmla="*/ 2147483647 w 325"/>
              <a:gd name="T11" fmla="*/ 0 h 333"/>
              <a:gd name="T12" fmla="*/ 2147483647 w 325"/>
              <a:gd name="T13" fmla="*/ 2147483647 h 333"/>
              <a:gd name="T14" fmla="*/ 2147483647 w 325"/>
              <a:gd name="T15" fmla="*/ 2147483647 h 333"/>
              <a:gd name="T16" fmla="*/ 2147483647 w 325"/>
              <a:gd name="T17" fmla="*/ 2147483647 h 333"/>
              <a:gd name="T18" fmla="*/ 0 w 325"/>
              <a:gd name="T19" fmla="*/ 2147483647 h 333"/>
              <a:gd name="T20" fmla="*/ 0 w 325"/>
              <a:gd name="T21" fmla="*/ 2147483647 h 333"/>
              <a:gd name="T22" fmla="*/ 0 w 325"/>
              <a:gd name="T23" fmla="*/ 2147483647 h 333"/>
              <a:gd name="T24" fmla="*/ 2147483647 w 325"/>
              <a:gd name="T25" fmla="*/ 2147483647 h 333"/>
              <a:gd name="T26" fmla="*/ 2147483647 w 325"/>
              <a:gd name="T27" fmla="*/ 2147483647 h 333"/>
              <a:gd name="T28" fmla="*/ 2147483647 w 325"/>
              <a:gd name="T29" fmla="*/ 2147483647 h 333"/>
              <a:gd name="T30" fmla="*/ 2147483647 w 325"/>
              <a:gd name="T31" fmla="*/ 2147483647 h 333"/>
              <a:gd name="T32" fmla="*/ 2147483647 w 325"/>
              <a:gd name="T33" fmla="*/ 2147483647 h 333"/>
              <a:gd name="T34" fmla="*/ 2147483647 w 325"/>
              <a:gd name="T35" fmla="*/ 2147483647 h 333"/>
              <a:gd name="T36" fmla="*/ 2147483647 w 325"/>
              <a:gd name="T37" fmla="*/ 2147483647 h 333"/>
              <a:gd name="T38" fmla="*/ 2147483647 w 325"/>
              <a:gd name="T39" fmla="*/ 2147483647 h 333"/>
              <a:gd name="T40" fmla="*/ 2147483647 w 325"/>
              <a:gd name="T41" fmla="*/ 2147483647 h 333"/>
              <a:gd name="T42" fmla="*/ 2147483647 w 325"/>
              <a:gd name="T43" fmla="*/ 2147483647 h 333"/>
              <a:gd name="T44" fmla="*/ 2147483647 w 325"/>
              <a:gd name="T45" fmla="*/ 2147483647 h 333"/>
              <a:gd name="T46" fmla="*/ 2147483647 w 325"/>
              <a:gd name="T47" fmla="*/ 2147483647 h 333"/>
              <a:gd name="T48" fmla="*/ 2147483647 w 325"/>
              <a:gd name="T49" fmla="*/ 2147483647 h 333"/>
              <a:gd name="T50" fmla="*/ 2147483647 w 325"/>
              <a:gd name="T51" fmla="*/ 2147483647 h 333"/>
              <a:gd name="T52" fmla="*/ 2147483647 w 325"/>
              <a:gd name="T53" fmla="*/ 2147483647 h 333"/>
              <a:gd name="T54" fmla="*/ 2147483647 w 325"/>
              <a:gd name="T55" fmla="*/ 2147483647 h 333"/>
              <a:gd name="T56" fmla="*/ 2147483647 w 325"/>
              <a:gd name="T57" fmla="*/ 2147483647 h 333"/>
              <a:gd name="T58" fmla="*/ 2147483647 w 325"/>
              <a:gd name="T59" fmla="*/ 2147483647 h 333"/>
              <a:gd name="T60" fmla="*/ 2147483647 w 325"/>
              <a:gd name="T61" fmla="*/ 2147483647 h 333"/>
              <a:gd name="T62" fmla="*/ 2147483647 w 325"/>
              <a:gd name="T63" fmla="*/ 2147483647 h 333"/>
              <a:gd name="T64" fmla="*/ 2147483647 w 325"/>
              <a:gd name="T65" fmla="*/ 2147483647 h 333"/>
              <a:gd name="T66" fmla="*/ 2147483647 w 325"/>
              <a:gd name="T67" fmla="*/ 2147483647 h 333"/>
              <a:gd name="T68" fmla="*/ 2147483647 w 325"/>
              <a:gd name="T69" fmla="*/ 2147483647 h 333"/>
              <a:gd name="T70" fmla="*/ 2147483647 w 325"/>
              <a:gd name="T71" fmla="*/ 2147483647 h 333"/>
              <a:gd name="T72" fmla="*/ 2147483647 w 325"/>
              <a:gd name="T73" fmla="*/ 2147483647 h 333"/>
              <a:gd name="T74" fmla="*/ 2147483647 w 325"/>
              <a:gd name="T75" fmla="*/ 2147483647 h 333"/>
              <a:gd name="T76" fmla="*/ 2147483647 w 325"/>
              <a:gd name="T77" fmla="*/ 2147483647 h 333"/>
              <a:gd name="T78" fmla="*/ 2147483647 w 325"/>
              <a:gd name="T79" fmla="*/ 2147483647 h 333"/>
              <a:gd name="T80" fmla="*/ 2147483647 w 325"/>
              <a:gd name="T81" fmla="*/ 2147483647 h 333"/>
              <a:gd name="T82" fmla="*/ 2147483647 w 325"/>
              <a:gd name="T83" fmla="*/ 2147483647 h 333"/>
              <a:gd name="T84" fmla="*/ 2147483647 w 325"/>
              <a:gd name="T85" fmla="*/ 2147483647 h 333"/>
              <a:gd name="T86" fmla="*/ 2147483647 w 325"/>
              <a:gd name="T87" fmla="*/ 2147483647 h 333"/>
              <a:gd name="T88" fmla="*/ 2147483647 w 325"/>
              <a:gd name="T89" fmla="*/ 2147483647 h 333"/>
              <a:gd name="T90" fmla="*/ 2147483647 w 325"/>
              <a:gd name="T91" fmla="*/ 2147483647 h 333"/>
              <a:gd name="T92" fmla="*/ 2147483647 w 325"/>
              <a:gd name="T93" fmla="*/ 2147483647 h 333"/>
              <a:gd name="T94" fmla="*/ 2147483647 w 325"/>
              <a:gd name="T95" fmla="*/ 2147483647 h 333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25" h="333">
                <a:moveTo>
                  <a:pt x="317" y="81"/>
                </a:moveTo>
                <a:cubicBezTo>
                  <a:pt x="321" y="81"/>
                  <a:pt x="325" y="78"/>
                  <a:pt x="325" y="73"/>
                </a:cubicBezTo>
                <a:cubicBezTo>
                  <a:pt x="325" y="35"/>
                  <a:pt x="325" y="35"/>
                  <a:pt x="325" y="35"/>
                </a:cubicBezTo>
                <a:cubicBezTo>
                  <a:pt x="325" y="29"/>
                  <a:pt x="322" y="26"/>
                  <a:pt x="319" y="23"/>
                </a:cubicBezTo>
                <a:cubicBezTo>
                  <a:pt x="313" y="19"/>
                  <a:pt x="306" y="16"/>
                  <a:pt x="296" y="13"/>
                </a:cubicBezTo>
                <a:cubicBezTo>
                  <a:pt x="268" y="5"/>
                  <a:pt x="219" y="0"/>
                  <a:pt x="162" y="0"/>
                </a:cubicBezTo>
                <a:cubicBezTo>
                  <a:pt x="119" y="0"/>
                  <a:pt x="80" y="3"/>
                  <a:pt x="52" y="8"/>
                </a:cubicBezTo>
                <a:cubicBezTo>
                  <a:pt x="37" y="11"/>
                  <a:pt x="26" y="13"/>
                  <a:pt x="17" y="17"/>
                </a:cubicBezTo>
                <a:cubicBezTo>
                  <a:pt x="12" y="19"/>
                  <a:pt x="9" y="21"/>
                  <a:pt x="6" y="23"/>
                </a:cubicBezTo>
                <a:cubicBezTo>
                  <a:pt x="3" y="26"/>
                  <a:pt x="0" y="29"/>
                  <a:pt x="0" y="35"/>
                </a:cubicBezTo>
                <a:cubicBezTo>
                  <a:pt x="0" y="35"/>
                  <a:pt x="0" y="35"/>
                  <a:pt x="0" y="35"/>
                </a:cubicBezTo>
                <a:cubicBezTo>
                  <a:pt x="0" y="292"/>
                  <a:pt x="0" y="292"/>
                  <a:pt x="0" y="292"/>
                </a:cubicBezTo>
                <a:cubicBezTo>
                  <a:pt x="0" y="297"/>
                  <a:pt x="2" y="301"/>
                  <a:pt x="5" y="303"/>
                </a:cubicBezTo>
                <a:cubicBezTo>
                  <a:pt x="11" y="308"/>
                  <a:pt x="18" y="312"/>
                  <a:pt x="27" y="315"/>
                </a:cubicBezTo>
                <a:cubicBezTo>
                  <a:pt x="56" y="325"/>
                  <a:pt x="105" y="333"/>
                  <a:pt x="162" y="333"/>
                </a:cubicBezTo>
                <a:cubicBezTo>
                  <a:pt x="205" y="333"/>
                  <a:pt x="244" y="329"/>
                  <a:pt x="273" y="322"/>
                </a:cubicBezTo>
                <a:cubicBezTo>
                  <a:pt x="288" y="318"/>
                  <a:pt x="299" y="315"/>
                  <a:pt x="308" y="310"/>
                </a:cubicBezTo>
                <a:cubicBezTo>
                  <a:pt x="312" y="308"/>
                  <a:pt x="316" y="306"/>
                  <a:pt x="319" y="303"/>
                </a:cubicBezTo>
                <a:cubicBezTo>
                  <a:pt x="322" y="301"/>
                  <a:pt x="324" y="297"/>
                  <a:pt x="325" y="292"/>
                </a:cubicBezTo>
                <a:cubicBezTo>
                  <a:pt x="325" y="106"/>
                  <a:pt x="325" y="106"/>
                  <a:pt x="325" y="106"/>
                </a:cubicBezTo>
                <a:cubicBezTo>
                  <a:pt x="325" y="101"/>
                  <a:pt x="321" y="98"/>
                  <a:pt x="317" y="98"/>
                </a:cubicBezTo>
                <a:cubicBezTo>
                  <a:pt x="312" y="98"/>
                  <a:pt x="309" y="101"/>
                  <a:pt x="309" y="106"/>
                </a:cubicBezTo>
                <a:cubicBezTo>
                  <a:pt x="309" y="291"/>
                  <a:pt x="309" y="291"/>
                  <a:pt x="309" y="291"/>
                </a:cubicBezTo>
                <a:cubicBezTo>
                  <a:pt x="308" y="292"/>
                  <a:pt x="303" y="295"/>
                  <a:pt x="297" y="298"/>
                </a:cubicBezTo>
                <a:cubicBezTo>
                  <a:pt x="273" y="308"/>
                  <a:pt x="221" y="317"/>
                  <a:pt x="162" y="317"/>
                </a:cubicBezTo>
                <a:cubicBezTo>
                  <a:pt x="120" y="317"/>
                  <a:pt x="82" y="313"/>
                  <a:pt x="55" y="306"/>
                </a:cubicBezTo>
                <a:cubicBezTo>
                  <a:pt x="41" y="303"/>
                  <a:pt x="30" y="299"/>
                  <a:pt x="23" y="296"/>
                </a:cubicBezTo>
                <a:cubicBezTo>
                  <a:pt x="20" y="294"/>
                  <a:pt x="17" y="293"/>
                  <a:pt x="16" y="292"/>
                </a:cubicBezTo>
                <a:cubicBezTo>
                  <a:pt x="16" y="291"/>
                  <a:pt x="16" y="291"/>
                  <a:pt x="16" y="291"/>
                </a:cubicBezTo>
                <a:cubicBezTo>
                  <a:pt x="16" y="52"/>
                  <a:pt x="16" y="52"/>
                  <a:pt x="16" y="52"/>
                </a:cubicBezTo>
                <a:cubicBezTo>
                  <a:pt x="19" y="53"/>
                  <a:pt x="23" y="55"/>
                  <a:pt x="28" y="56"/>
                </a:cubicBezTo>
                <a:cubicBezTo>
                  <a:pt x="56" y="64"/>
                  <a:pt x="106" y="69"/>
                  <a:pt x="162" y="69"/>
                </a:cubicBezTo>
                <a:cubicBezTo>
                  <a:pt x="205" y="69"/>
                  <a:pt x="244" y="66"/>
                  <a:pt x="273" y="61"/>
                </a:cubicBezTo>
                <a:cubicBezTo>
                  <a:pt x="287" y="59"/>
                  <a:pt x="299" y="56"/>
                  <a:pt x="307" y="52"/>
                </a:cubicBezTo>
                <a:cubicBezTo>
                  <a:pt x="308" y="52"/>
                  <a:pt x="308" y="52"/>
                  <a:pt x="309" y="52"/>
                </a:cubicBezTo>
                <a:cubicBezTo>
                  <a:pt x="309" y="73"/>
                  <a:pt x="309" y="73"/>
                  <a:pt x="309" y="73"/>
                </a:cubicBezTo>
                <a:cubicBezTo>
                  <a:pt x="309" y="78"/>
                  <a:pt x="312" y="81"/>
                  <a:pt x="317" y="81"/>
                </a:cubicBezTo>
                <a:close/>
                <a:moveTo>
                  <a:pt x="292" y="41"/>
                </a:moveTo>
                <a:cubicBezTo>
                  <a:pt x="267" y="48"/>
                  <a:pt x="218" y="53"/>
                  <a:pt x="162" y="53"/>
                </a:cubicBezTo>
                <a:cubicBezTo>
                  <a:pt x="120" y="53"/>
                  <a:pt x="82" y="50"/>
                  <a:pt x="54" y="45"/>
                </a:cubicBezTo>
                <a:cubicBezTo>
                  <a:pt x="41" y="43"/>
                  <a:pt x="30" y="40"/>
                  <a:pt x="23" y="38"/>
                </a:cubicBezTo>
                <a:cubicBezTo>
                  <a:pt x="20" y="37"/>
                  <a:pt x="18" y="35"/>
                  <a:pt x="17" y="35"/>
                </a:cubicBezTo>
                <a:cubicBezTo>
                  <a:pt x="20" y="33"/>
                  <a:pt x="25" y="31"/>
                  <a:pt x="32" y="29"/>
                </a:cubicBezTo>
                <a:cubicBezTo>
                  <a:pt x="57" y="21"/>
                  <a:pt x="106" y="16"/>
                  <a:pt x="162" y="16"/>
                </a:cubicBezTo>
                <a:cubicBezTo>
                  <a:pt x="204" y="16"/>
                  <a:pt x="243" y="19"/>
                  <a:pt x="270" y="24"/>
                </a:cubicBezTo>
                <a:cubicBezTo>
                  <a:pt x="284" y="26"/>
                  <a:pt x="295" y="29"/>
                  <a:pt x="301" y="32"/>
                </a:cubicBezTo>
                <a:cubicBezTo>
                  <a:pt x="304" y="33"/>
                  <a:pt x="306" y="34"/>
                  <a:pt x="307" y="35"/>
                </a:cubicBezTo>
                <a:cubicBezTo>
                  <a:pt x="305" y="36"/>
                  <a:pt x="299" y="39"/>
                  <a:pt x="292" y="41"/>
                </a:cubicBezTo>
                <a:close/>
              </a:path>
            </a:pathLst>
          </a:custGeom>
          <a:blipFill dpi="0" rotWithShape="0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endParaRPr lang="en-US" smtClean="0">
              <a:solidFill>
                <a:srgbClr val="58585A"/>
              </a:solidFill>
              <a:latin typeface="Arial" pitchFamily="34" charset="0"/>
            </a:endParaRPr>
          </a:p>
        </p:txBody>
      </p:sp>
      <p:sp>
        <p:nvSpPr>
          <p:cNvPr id="8210" name="Text Box 20"/>
          <p:cNvSpPr txBox="1">
            <a:spLocks noChangeArrowheads="1"/>
          </p:cNvSpPr>
          <p:nvPr/>
        </p:nvSpPr>
        <p:spPr bwMode="auto">
          <a:xfrm>
            <a:off x="588435" y="4143688"/>
            <a:ext cx="2233084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r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 b="1" dirty="0" smtClean="0">
                <a:solidFill>
                  <a:srgbClr val="5B6592"/>
                </a:solidFill>
                <a:cs typeface="Arial" pitchFamily="34" charset="0"/>
              </a:rPr>
              <a:t>Virtualization</a:t>
            </a:r>
            <a:endParaRPr lang="en-US" sz="1200" dirty="0" smtClean="0">
              <a:solidFill>
                <a:srgbClr val="5B6592"/>
              </a:solidFill>
              <a:cs typeface="Arial" pitchFamily="34" charset="0"/>
            </a:endParaRPr>
          </a:p>
        </p:txBody>
      </p:sp>
      <p:sp>
        <p:nvSpPr>
          <p:cNvPr id="8211" name="Text Box 21"/>
          <p:cNvSpPr txBox="1">
            <a:spLocks noChangeArrowheads="1"/>
          </p:cNvSpPr>
          <p:nvPr/>
        </p:nvSpPr>
        <p:spPr bwMode="auto">
          <a:xfrm>
            <a:off x="588435" y="3921438"/>
            <a:ext cx="2233084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r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 b="1" smtClean="0">
                <a:solidFill>
                  <a:srgbClr val="5B6592"/>
                </a:solidFill>
                <a:cs typeface="Arial" pitchFamily="34" charset="0"/>
              </a:rPr>
              <a:t>Resource management</a:t>
            </a:r>
            <a:endParaRPr lang="en-US" sz="1200" smtClean="0">
              <a:solidFill>
                <a:srgbClr val="5B6592"/>
              </a:solidFill>
              <a:cs typeface="Arial" pitchFamily="34" charset="0"/>
            </a:endParaRPr>
          </a:p>
        </p:txBody>
      </p:sp>
      <p:sp>
        <p:nvSpPr>
          <p:cNvPr id="8212" name="Freeform 22"/>
          <p:cNvSpPr>
            <a:spLocks noChangeAspect="1" noEditPoints="1"/>
          </p:cNvSpPr>
          <p:nvPr/>
        </p:nvSpPr>
        <p:spPr bwMode="auto">
          <a:xfrm>
            <a:off x="4516969" y="5210483"/>
            <a:ext cx="414867" cy="576262"/>
          </a:xfrm>
          <a:custGeom>
            <a:avLst/>
            <a:gdLst>
              <a:gd name="T0" fmla="*/ 2147483647 w 349"/>
              <a:gd name="T1" fmla="*/ 2147483647 h 482"/>
              <a:gd name="T2" fmla="*/ 2147483647 w 349"/>
              <a:gd name="T3" fmla="*/ 2147483647 h 482"/>
              <a:gd name="T4" fmla="*/ 2147483647 w 349"/>
              <a:gd name="T5" fmla="*/ 2147483647 h 482"/>
              <a:gd name="T6" fmla="*/ 2147483647 w 349"/>
              <a:gd name="T7" fmla="*/ 2147483647 h 482"/>
              <a:gd name="T8" fmla="*/ 2147483647 w 349"/>
              <a:gd name="T9" fmla="*/ 2147483647 h 482"/>
              <a:gd name="T10" fmla="*/ 2147483647 w 349"/>
              <a:gd name="T11" fmla="*/ 2147483647 h 482"/>
              <a:gd name="T12" fmla="*/ 2147483647 w 349"/>
              <a:gd name="T13" fmla="*/ 2147483647 h 482"/>
              <a:gd name="T14" fmla="*/ 2147483647 w 349"/>
              <a:gd name="T15" fmla="*/ 2147483647 h 482"/>
              <a:gd name="T16" fmla="*/ 2147483647 w 349"/>
              <a:gd name="T17" fmla="*/ 2147483647 h 482"/>
              <a:gd name="T18" fmla="*/ 2147483647 w 349"/>
              <a:gd name="T19" fmla="*/ 2147483647 h 482"/>
              <a:gd name="T20" fmla="*/ 2147483647 w 349"/>
              <a:gd name="T21" fmla="*/ 2147483647 h 482"/>
              <a:gd name="T22" fmla="*/ 2147483647 w 349"/>
              <a:gd name="T23" fmla="*/ 2147483647 h 482"/>
              <a:gd name="T24" fmla="*/ 2147483647 w 349"/>
              <a:gd name="T25" fmla="*/ 2147483647 h 482"/>
              <a:gd name="T26" fmla="*/ 2147483647 w 349"/>
              <a:gd name="T27" fmla="*/ 2147483647 h 482"/>
              <a:gd name="T28" fmla="*/ 2147483647 w 349"/>
              <a:gd name="T29" fmla="*/ 2147483647 h 482"/>
              <a:gd name="T30" fmla="*/ 2147483647 w 349"/>
              <a:gd name="T31" fmla="*/ 2147483647 h 482"/>
              <a:gd name="T32" fmla="*/ 2147483647 w 349"/>
              <a:gd name="T33" fmla="*/ 2147483647 h 482"/>
              <a:gd name="T34" fmla="*/ 2147483647 w 349"/>
              <a:gd name="T35" fmla="*/ 2147483647 h 482"/>
              <a:gd name="T36" fmla="*/ 2147483647 w 349"/>
              <a:gd name="T37" fmla="*/ 2147483647 h 482"/>
              <a:gd name="T38" fmla="*/ 2147483647 w 349"/>
              <a:gd name="T39" fmla="*/ 2147483647 h 482"/>
              <a:gd name="T40" fmla="*/ 2147483647 w 349"/>
              <a:gd name="T41" fmla="*/ 2147483647 h 482"/>
              <a:gd name="T42" fmla="*/ 2147483647 w 349"/>
              <a:gd name="T43" fmla="*/ 2147483647 h 482"/>
              <a:gd name="T44" fmla="*/ 2147483647 w 349"/>
              <a:gd name="T45" fmla="*/ 2147483647 h 482"/>
              <a:gd name="T46" fmla="*/ 2147483647 w 349"/>
              <a:gd name="T47" fmla="*/ 2147483647 h 482"/>
              <a:gd name="T48" fmla="*/ 2147483647 w 349"/>
              <a:gd name="T49" fmla="*/ 2147483647 h 482"/>
              <a:gd name="T50" fmla="*/ 2147483647 w 349"/>
              <a:gd name="T51" fmla="*/ 2147483647 h 482"/>
              <a:gd name="T52" fmla="*/ 2147483647 w 349"/>
              <a:gd name="T53" fmla="*/ 2147483647 h 482"/>
              <a:gd name="T54" fmla="*/ 2147483647 w 349"/>
              <a:gd name="T55" fmla="*/ 2147483647 h 482"/>
              <a:gd name="T56" fmla="*/ 2147483647 w 349"/>
              <a:gd name="T57" fmla="*/ 2147483647 h 482"/>
              <a:gd name="T58" fmla="*/ 2147483647 w 349"/>
              <a:gd name="T59" fmla="*/ 2147483647 h 482"/>
              <a:gd name="T60" fmla="*/ 2147483647 w 349"/>
              <a:gd name="T61" fmla="*/ 2147483647 h 482"/>
              <a:gd name="T62" fmla="*/ 2147483647 w 349"/>
              <a:gd name="T63" fmla="*/ 2147483647 h 482"/>
              <a:gd name="T64" fmla="*/ 2147483647 w 349"/>
              <a:gd name="T65" fmla="*/ 2147483647 h 482"/>
              <a:gd name="T66" fmla="*/ 2147483647 w 349"/>
              <a:gd name="T67" fmla="*/ 2147483647 h 482"/>
              <a:gd name="T68" fmla="*/ 2147483647 w 349"/>
              <a:gd name="T69" fmla="*/ 2147483647 h 482"/>
              <a:gd name="T70" fmla="*/ 2147483647 w 349"/>
              <a:gd name="T71" fmla="*/ 2147483647 h 482"/>
              <a:gd name="T72" fmla="*/ 2147483647 w 349"/>
              <a:gd name="T73" fmla="*/ 2147483647 h 482"/>
              <a:gd name="T74" fmla="*/ 2147483647 w 349"/>
              <a:gd name="T75" fmla="*/ 2147483647 h 482"/>
              <a:gd name="T76" fmla="*/ 2147483647 w 349"/>
              <a:gd name="T77" fmla="*/ 2147483647 h 482"/>
              <a:gd name="T78" fmla="*/ 2147483647 w 349"/>
              <a:gd name="T79" fmla="*/ 2147483647 h 482"/>
              <a:gd name="T80" fmla="*/ 2147483647 w 349"/>
              <a:gd name="T81" fmla="*/ 2147483647 h 482"/>
              <a:gd name="T82" fmla="*/ 2147483647 w 349"/>
              <a:gd name="T83" fmla="*/ 2147483647 h 482"/>
              <a:gd name="T84" fmla="*/ 2147483647 w 349"/>
              <a:gd name="T85" fmla="*/ 2147483647 h 482"/>
              <a:gd name="T86" fmla="*/ 2147483647 w 349"/>
              <a:gd name="T87" fmla="*/ 2147483647 h 482"/>
              <a:gd name="T88" fmla="*/ 2147483647 w 349"/>
              <a:gd name="T89" fmla="*/ 2147483647 h 482"/>
              <a:gd name="T90" fmla="*/ 2147483647 w 349"/>
              <a:gd name="T91" fmla="*/ 2147483647 h 482"/>
              <a:gd name="T92" fmla="*/ 2147483647 w 349"/>
              <a:gd name="T93" fmla="*/ 2147483647 h 482"/>
              <a:gd name="T94" fmla="*/ 2147483647 w 349"/>
              <a:gd name="T95" fmla="*/ 2147483647 h 482"/>
              <a:gd name="T96" fmla="*/ 2147483647 w 349"/>
              <a:gd name="T97" fmla="*/ 2147483647 h 482"/>
              <a:gd name="T98" fmla="*/ 2147483647 w 349"/>
              <a:gd name="T99" fmla="*/ 2147483647 h 482"/>
              <a:gd name="T100" fmla="*/ 2147483647 w 349"/>
              <a:gd name="T101" fmla="*/ 2147483647 h 482"/>
              <a:gd name="T102" fmla="*/ 2147483647 w 349"/>
              <a:gd name="T103" fmla="*/ 2147483647 h 48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349" h="482">
                <a:moveTo>
                  <a:pt x="278" y="147"/>
                </a:moveTo>
                <a:cubicBezTo>
                  <a:pt x="230" y="147"/>
                  <a:pt x="230" y="147"/>
                  <a:pt x="230" y="147"/>
                </a:cubicBezTo>
                <a:cubicBezTo>
                  <a:pt x="225" y="147"/>
                  <a:pt x="221" y="151"/>
                  <a:pt x="221" y="156"/>
                </a:cubicBezTo>
                <a:cubicBezTo>
                  <a:pt x="221" y="232"/>
                  <a:pt x="221" y="232"/>
                  <a:pt x="221" y="232"/>
                </a:cubicBezTo>
                <a:cubicBezTo>
                  <a:pt x="221" y="237"/>
                  <a:pt x="225" y="241"/>
                  <a:pt x="230" y="241"/>
                </a:cubicBezTo>
                <a:cubicBezTo>
                  <a:pt x="278" y="241"/>
                  <a:pt x="278" y="241"/>
                  <a:pt x="278" y="241"/>
                </a:cubicBezTo>
                <a:cubicBezTo>
                  <a:pt x="283" y="241"/>
                  <a:pt x="288" y="237"/>
                  <a:pt x="288" y="232"/>
                </a:cubicBezTo>
                <a:cubicBezTo>
                  <a:pt x="288" y="156"/>
                  <a:pt x="288" y="156"/>
                  <a:pt x="288" y="156"/>
                </a:cubicBezTo>
                <a:cubicBezTo>
                  <a:pt x="288" y="151"/>
                  <a:pt x="283" y="147"/>
                  <a:pt x="278" y="147"/>
                </a:cubicBezTo>
                <a:close/>
                <a:moveTo>
                  <a:pt x="276" y="193"/>
                </a:moveTo>
                <a:cubicBezTo>
                  <a:pt x="275" y="217"/>
                  <a:pt x="263" y="224"/>
                  <a:pt x="240" y="225"/>
                </a:cubicBezTo>
                <a:cubicBezTo>
                  <a:pt x="239" y="225"/>
                  <a:pt x="237" y="223"/>
                  <a:pt x="237" y="222"/>
                </a:cubicBezTo>
                <a:cubicBezTo>
                  <a:pt x="237" y="220"/>
                  <a:pt x="238" y="219"/>
                  <a:pt x="240" y="219"/>
                </a:cubicBezTo>
                <a:cubicBezTo>
                  <a:pt x="260" y="219"/>
                  <a:pt x="269" y="213"/>
                  <a:pt x="270" y="193"/>
                </a:cubicBezTo>
                <a:cubicBezTo>
                  <a:pt x="270" y="190"/>
                  <a:pt x="270" y="188"/>
                  <a:pt x="270" y="185"/>
                </a:cubicBezTo>
                <a:cubicBezTo>
                  <a:pt x="269" y="175"/>
                  <a:pt x="264" y="170"/>
                  <a:pt x="254" y="170"/>
                </a:cubicBezTo>
                <a:cubicBezTo>
                  <a:pt x="244" y="170"/>
                  <a:pt x="240" y="175"/>
                  <a:pt x="240" y="183"/>
                </a:cubicBezTo>
                <a:cubicBezTo>
                  <a:pt x="240" y="192"/>
                  <a:pt x="244" y="196"/>
                  <a:pt x="254" y="196"/>
                </a:cubicBezTo>
                <a:cubicBezTo>
                  <a:pt x="256" y="196"/>
                  <a:pt x="258" y="196"/>
                  <a:pt x="262" y="195"/>
                </a:cubicBezTo>
                <a:cubicBezTo>
                  <a:pt x="264" y="195"/>
                  <a:pt x="265" y="196"/>
                  <a:pt x="266" y="197"/>
                </a:cubicBezTo>
                <a:cubicBezTo>
                  <a:pt x="266" y="199"/>
                  <a:pt x="265" y="200"/>
                  <a:pt x="263" y="201"/>
                </a:cubicBezTo>
                <a:cubicBezTo>
                  <a:pt x="260" y="201"/>
                  <a:pt x="258" y="202"/>
                  <a:pt x="254" y="202"/>
                </a:cubicBezTo>
                <a:cubicBezTo>
                  <a:pt x="241" y="202"/>
                  <a:pt x="234" y="196"/>
                  <a:pt x="234" y="184"/>
                </a:cubicBezTo>
                <a:cubicBezTo>
                  <a:pt x="234" y="173"/>
                  <a:pt x="241" y="164"/>
                  <a:pt x="254" y="164"/>
                </a:cubicBezTo>
                <a:cubicBezTo>
                  <a:pt x="267" y="164"/>
                  <a:pt x="275" y="171"/>
                  <a:pt x="276" y="185"/>
                </a:cubicBezTo>
                <a:cubicBezTo>
                  <a:pt x="276" y="187"/>
                  <a:pt x="276" y="190"/>
                  <a:pt x="276" y="193"/>
                </a:cubicBezTo>
                <a:close/>
                <a:moveTo>
                  <a:pt x="281" y="115"/>
                </a:moveTo>
                <a:cubicBezTo>
                  <a:pt x="67" y="115"/>
                  <a:pt x="67" y="115"/>
                  <a:pt x="67" y="115"/>
                </a:cubicBezTo>
                <a:cubicBezTo>
                  <a:pt x="62" y="115"/>
                  <a:pt x="59" y="119"/>
                  <a:pt x="59" y="123"/>
                </a:cubicBezTo>
                <a:cubicBezTo>
                  <a:pt x="59" y="128"/>
                  <a:pt x="62" y="131"/>
                  <a:pt x="67" y="131"/>
                </a:cubicBezTo>
                <a:cubicBezTo>
                  <a:pt x="281" y="131"/>
                  <a:pt x="281" y="131"/>
                  <a:pt x="281" y="131"/>
                </a:cubicBezTo>
                <a:cubicBezTo>
                  <a:pt x="286" y="131"/>
                  <a:pt x="289" y="128"/>
                  <a:pt x="289" y="123"/>
                </a:cubicBezTo>
                <a:cubicBezTo>
                  <a:pt x="289" y="119"/>
                  <a:pt x="286" y="115"/>
                  <a:pt x="281" y="115"/>
                </a:cubicBezTo>
                <a:close/>
                <a:moveTo>
                  <a:pt x="150" y="147"/>
                </a:moveTo>
                <a:cubicBezTo>
                  <a:pt x="145" y="147"/>
                  <a:pt x="141" y="151"/>
                  <a:pt x="141" y="156"/>
                </a:cubicBezTo>
                <a:cubicBezTo>
                  <a:pt x="141" y="232"/>
                  <a:pt x="141" y="232"/>
                  <a:pt x="141" y="232"/>
                </a:cubicBezTo>
                <a:cubicBezTo>
                  <a:pt x="141" y="237"/>
                  <a:pt x="145" y="241"/>
                  <a:pt x="150" y="241"/>
                </a:cubicBezTo>
                <a:cubicBezTo>
                  <a:pt x="198" y="241"/>
                  <a:pt x="198" y="241"/>
                  <a:pt x="198" y="241"/>
                </a:cubicBezTo>
                <a:cubicBezTo>
                  <a:pt x="203" y="241"/>
                  <a:pt x="208" y="237"/>
                  <a:pt x="208" y="232"/>
                </a:cubicBezTo>
                <a:cubicBezTo>
                  <a:pt x="208" y="156"/>
                  <a:pt x="208" y="156"/>
                  <a:pt x="208" y="156"/>
                </a:cubicBezTo>
                <a:cubicBezTo>
                  <a:pt x="208" y="151"/>
                  <a:pt x="203" y="147"/>
                  <a:pt x="198" y="147"/>
                </a:cubicBezTo>
                <a:lnTo>
                  <a:pt x="150" y="147"/>
                </a:lnTo>
                <a:close/>
                <a:moveTo>
                  <a:pt x="181" y="224"/>
                </a:moveTo>
                <a:cubicBezTo>
                  <a:pt x="180" y="224"/>
                  <a:pt x="180" y="225"/>
                  <a:pt x="179" y="225"/>
                </a:cubicBezTo>
                <a:cubicBezTo>
                  <a:pt x="178" y="225"/>
                  <a:pt x="176" y="223"/>
                  <a:pt x="176" y="222"/>
                </a:cubicBezTo>
                <a:cubicBezTo>
                  <a:pt x="176" y="220"/>
                  <a:pt x="177" y="219"/>
                  <a:pt x="179" y="219"/>
                </a:cubicBezTo>
                <a:cubicBezTo>
                  <a:pt x="186" y="218"/>
                  <a:pt x="191" y="214"/>
                  <a:pt x="191" y="208"/>
                </a:cubicBezTo>
                <a:cubicBezTo>
                  <a:pt x="191" y="201"/>
                  <a:pt x="185" y="196"/>
                  <a:pt x="174" y="196"/>
                </a:cubicBezTo>
                <a:cubicBezTo>
                  <a:pt x="164" y="196"/>
                  <a:pt x="159" y="201"/>
                  <a:pt x="159" y="208"/>
                </a:cubicBezTo>
                <a:cubicBezTo>
                  <a:pt x="159" y="215"/>
                  <a:pt x="164" y="218"/>
                  <a:pt x="171" y="219"/>
                </a:cubicBezTo>
                <a:cubicBezTo>
                  <a:pt x="173" y="219"/>
                  <a:pt x="174" y="220"/>
                  <a:pt x="174" y="222"/>
                </a:cubicBezTo>
                <a:cubicBezTo>
                  <a:pt x="174" y="223"/>
                  <a:pt x="172" y="225"/>
                  <a:pt x="171" y="225"/>
                </a:cubicBezTo>
                <a:cubicBezTo>
                  <a:pt x="170" y="225"/>
                  <a:pt x="170" y="224"/>
                  <a:pt x="169" y="224"/>
                </a:cubicBezTo>
                <a:cubicBezTo>
                  <a:pt x="160" y="223"/>
                  <a:pt x="153" y="217"/>
                  <a:pt x="153" y="208"/>
                </a:cubicBezTo>
                <a:cubicBezTo>
                  <a:pt x="153" y="200"/>
                  <a:pt x="158" y="195"/>
                  <a:pt x="164" y="193"/>
                </a:cubicBezTo>
                <a:cubicBezTo>
                  <a:pt x="164" y="193"/>
                  <a:pt x="164" y="193"/>
                  <a:pt x="164" y="193"/>
                </a:cubicBezTo>
                <a:cubicBezTo>
                  <a:pt x="158" y="191"/>
                  <a:pt x="155" y="187"/>
                  <a:pt x="155" y="180"/>
                </a:cubicBezTo>
                <a:cubicBezTo>
                  <a:pt x="155" y="172"/>
                  <a:pt x="159" y="166"/>
                  <a:pt x="169" y="165"/>
                </a:cubicBezTo>
                <a:cubicBezTo>
                  <a:pt x="170" y="164"/>
                  <a:pt x="170" y="164"/>
                  <a:pt x="171" y="164"/>
                </a:cubicBezTo>
                <a:cubicBezTo>
                  <a:pt x="172" y="164"/>
                  <a:pt x="174" y="166"/>
                  <a:pt x="174" y="167"/>
                </a:cubicBezTo>
                <a:cubicBezTo>
                  <a:pt x="174" y="168"/>
                  <a:pt x="173" y="170"/>
                  <a:pt x="171" y="170"/>
                </a:cubicBezTo>
                <a:cubicBezTo>
                  <a:pt x="164" y="171"/>
                  <a:pt x="160" y="174"/>
                  <a:pt x="160" y="180"/>
                </a:cubicBezTo>
                <a:cubicBezTo>
                  <a:pt x="160" y="186"/>
                  <a:pt x="166" y="190"/>
                  <a:pt x="176" y="190"/>
                </a:cubicBezTo>
                <a:cubicBezTo>
                  <a:pt x="184" y="190"/>
                  <a:pt x="189" y="186"/>
                  <a:pt x="189" y="180"/>
                </a:cubicBezTo>
                <a:cubicBezTo>
                  <a:pt x="189" y="174"/>
                  <a:pt x="186" y="171"/>
                  <a:pt x="179" y="170"/>
                </a:cubicBezTo>
                <a:cubicBezTo>
                  <a:pt x="177" y="170"/>
                  <a:pt x="176" y="168"/>
                  <a:pt x="176" y="167"/>
                </a:cubicBezTo>
                <a:cubicBezTo>
                  <a:pt x="176" y="166"/>
                  <a:pt x="178" y="164"/>
                  <a:pt x="179" y="164"/>
                </a:cubicBezTo>
                <a:cubicBezTo>
                  <a:pt x="180" y="164"/>
                  <a:pt x="180" y="164"/>
                  <a:pt x="181" y="165"/>
                </a:cubicBezTo>
                <a:cubicBezTo>
                  <a:pt x="190" y="166"/>
                  <a:pt x="195" y="172"/>
                  <a:pt x="195" y="180"/>
                </a:cubicBezTo>
                <a:cubicBezTo>
                  <a:pt x="195" y="186"/>
                  <a:pt x="192" y="191"/>
                  <a:pt x="186" y="193"/>
                </a:cubicBezTo>
                <a:cubicBezTo>
                  <a:pt x="186" y="193"/>
                  <a:pt x="186" y="193"/>
                  <a:pt x="186" y="193"/>
                </a:cubicBezTo>
                <a:cubicBezTo>
                  <a:pt x="192" y="195"/>
                  <a:pt x="196" y="200"/>
                  <a:pt x="197" y="208"/>
                </a:cubicBezTo>
                <a:cubicBezTo>
                  <a:pt x="197" y="217"/>
                  <a:pt x="190" y="223"/>
                  <a:pt x="181" y="224"/>
                </a:cubicBezTo>
                <a:close/>
                <a:moveTo>
                  <a:pt x="143" y="368"/>
                </a:moveTo>
                <a:cubicBezTo>
                  <a:pt x="147" y="368"/>
                  <a:pt x="150" y="365"/>
                  <a:pt x="151" y="362"/>
                </a:cubicBezTo>
                <a:cubicBezTo>
                  <a:pt x="152" y="357"/>
                  <a:pt x="149" y="353"/>
                  <a:pt x="144" y="352"/>
                </a:cubicBezTo>
                <a:cubicBezTo>
                  <a:pt x="83" y="340"/>
                  <a:pt x="31" y="292"/>
                  <a:pt x="19" y="227"/>
                </a:cubicBezTo>
                <a:cubicBezTo>
                  <a:pt x="17" y="216"/>
                  <a:pt x="16" y="206"/>
                  <a:pt x="16" y="196"/>
                </a:cubicBezTo>
                <a:cubicBezTo>
                  <a:pt x="16" y="129"/>
                  <a:pt x="59" y="68"/>
                  <a:pt x="124" y="46"/>
                </a:cubicBezTo>
                <a:cubicBezTo>
                  <a:pt x="112" y="64"/>
                  <a:pt x="112" y="64"/>
                  <a:pt x="112" y="64"/>
                </a:cubicBezTo>
                <a:cubicBezTo>
                  <a:pt x="110" y="68"/>
                  <a:pt x="111" y="73"/>
                  <a:pt x="114" y="75"/>
                </a:cubicBezTo>
                <a:cubicBezTo>
                  <a:pt x="116" y="76"/>
                  <a:pt x="117" y="77"/>
                  <a:pt x="119" y="77"/>
                </a:cubicBezTo>
                <a:cubicBezTo>
                  <a:pt x="121" y="77"/>
                  <a:pt x="124" y="76"/>
                  <a:pt x="125" y="73"/>
                </a:cubicBezTo>
                <a:cubicBezTo>
                  <a:pt x="150" y="38"/>
                  <a:pt x="150" y="38"/>
                  <a:pt x="150" y="38"/>
                </a:cubicBezTo>
                <a:cubicBezTo>
                  <a:pt x="150" y="38"/>
                  <a:pt x="150" y="37"/>
                  <a:pt x="150" y="37"/>
                </a:cubicBezTo>
                <a:cubicBezTo>
                  <a:pt x="150" y="37"/>
                  <a:pt x="150" y="37"/>
                  <a:pt x="150" y="36"/>
                </a:cubicBezTo>
                <a:cubicBezTo>
                  <a:pt x="150" y="36"/>
                  <a:pt x="150" y="36"/>
                  <a:pt x="150" y="36"/>
                </a:cubicBezTo>
                <a:cubicBezTo>
                  <a:pt x="151" y="35"/>
                  <a:pt x="151" y="35"/>
                  <a:pt x="151" y="35"/>
                </a:cubicBezTo>
                <a:cubicBezTo>
                  <a:pt x="151" y="34"/>
                  <a:pt x="151" y="34"/>
                  <a:pt x="151" y="34"/>
                </a:cubicBezTo>
                <a:cubicBezTo>
                  <a:pt x="151" y="34"/>
                  <a:pt x="151" y="33"/>
                  <a:pt x="151" y="33"/>
                </a:cubicBezTo>
                <a:cubicBezTo>
                  <a:pt x="151" y="33"/>
                  <a:pt x="151" y="32"/>
                  <a:pt x="151" y="32"/>
                </a:cubicBezTo>
                <a:cubicBezTo>
                  <a:pt x="151" y="32"/>
                  <a:pt x="151" y="32"/>
                  <a:pt x="151" y="32"/>
                </a:cubicBezTo>
                <a:cubicBezTo>
                  <a:pt x="151" y="31"/>
                  <a:pt x="151" y="31"/>
                  <a:pt x="151" y="31"/>
                </a:cubicBezTo>
                <a:cubicBezTo>
                  <a:pt x="150" y="31"/>
                  <a:pt x="150" y="30"/>
                  <a:pt x="150" y="30"/>
                </a:cubicBezTo>
                <a:cubicBezTo>
                  <a:pt x="150" y="30"/>
                  <a:pt x="150" y="30"/>
                  <a:pt x="150" y="29"/>
                </a:cubicBezTo>
                <a:cubicBezTo>
                  <a:pt x="150" y="29"/>
                  <a:pt x="150" y="29"/>
                  <a:pt x="150" y="29"/>
                </a:cubicBezTo>
                <a:cubicBezTo>
                  <a:pt x="149" y="29"/>
                  <a:pt x="149" y="28"/>
                  <a:pt x="149" y="28"/>
                </a:cubicBezTo>
                <a:cubicBezTo>
                  <a:pt x="149" y="28"/>
                  <a:pt x="149" y="28"/>
                  <a:pt x="149" y="28"/>
                </a:cubicBezTo>
                <a:cubicBezTo>
                  <a:pt x="148" y="27"/>
                  <a:pt x="148" y="27"/>
                  <a:pt x="147" y="27"/>
                </a:cubicBezTo>
                <a:cubicBezTo>
                  <a:pt x="147" y="27"/>
                  <a:pt x="147" y="27"/>
                  <a:pt x="147" y="27"/>
                </a:cubicBezTo>
                <a:cubicBezTo>
                  <a:pt x="112" y="2"/>
                  <a:pt x="112" y="2"/>
                  <a:pt x="112" y="2"/>
                </a:cubicBezTo>
                <a:cubicBezTo>
                  <a:pt x="108" y="0"/>
                  <a:pt x="103" y="1"/>
                  <a:pt x="101" y="5"/>
                </a:cubicBezTo>
                <a:cubicBezTo>
                  <a:pt x="98" y="8"/>
                  <a:pt x="99" y="13"/>
                  <a:pt x="103" y="16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24" y="30"/>
                  <a:pt x="124" y="30"/>
                  <a:pt x="124" y="30"/>
                </a:cubicBezTo>
                <a:cubicBezTo>
                  <a:pt x="50" y="52"/>
                  <a:pt x="0" y="120"/>
                  <a:pt x="0" y="196"/>
                </a:cubicBezTo>
                <a:cubicBezTo>
                  <a:pt x="0" y="207"/>
                  <a:pt x="1" y="218"/>
                  <a:pt x="3" y="230"/>
                </a:cubicBezTo>
                <a:cubicBezTo>
                  <a:pt x="17" y="302"/>
                  <a:pt x="73" y="355"/>
                  <a:pt x="141" y="368"/>
                </a:cubicBezTo>
                <a:cubicBezTo>
                  <a:pt x="142" y="368"/>
                  <a:pt x="142" y="368"/>
                  <a:pt x="143" y="368"/>
                </a:cubicBezTo>
                <a:close/>
                <a:moveTo>
                  <a:pt x="349" y="197"/>
                </a:moveTo>
                <a:cubicBezTo>
                  <a:pt x="349" y="100"/>
                  <a:pt x="270" y="22"/>
                  <a:pt x="174" y="22"/>
                </a:cubicBezTo>
                <a:cubicBezTo>
                  <a:pt x="170" y="22"/>
                  <a:pt x="166" y="26"/>
                  <a:pt x="166" y="30"/>
                </a:cubicBezTo>
                <a:cubicBezTo>
                  <a:pt x="166" y="35"/>
                  <a:pt x="170" y="38"/>
                  <a:pt x="174" y="38"/>
                </a:cubicBezTo>
                <a:cubicBezTo>
                  <a:pt x="218" y="38"/>
                  <a:pt x="257" y="56"/>
                  <a:pt x="286" y="85"/>
                </a:cubicBezTo>
                <a:cubicBezTo>
                  <a:pt x="315" y="113"/>
                  <a:pt x="333" y="153"/>
                  <a:pt x="333" y="197"/>
                </a:cubicBezTo>
                <a:cubicBezTo>
                  <a:pt x="333" y="231"/>
                  <a:pt x="321" y="263"/>
                  <a:pt x="303" y="289"/>
                </a:cubicBezTo>
                <a:cubicBezTo>
                  <a:pt x="286" y="276"/>
                  <a:pt x="267" y="270"/>
                  <a:pt x="247" y="270"/>
                </a:cubicBezTo>
                <a:cubicBezTo>
                  <a:pt x="225" y="270"/>
                  <a:pt x="202" y="278"/>
                  <a:pt x="185" y="295"/>
                </a:cubicBezTo>
                <a:cubicBezTo>
                  <a:pt x="165" y="316"/>
                  <a:pt x="165" y="316"/>
                  <a:pt x="165" y="316"/>
                </a:cubicBezTo>
                <a:cubicBezTo>
                  <a:pt x="162" y="319"/>
                  <a:pt x="160" y="323"/>
                  <a:pt x="160" y="327"/>
                </a:cubicBezTo>
                <a:cubicBezTo>
                  <a:pt x="160" y="331"/>
                  <a:pt x="162" y="335"/>
                  <a:pt x="165" y="339"/>
                </a:cubicBezTo>
                <a:cubicBezTo>
                  <a:pt x="176" y="350"/>
                  <a:pt x="176" y="350"/>
                  <a:pt x="176" y="350"/>
                </a:cubicBezTo>
                <a:cubicBezTo>
                  <a:pt x="127" y="399"/>
                  <a:pt x="127" y="399"/>
                  <a:pt x="127" y="399"/>
                </a:cubicBezTo>
                <a:cubicBezTo>
                  <a:pt x="124" y="402"/>
                  <a:pt x="123" y="406"/>
                  <a:pt x="123" y="410"/>
                </a:cubicBezTo>
                <a:cubicBezTo>
                  <a:pt x="123" y="415"/>
                  <a:pt x="124" y="419"/>
                  <a:pt x="127" y="422"/>
                </a:cubicBezTo>
                <a:cubicBezTo>
                  <a:pt x="133" y="416"/>
                  <a:pt x="133" y="416"/>
                  <a:pt x="133" y="416"/>
                </a:cubicBezTo>
                <a:cubicBezTo>
                  <a:pt x="127" y="422"/>
                  <a:pt x="127" y="422"/>
                  <a:pt x="127" y="422"/>
                </a:cubicBezTo>
                <a:cubicBezTo>
                  <a:pt x="133" y="427"/>
                  <a:pt x="133" y="427"/>
                  <a:pt x="133" y="427"/>
                </a:cubicBezTo>
                <a:cubicBezTo>
                  <a:pt x="136" y="431"/>
                  <a:pt x="140" y="432"/>
                  <a:pt x="144" y="432"/>
                </a:cubicBezTo>
                <a:cubicBezTo>
                  <a:pt x="144" y="432"/>
                  <a:pt x="144" y="432"/>
                  <a:pt x="144" y="432"/>
                </a:cubicBezTo>
                <a:cubicBezTo>
                  <a:pt x="149" y="432"/>
                  <a:pt x="153" y="431"/>
                  <a:pt x="156" y="427"/>
                </a:cubicBezTo>
                <a:cubicBezTo>
                  <a:pt x="205" y="379"/>
                  <a:pt x="205" y="379"/>
                  <a:pt x="205" y="379"/>
                </a:cubicBezTo>
                <a:cubicBezTo>
                  <a:pt x="226" y="400"/>
                  <a:pt x="226" y="400"/>
                  <a:pt x="226" y="400"/>
                </a:cubicBezTo>
                <a:cubicBezTo>
                  <a:pt x="177" y="449"/>
                  <a:pt x="177" y="449"/>
                  <a:pt x="177" y="449"/>
                </a:cubicBezTo>
                <a:cubicBezTo>
                  <a:pt x="174" y="452"/>
                  <a:pt x="173" y="456"/>
                  <a:pt x="173" y="460"/>
                </a:cubicBezTo>
                <a:cubicBezTo>
                  <a:pt x="173" y="465"/>
                  <a:pt x="174" y="469"/>
                  <a:pt x="177" y="472"/>
                </a:cubicBezTo>
                <a:cubicBezTo>
                  <a:pt x="183" y="466"/>
                  <a:pt x="183" y="466"/>
                  <a:pt x="183" y="466"/>
                </a:cubicBezTo>
                <a:cubicBezTo>
                  <a:pt x="177" y="472"/>
                  <a:pt x="177" y="472"/>
                  <a:pt x="177" y="472"/>
                </a:cubicBezTo>
                <a:cubicBezTo>
                  <a:pt x="183" y="477"/>
                  <a:pt x="183" y="477"/>
                  <a:pt x="183" y="477"/>
                </a:cubicBezTo>
                <a:cubicBezTo>
                  <a:pt x="186" y="480"/>
                  <a:pt x="190" y="482"/>
                  <a:pt x="194" y="482"/>
                </a:cubicBezTo>
                <a:cubicBezTo>
                  <a:pt x="194" y="482"/>
                  <a:pt x="194" y="482"/>
                  <a:pt x="194" y="482"/>
                </a:cubicBezTo>
                <a:cubicBezTo>
                  <a:pt x="198" y="482"/>
                  <a:pt x="203" y="480"/>
                  <a:pt x="206" y="477"/>
                </a:cubicBezTo>
                <a:cubicBezTo>
                  <a:pt x="255" y="428"/>
                  <a:pt x="255" y="428"/>
                  <a:pt x="255" y="428"/>
                </a:cubicBezTo>
                <a:cubicBezTo>
                  <a:pt x="266" y="440"/>
                  <a:pt x="266" y="440"/>
                  <a:pt x="266" y="440"/>
                </a:cubicBezTo>
                <a:cubicBezTo>
                  <a:pt x="269" y="443"/>
                  <a:pt x="274" y="445"/>
                  <a:pt x="278" y="445"/>
                </a:cubicBezTo>
                <a:cubicBezTo>
                  <a:pt x="278" y="445"/>
                  <a:pt x="278" y="445"/>
                  <a:pt x="278" y="445"/>
                </a:cubicBezTo>
                <a:cubicBezTo>
                  <a:pt x="282" y="445"/>
                  <a:pt x="286" y="443"/>
                  <a:pt x="289" y="440"/>
                </a:cubicBezTo>
                <a:cubicBezTo>
                  <a:pt x="309" y="420"/>
                  <a:pt x="309" y="420"/>
                  <a:pt x="309" y="420"/>
                </a:cubicBezTo>
                <a:cubicBezTo>
                  <a:pt x="326" y="403"/>
                  <a:pt x="335" y="380"/>
                  <a:pt x="335" y="358"/>
                </a:cubicBezTo>
                <a:cubicBezTo>
                  <a:pt x="335" y="337"/>
                  <a:pt x="328" y="317"/>
                  <a:pt x="314" y="301"/>
                </a:cubicBezTo>
                <a:cubicBezTo>
                  <a:pt x="336" y="272"/>
                  <a:pt x="349" y="236"/>
                  <a:pt x="349" y="197"/>
                </a:cubicBezTo>
                <a:close/>
                <a:moveTo>
                  <a:pt x="145" y="416"/>
                </a:moveTo>
                <a:cubicBezTo>
                  <a:pt x="144" y="416"/>
                  <a:pt x="144" y="416"/>
                  <a:pt x="144" y="416"/>
                </a:cubicBezTo>
                <a:cubicBezTo>
                  <a:pt x="144" y="416"/>
                  <a:pt x="144" y="416"/>
                  <a:pt x="144" y="416"/>
                </a:cubicBezTo>
                <a:cubicBezTo>
                  <a:pt x="139" y="411"/>
                  <a:pt x="139" y="411"/>
                  <a:pt x="139" y="411"/>
                </a:cubicBezTo>
                <a:cubicBezTo>
                  <a:pt x="139" y="411"/>
                  <a:pt x="139" y="411"/>
                  <a:pt x="139" y="410"/>
                </a:cubicBezTo>
                <a:cubicBezTo>
                  <a:pt x="139" y="410"/>
                  <a:pt x="139" y="410"/>
                  <a:pt x="139" y="410"/>
                </a:cubicBezTo>
                <a:cubicBezTo>
                  <a:pt x="188" y="361"/>
                  <a:pt x="188" y="361"/>
                  <a:pt x="188" y="361"/>
                </a:cubicBezTo>
                <a:cubicBezTo>
                  <a:pt x="189" y="363"/>
                  <a:pt x="189" y="363"/>
                  <a:pt x="189" y="363"/>
                </a:cubicBezTo>
                <a:cubicBezTo>
                  <a:pt x="193" y="367"/>
                  <a:pt x="193" y="367"/>
                  <a:pt x="193" y="367"/>
                </a:cubicBezTo>
                <a:lnTo>
                  <a:pt x="145" y="416"/>
                </a:lnTo>
                <a:close/>
                <a:moveTo>
                  <a:pt x="194" y="466"/>
                </a:moveTo>
                <a:cubicBezTo>
                  <a:pt x="194" y="466"/>
                  <a:pt x="194" y="466"/>
                  <a:pt x="194" y="466"/>
                </a:cubicBezTo>
                <a:cubicBezTo>
                  <a:pt x="194" y="466"/>
                  <a:pt x="194" y="466"/>
                  <a:pt x="194" y="466"/>
                </a:cubicBezTo>
                <a:cubicBezTo>
                  <a:pt x="189" y="461"/>
                  <a:pt x="189" y="461"/>
                  <a:pt x="189" y="461"/>
                </a:cubicBezTo>
                <a:cubicBezTo>
                  <a:pt x="189" y="460"/>
                  <a:pt x="189" y="460"/>
                  <a:pt x="189" y="460"/>
                </a:cubicBezTo>
                <a:cubicBezTo>
                  <a:pt x="189" y="460"/>
                  <a:pt x="189" y="460"/>
                  <a:pt x="189" y="460"/>
                </a:cubicBezTo>
                <a:cubicBezTo>
                  <a:pt x="238" y="411"/>
                  <a:pt x="238" y="411"/>
                  <a:pt x="238" y="411"/>
                </a:cubicBezTo>
                <a:cubicBezTo>
                  <a:pt x="243" y="417"/>
                  <a:pt x="243" y="417"/>
                  <a:pt x="243" y="417"/>
                </a:cubicBezTo>
                <a:lnTo>
                  <a:pt x="194" y="466"/>
                </a:lnTo>
                <a:close/>
                <a:moveTo>
                  <a:pt x="319" y="358"/>
                </a:moveTo>
                <a:cubicBezTo>
                  <a:pt x="319" y="376"/>
                  <a:pt x="312" y="394"/>
                  <a:pt x="298" y="408"/>
                </a:cubicBezTo>
                <a:cubicBezTo>
                  <a:pt x="278" y="429"/>
                  <a:pt x="278" y="429"/>
                  <a:pt x="278" y="429"/>
                </a:cubicBezTo>
                <a:cubicBezTo>
                  <a:pt x="278" y="429"/>
                  <a:pt x="278" y="429"/>
                  <a:pt x="278" y="429"/>
                </a:cubicBezTo>
                <a:cubicBezTo>
                  <a:pt x="278" y="429"/>
                  <a:pt x="278" y="429"/>
                  <a:pt x="277" y="429"/>
                </a:cubicBezTo>
                <a:cubicBezTo>
                  <a:pt x="247" y="398"/>
                  <a:pt x="247" y="398"/>
                  <a:pt x="247" y="398"/>
                </a:cubicBezTo>
                <a:cubicBezTo>
                  <a:pt x="243" y="394"/>
                  <a:pt x="243" y="394"/>
                  <a:pt x="243" y="394"/>
                </a:cubicBezTo>
                <a:cubicBezTo>
                  <a:pt x="243" y="394"/>
                  <a:pt x="243" y="394"/>
                  <a:pt x="243" y="394"/>
                </a:cubicBezTo>
                <a:cubicBezTo>
                  <a:pt x="210" y="362"/>
                  <a:pt x="210" y="362"/>
                  <a:pt x="210" y="362"/>
                </a:cubicBezTo>
                <a:cubicBezTo>
                  <a:pt x="210" y="362"/>
                  <a:pt x="210" y="362"/>
                  <a:pt x="210" y="362"/>
                </a:cubicBezTo>
                <a:cubicBezTo>
                  <a:pt x="207" y="358"/>
                  <a:pt x="207" y="358"/>
                  <a:pt x="207" y="358"/>
                </a:cubicBezTo>
                <a:cubicBezTo>
                  <a:pt x="176" y="327"/>
                  <a:pt x="176" y="327"/>
                  <a:pt x="176" y="327"/>
                </a:cubicBezTo>
                <a:cubicBezTo>
                  <a:pt x="171" y="333"/>
                  <a:pt x="171" y="333"/>
                  <a:pt x="171" y="333"/>
                </a:cubicBezTo>
                <a:cubicBezTo>
                  <a:pt x="176" y="327"/>
                  <a:pt x="176" y="327"/>
                  <a:pt x="176" y="327"/>
                </a:cubicBezTo>
                <a:cubicBezTo>
                  <a:pt x="176" y="327"/>
                  <a:pt x="176" y="327"/>
                  <a:pt x="176" y="327"/>
                </a:cubicBezTo>
                <a:cubicBezTo>
                  <a:pt x="176" y="327"/>
                  <a:pt x="176" y="327"/>
                  <a:pt x="176" y="327"/>
                </a:cubicBezTo>
                <a:cubicBezTo>
                  <a:pt x="196" y="307"/>
                  <a:pt x="196" y="307"/>
                  <a:pt x="196" y="307"/>
                </a:cubicBezTo>
                <a:cubicBezTo>
                  <a:pt x="210" y="293"/>
                  <a:pt x="229" y="286"/>
                  <a:pt x="247" y="286"/>
                </a:cubicBezTo>
                <a:cubicBezTo>
                  <a:pt x="266" y="286"/>
                  <a:pt x="284" y="293"/>
                  <a:pt x="298" y="307"/>
                </a:cubicBezTo>
                <a:cubicBezTo>
                  <a:pt x="312" y="321"/>
                  <a:pt x="319" y="339"/>
                  <a:pt x="319" y="358"/>
                </a:cubicBezTo>
                <a:close/>
                <a:moveTo>
                  <a:pt x="70" y="147"/>
                </a:moveTo>
                <a:cubicBezTo>
                  <a:pt x="65" y="147"/>
                  <a:pt x="61" y="151"/>
                  <a:pt x="61" y="156"/>
                </a:cubicBezTo>
                <a:cubicBezTo>
                  <a:pt x="61" y="232"/>
                  <a:pt x="61" y="232"/>
                  <a:pt x="61" y="232"/>
                </a:cubicBezTo>
                <a:cubicBezTo>
                  <a:pt x="61" y="237"/>
                  <a:pt x="65" y="241"/>
                  <a:pt x="70" y="241"/>
                </a:cubicBezTo>
                <a:cubicBezTo>
                  <a:pt x="118" y="241"/>
                  <a:pt x="118" y="241"/>
                  <a:pt x="118" y="241"/>
                </a:cubicBezTo>
                <a:cubicBezTo>
                  <a:pt x="123" y="241"/>
                  <a:pt x="127" y="237"/>
                  <a:pt x="127" y="232"/>
                </a:cubicBezTo>
                <a:cubicBezTo>
                  <a:pt x="127" y="156"/>
                  <a:pt x="127" y="156"/>
                  <a:pt x="127" y="156"/>
                </a:cubicBezTo>
                <a:cubicBezTo>
                  <a:pt x="127" y="151"/>
                  <a:pt x="123" y="147"/>
                  <a:pt x="118" y="147"/>
                </a:cubicBezTo>
                <a:lnTo>
                  <a:pt x="70" y="147"/>
                </a:lnTo>
                <a:close/>
                <a:moveTo>
                  <a:pt x="114" y="172"/>
                </a:moveTo>
                <a:cubicBezTo>
                  <a:pt x="99" y="198"/>
                  <a:pt x="93" y="207"/>
                  <a:pt x="90" y="222"/>
                </a:cubicBezTo>
                <a:cubicBezTo>
                  <a:pt x="89" y="224"/>
                  <a:pt x="87" y="225"/>
                  <a:pt x="85" y="224"/>
                </a:cubicBezTo>
                <a:cubicBezTo>
                  <a:pt x="84" y="223"/>
                  <a:pt x="84" y="221"/>
                  <a:pt x="84" y="220"/>
                </a:cubicBezTo>
                <a:cubicBezTo>
                  <a:pt x="88" y="206"/>
                  <a:pt x="94" y="195"/>
                  <a:pt x="108" y="171"/>
                </a:cubicBezTo>
                <a:cubicBezTo>
                  <a:pt x="79" y="171"/>
                  <a:pt x="79" y="171"/>
                  <a:pt x="79" y="171"/>
                </a:cubicBezTo>
                <a:cubicBezTo>
                  <a:pt x="77" y="171"/>
                  <a:pt x="76" y="169"/>
                  <a:pt x="76" y="168"/>
                </a:cubicBezTo>
                <a:cubicBezTo>
                  <a:pt x="76" y="166"/>
                  <a:pt x="77" y="165"/>
                  <a:pt x="79" y="165"/>
                </a:cubicBezTo>
                <a:cubicBezTo>
                  <a:pt x="110" y="165"/>
                  <a:pt x="110" y="165"/>
                  <a:pt x="110" y="165"/>
                </a:cubicBezTo>
                <a:cubicBezTo>
                  <a:pt x="113" y="165"/>
                  <a:pt x="115" y="166"/>
                  <a:pt x="115" y="169"/>
                </a:cubicBezTo>
                <a:cubicBezTo>
                  <a:pt x="115" y="170"/>
                  <a:pt x="115" y="171"/>
                  <a:pt x="114" y="172"/>
                </a:cubicBezTo>
                <a:close/>
              </a:path>
            </a:pathLst>
          </a:custGeom>
          <a:solidFill>
            <a:srgbClr val="5858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endParaRPr lang="en-US" smtClean="0">
              <a:solidFill>
                <a:srgbClr val="58585A"/>
              </a:solidFill>
              <a:latin typeface="Arial" pitchFamily="34" charset="0"/>
            </a:endParaRPr>
          </a:p>
        </p:txBody>
      </p:sp>
      <p:sp>
        <p:nvSpPr>
          <p:cNvPr id="8213" name="Freeform 3"/>
          <p:cNvSpPr>
            <a:spLocks noChangeAspect="1" noEditPoints="1"/>
          </p:cNvSpPr>
          <p:nvPr/>
        </p:nvSpPr>
        <p:spPr bwMode="auto">
          <a:xfrm>
            <a:off x="3647021" y="4897745"/>
            <a:ext cx="823383" cy="681038"/>
          </a:xfrm>
          <a:custGeom>
            <a:avLst/>
            <a:gdLst>
              <a:gd name="T0" fmla="*/ 2147483647 w 458"/>
              <a:gd name="T1" fmla="*/ 2147483647 h 380"/>
              <a:gd name="T2" fmla="*/ 2147483647 w 458"/>
              <a:gd name="T3" fmla="*/ 0 h 380"/>
              <a:gd name="T4" fmla="*/ 2147483647 w 458"/>
              <a:gd name="T5" fmla="*/ 2147483647 h 380"/>
              <a:gd name="T6" fmla="*/ 2147483647 w 458"/>
              <a:gd name="T7" fmla="*/ 2147483647 h 380"/>
              <a:gd name="T8" fmla="*/ 0 w 458"/>
              <a:gd name="T9" fmla="*/ 2147483647 h 380"/>
              <a:gd name="T10" fmla="*/ 2147483647 w 458"/>
              <a:gd name="T11" fmla="*/ 2147483647 h 380"/>
              <a:gd name="T12" fmla="*/ 2147483647 w 458"/>
              <a:gd name="T13" fmla="*/ 2147483647 h 380"/>
              <a:gd name="T14" fmla="*/ 2147483647 w 458"/>
              <a:gd name="T15" fmla="*/ 2147483647 h 380"/>
              <a:gd name="T16" fmla="*/ 2147483647 w 458"/>
              <a:gd name="T17" fmla="*/ 2147483647 h 380"/>
              <a:gd name="T18" fmla="*/ 2147483647 w 458"/>
              <a:gd name="T19" fmla="*/ 2147483647 h 380"/>
              <a:gd name="T20" fmla="*/ 2147483647 w 458"/>
              <a:gd name="T21" fmla="*/ 2147483647 h 380"/>
              <a:gd name="T22" fmla="*/ 2147483647 w 458"/>
              <a:gd name="T23" fmla="*/ 2147483647 h 380"/>
              <a:gd name="T24" fmla="*/ 2147483647 w 458"/>
              <a:gd name="T25" fmla="*/ 2147483647 h 380"/>
              <a:gd name="T26" fmla="*/ 2147483647 w 458"/>
              <a:gd name="T27" fmla="*/ 2147483647 h 380"/>
              <a:gd name="T28" fmla="*/ 2147483647 w 458"/>
              <a:gd name="T29" fmla="*/ 2147483647 h 380"/>
              <a:gd name="T30" fmla="*/ 2147483647 w 458"/>
              <a:gd name="T31" fmla="*/ 2147483647 h 380"/>
              <a:gd name="T32" fmla="*/ 2147483647 w 458"/>
              <a:gd name="T33" fmla="*/ 2147483647 h 380"/>
              <a:gd name="T34" fmla="*/ 2147483647 w 458"/>
              <a:gd name="T35" fmla="*/ 2147483647 h 380"/>
              <a:gd name="T36" fmla="*/ 2147483647 w 458"/>
              <a:gd name="T37" fmla="*/ 2147483647 h 380"/>
              <a:gd name="T38" fmla="*/ 2147483647 w 458"/>
              <a:gd name="T39" fmla="*/ 2147483647 h 380"/>
              <a:gd name="T40" fmla="*/ 2147483647 w 458"/>
              <a:gd name="T41" fmla="*/ 2147483647 h 380"/>
              <a:gd name="T42" fmla="*/ 2147483647 w 458"/>
              <a:gd name="T43" fmla="*/ 2147483647 h 380"/>
              <a:gd name="T44" fmla="*/ 2147483647 w 458"/>
              <a:gd name="T45" fmla="*/ 2147483647 h 380"/>
              <a:gd name="T46" fmla="*/ 2147483647 w 458"/>
              <a:gd name="T47" fmla="*/ 2147483647 h 380"/>
              <a:gd name="T48" fmla="*/ 2147483647 w 458"/>
              <a:gd name="T49" fmla="*/ 2147483647 h 380"/>
              <a:gd name="T50" fmla="*/ 2147483647 w 458"/>
              <a:gd name="T51" fmla="*/ 2147483647 h 380"/>
              <a:gd name="T52" fmla="*/ 2147483647 w 458"/>
              <a:gd name="T53" fmla="*/ 2147483647 h 380"/>
              <a:gd name="T54" fmla="*/ 2147483647 w 458"/>
              <a:gd name="T55" fmla="*/ 2147483647 h 380"/>
              <a:gd name="T56" fmla="*/ 2147483647 w 458"/>
              <a:gd name="T57" fmla="*/ 2147483647 h 380"/>
              <a:gd name="T58" fmla="*/ 2147483647 w 458"/>
              <a:gd name="T59" fmla="*/ 2147483647 h 380"/>
              <a:gd name="T60" fmla="*/ 2147483647 w 458"/>
              <a:gd name="T61" fmla="*/ 2147483647 h 380"/>
              <a:gd name="T62" fmla="*/ 2147483647 w 458"/>
              <a:gd name="T63" fmla="*/ 2147483647 h 380"/>
              <a:gd name="T64" fmla="*/ 2147483647 w 458"/>
              <a:gd name="T65" fmla="*/ 2147483647 h 380"/>
              <a:gd name="T66" fmla="*/ 2147483647 w 458"/>
              <a:gd name="T67" fmla="*/ 2147483647 h 380"/>
              <a:gd name="T68" fmla="*/ 2147483647 w 458"/>
              <a:gd name="T69" fmla="*/ 2147483647 h 380"/>
              <a:gd name="T70" fmla="*/ 2147483647 w 458"/>
              <a:gd name="T71" fmla="*/ 2147483647 h 380"/>
              <a:gd name="T72" fmla="*/ 2147483647 w 458"/>
              <a:gd name="T73" fmla="*/ 2147483647 h 380"/>
              <a:gd name="T74" fmla="*/ 2147483647 w 458"/>
              <a:gd name="T75" fmla="*/ 2147483647 h 380"/>
              <a:gd name="T76" fmla="*/ 2147483647 w 458"/>
              <a:gd name="T77" fmla="*/ 2147483647 h 380"/>
              <a:gd name="T78" fmla="*/ 2147483647 w 458"/>
              <a:gd name="T79" fmla="*/ 2147483647 h 380"/>
              <a:gd name="T80" fmla="*/ 2147483647 w 458"/>
              <a:gd name="T81" fmla="*/ 2147483647 h 380"/>
              <a:gd name="T82" fmla="*/ 2147483647 w 458"/>
              <a:gd name="T83" fmla="*/ 2147483647 h 380"/>
              <a:gd name="T84" fmla="*/ 2147483647 w 458"/>
              <a:gd name="T85" fmla="*/ 2147483647 h 380"/>
              <a:gd name="T86" fmla="*/ 2147483647 w 458"/>
              <a:gd name="T87" fmla="*/ 2147483647 h 380"/>
              <a:gd name="T88" fmla="*/ 2147483647 w 458"/>
              <a:gd name="T89" fmla="*/ 2147483647 h 380"/>
              <a:gd name="T90" fmla="*/ 2147483647 w 458"/>
              <a:gd name="T91" fmla="*/ 2147483647 h 380"/>
              <a:gd name="T92" fmla="*/ 2147483647 w 458"/>
              <a:gd name="T93" fmla="*/ 2147483647 h 380"/>
              <a:gd name="T94" fmla="*/ 2147483647 w 458"/>
              <a:gd name="T95" fmla="*/ 2147483647 h 380"/>
              <a:gd name="T96" fmla="*/ 2147483647 w 458"/>
              <a:gd name="T97" fmla="*/ 2147483647 h 380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458"/>
              <a:gd name="T148" fmla="*/ 0 h 380"/>
              <a:gd name="T149" fmla="*/ 458 w 458"/>
              <a:gd name="T150" fmla="*/ 380 h 380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458" h="380">
                <a:moveTo>
                  <a:pt x="456" y="30"/>
                </a:moveTo>
                <a:cubicBezTo>
                  <a:pt x="454" y="28"/>
                  <a:pt x="453" y="28"/>
                  <a:pt x="452" y="28"/>
                </a:cubicBezTo>
                <a:cubicBezTo>
                  <a:pt x="449" y="27"/>
                  <a:pt x="446" y="26"/>
                  <a:pt x="443" y="26"/>
                </a:cubicBezTo>
                <a:cubicBezTo>
                  <a:pt x="235" y="0"/>
                  <a:pt x="235" y="0"/>
                  <a:pt x="235" y="0"/>
                </a:cubicBezTo>
                <a:cubicBezTo>
                  <a:pt x="233" y="0"/>
                  <a:pt x="233" y="0"/>
                  <a:pt x="233" y="0"/>
                </a:cubicBezTo>
                <a:cubicBezTo>
                  <a:pt x="15" y="26"/>
                  <a:pt x="15" y="26"/>
                  <a:pt x="15" y="26"/>
                </a:cubicBezTo>
                <a:cubicBezTo>
                  <a:pt x="13" y="26"/>
                  <a:pt x="11" y="27"/>
                  <a:pt x="8" y="27"/>
                </a:cubicBezTo>
                <a:cubicBezTo>
                  <a:pt x="7" y="27"/>
                  <a:pt x="6" y="28"/>
                  <a:pt x="5" y="28"/>
                </a:cubicBezTo>
                <a:cubicBezTo>
                  <a:pt x="4" y="29"/>
                  <a:pt x="3" y="29"/>
                  <a:pt x="2" y="30"/>
                </a:cubicBezTo>
                <a:cubicBezTo>
                  <a:pt x="1" y="31"/>
                  <a:pt x="0" y="33"/>
                  <a:pt x="0" y="36"/>
                </a:cubicBezTo>
                <a:cubicBezTo>
                  <a:pt x="0" y="91"/>
                  <a:pt x="0" y="91"/>
                  <a:pt x="0" y="91"/>
                </a:cubicBezTo>
                <a:cubicBezTo>
                  <a:pt x="0" y="94"/>
                  <a:pt x="1" y="96"/>
                  <a:pt x="2" y="97"/>
                </a:cubicBezTo>
                <a:cubicBezTo>
                  <a:pt x="4" y="99"/>
                  <a:pt x="5" y="99"/>
                  <a:pt x="6" y="99"/>
                </a:cubicBezTo>
                <a:cubicBezTo>
                  <a:pt x="9" y="100"/>
                  <a:pt x="12" y="100"/>
                  <a:pt x="16" y="100"/>
                </a:cubicBezTo>
                <a:cubicBezTo>
                  <a:pt x="32" y="100"/>
                  <a:pt x="32" y="100"/>
                  <a:pt x="32" y="100"/>
                </a:cubicBezTo>
                <a:cubicBezTo>
                  <a:pt x="32" y="100"/>
                  <a:pt x="32" y="100"/>
                  <a:pt x="32" y="100"/>
                </a:cubicBezTo>
                <a:cubicBezTo>
                  <a:pt x="32" y="364"/>
                  <a:pt x="32" y="364"/>
                  <a:pt x="32" y="364"/>
                </a:cubicBezTo>
                <a:cubicBezTo>
                  <a:pt x="32" y="373"/>
                  <a:pt x="39" y="380"/>
                  <a:pt x="48" y="380"/>
                </a:cubicBezTo>
                <a:cubicBezTo>
                  <a:pt x="410" y="380"/>
                  <a:pt x="410" y="380"/>
                  <a:pt x="410" y="380"/>
                </a:cubicBezTo>
                <a:cubicBezTo>
                  <a:pt x="419" y="380"/>
                  <a:pt x="426" y="373"/>
                  <a:pt x="426" y="364"/>
                </a:cubicBezTo>
                <a:cubicBezTo>
                  <a:pt x="426" y="146"/>
                  <a:pt x="426" y="146"/>
                  <a:pt x="426" y="146"/>
                </a:cubicBezTo>
                <a:cubicBezTo>
                  <a:pt x="426" y="142"/>
                  <a:pt x="423" y="138"/>
                  <a:pt x="418" y="138"/>
                </a:cubicBezTo>
                <a:cubicBezTo>
                  <a:pt x="414" y="138"/>
                  <a:pt x="410" y="142"/>
                  <a:pt x="410" y="146"/>
                </a:cubicBezTo>
                <a:cubicBezTo>
                  <a:pt x="410" y="146"/>
                  <a:pt x="410" y="146"/>
                  <a:pt x="410" y="146"/>
                </a:cubicBezTo>
                <a:cubicBezTo>
                  <a:pt x="410" y="364"/>
                  <a:pt x="410" y="364"/>
                  <a:pt x="410" y="364"/>
                </a:cubicBezTo>
                <a:cubicBezTo>
                  <a:pt x="48" y="364"/>
                  <a:pt x="48" y="364"/>
                  <a:pt x="48" y="364"/>
                </a:cubicBezTo>
                <a:cubicBezTo>
                  <a:pt x="48" y="364"/>
                  <a:pt x="48" y="364"/>
                  <a:pt x="48" y="364"/>
                </a:cubicBezTo>
                <a:cubicBezTo>
                  <a:pt x="48" y="100"/>
                  <a:pt x="48" y="100"/>
                  <a:pt x="48" y="100"/>
                </a:cubicBezTo>
                <a:cubicBezTo>
                  <a:pt x="410" y="100"/>
                  <a:pt x="410" y="100"/>
                  <a:pt x="410" y="100"/>
                </a:cubicBezTo>
                <a:cubicBezTo>
                  <a:pt x="410" y="122"/>
                  <a:pt x="410" y="122"/>
                  <a:pt x="410" y="122"/>
                </a:cubicBezTo>
                <a:cubicBezTo>
                  <a:pt x="410" y="127"/>
                  <a:pt x="414" y="130"/>
                  <a:pt x="418" y="130"/>
                </a:cubicBezTo>
                <a:cubicBezTo>
                  <a:pt x="423" y="130"/>
                  <a:pt x="426" y="127"/>
                  <a:pt x="426" y="122"/>
                </a:cubicBezTo>
                <a:cubicBezTo>
                  <a:pt x="426" y="100"/>
                  <a:pt x="426" y="100"/>
                  <a:pt x="426" y="100"/>
                </a:cubicBezTo>
                <a:cubicBezTo>
                  <a:pt x="426" y="100"/>
                  <a:pt x="426" y="100"/>
                  <a:pt x="426" y="100"/>
                </a:cubicBezTo>
                <a:cubicBezTo>
                  <a:pt x="442" y="100"/>
                  <a:pt x="442" y="100"/>
                  <a:pt x="442" y="100"/>
                </a:cubicBezTo>
                <a:cubicBezTo>
                  <a:pt x="445" y="100"/>
                  <a:pt x="447" y="100"/>
                  <a:pt x="450" y="100"/>
                </a:cubicBezTo>
                <a:cubicBezTo>
                  <a:pt x="451" y="100"/>
                  <a:pt x="452" y="99"/>
                  <a:pt x="453" y="99"/>
                </a:cubicBezTo>
                <a:cubicBezTo>
                  <a:pt x="454" y="98"/>
                  <a:pt x="455" y="98"/>
                  <a:pt x="456" y="97"/>
                </a:cubicBezTo>
                <a:cubicBezTo>
                  <a:pt x="457" y="96"/>
                  <a:pt x="458" y="94"/>
                  <a:pt x="458" y="91"/>
                </a:cubicBezTo>
                <a:cubicBezTo>
                  <a:pt x="458" y="36"/>
                  <a:pt x="458" y="36"/>
                  <a:pt x="458" y="36"/>
                </a:cubicBezTo>
                <a:cubicBezTo>
                  <a:pt x="458" y="33"/>
                  <a:pt x="457" y="31"/>
                  <a:pt x="456" y="30"/>
                </a:cubicBezTo>
                <a:close/>
                <a:moveTo>
                  <a:pt x="442" y="84"/>
                </a:moveTo>
                <a:cubicBezTo>
                  <a:pt x="320" y="84"/>
                  <a:pt x="320" y="84"/>
                  <a:pt x="320" y="84"/>
                </a:cubicBezTo>
                <a:cubicBezTo>
                  <a:pt x="48" y="84"/>
                  <a:pt x="48" y="84"/>
                  <a:pt x="48" y="84"/>
                </a:cubicBezTo>
                <a:cubicBezTo>
                  <a:pt x="48" y="84"/>
                  <a:pt x="48" y="84"/>
                  <a:pt x="48" y="84"/>
                </a:cubicBezTo>
                <a:cubicBezTo>
                  <a:pt x="16" y="84"/>
                  <a:pt x="16" y="84"/>
                  <a:pt x="16" y="84"/>
                </a:cubicBezTo>
                <a:cubicBezTo>
                  <a:pt x="16" y="84"/>
                  <a:pt x="16" y="84"/>
                  <a:pt x="16" y="84"/>
                </a:cubicBezTo>
                <a:cubicBezTo>
                  <a:pt x="16" y="42"/>
                  <a:pt x="16" y="42"/>
                  <a:pt x="16" y="42"/>
                </a:cubicBezTo>
                <a:cubicBezTo>
                  <a:pt x="16" y="42"/>
                  <a:pt x="16" y="42"/>
                  <a:pt x="16" y="42"/>
                </a:cubicBezTo>
                <a:cubicBezTo>
                  <a:pt x="17" y="42"/>
                  <a:pt x="17" y="42"/>
                  <a:pt x="17" y="42"/>
                </a:cubicBezTo>
                <a:cubicBezTo>
                  <a:pt x="234" y="16"/>
                  <a:pt x="234" y="16"/>
                  <a:pt x="234" y="16"/>
                </a:cubicBezTo>
                <a:cubicBezTo>
                  <a:pt x="441" y="42"/>
                  <a:pt x="441" y="42"/>
                  <a:pt x="441" y="42"/>
                </a:cubicBezTo>
                <a:cubicBezTo>
                  <a:pt x="442" y="42"/>
                  <a:pt x="442" y="42"/>
                  <a:pt x="442" y="42"/>
                </a:cubicBezTo>
                <a:lnTo>
                  <a:pt x="442" y="84"/>
                </a:lnTo>
                <a:close/>
                <a:moveTo>
                  <a:pt x="80" y="118"/>
                </a:moveTo>
                <a:cubicBezTo>
                  <a:pt x="71" y="118"/>
                  <a:pt x="64" y="125"/>
                  <a:pt x="64" y="134"/>
                </a:cubicBezTo>
                <a:cubicBezTo>
                  <a:pt x="64" y="330"/>
                  <a:pt x="64" y="330"/>
                  <a:pt x="64" y="330"/>
                </a:cubicBezTo>
                <a:cubicBezTo>
                  <a:pt x="64" y="339"/>
                  <a:pt x="71" y="346"/>
                  <a:pt x="80" y="346"/>
                </a:cubicBezTo>
                <a:cubicBezTo>
                  <a:pt x="378" y="346"/>
                  <a:pt x="378" y="346"/>
                  <a:pt x="378" y="346"/>
                </a:cubicBezTo>
                <a:cubicBezTo>
                  <a:pt x="387" y="346"/>
                  <a:pt x="394" y="339"/>
                  <a:pt x="394" y="330"/>
                </a:cubicBezTo>
                <a:cubicBezTo>
                  <a:pt x="394" y="134"/>
                  <a:pt x="394" y="134"/>
                  <a:pt x="394" y="134"/>
                </a:cubicBezTo>
                <a:cubicBezTo>
                  <a:pt x="394" y="125"/>
                  <a:pt x="387" y="118"/>
                  <a:pt x="378" y="118"/>
                </a:cubicBezTo>
                <a:lnTo>
                  <a:pt x="80" y="118"/>
                </a:lnTo>
                <a:close/>
                <a:moveTo>
                  <a:pt x="378" y="330"/>
                </a:moveTo>
                <a:cubicBezTo>
                  <a:pt x="80" y="330"/>
                  <a:pt x="80" y="330"/>
                  <a:pt x="80" y="330"/>
                </a:cubicBezTo>
                <a:cubicBezTo>
                  <a:pt x="80" y="316"/>
                  <a:pt x="80" y="316"/>
                  <a:pt x="80" y="316"/>
                </a:cubicBezTo>
                <a:cubicBezTo>
                  <a:pt x="378" y="316"/>
                  <a:pt x="378" y="316"/>
                  <a:pt x="378" y="316"/>
                </a:cubicBezTo>
                <a:lnTo>
                  <a:pt x="378" y="330"/>
                </a:lnTo>
                <a:close/>
                <a:moveTo>
                  <a:pt x="378" y="300"/>
                </a:moveTo>
                <a:cubicBezTo>
                  <a:pt x="80" y="300"/>
                  <a:pt x="80" y="300"/>
                  <a:pt x="80" y="300"/>
                </a:cubicBezTo>
                <a:cubicBezTo>
                  <a:pt x="80" y="286"/>
                  <a:pt x="80" y="286"/>
                  <a:pt x="80" y="286"/>
                </a:cubicBezTo>
                <a:cubicBezTo>
                  <a:pt x="378" y="286"/>
                  <a:pt x="378" y="286"/>
                  <a:pt x="378" y="286"/>
                </a:cubicBezTo>
                <a:lnTo>
                  <a:pt x="378" y="300"/>
                </a:lnTo>
                <a:close/>
                <a:moveTo>
                  <a:pt x="378" y="270"/>
                </a:moveTo>
                <a:cubicBezTo>
                  <a:pt x="80" y="270"/>
                  <a:pt x="80" y="270"/>
                  <a:pt x="80" y="270"/>
                </a:cubicBezTo>
                <a:cubicBezTo>
                  <a:pt x="80" y="255"/>
                  <a:pt x="80" y="255"/>
                  <a:pt x="80" y="255"/>
                </a:cubicBezTo>
                <a:cubicBezTo>
                  <a:pt x="378" y="255"/>
                  <a:pt x="378" y="255"/>
                  <a:pt x="378" y="255"/>
                </a:cubicBezTo>
                <a:lnTo>
                  <a:pt x="378" y="270"/>
                </a:lnTo>
                <a:close/>
                <a:moveTo>
                  <a:pt x="378" y="239"/>
                </a:moveTo>
                <a:cubicBezTo>
                  <a:pt x="80" y="239"/>
                  <a:pt x="80" y="239"/>
                  <a:pt x="80" y="239"/>
                </a:cubicBezTo>
                <a:cubicBezTo>
                  <a:pt x="80" y="225"/>
                  <a:pt x="80" y="225"/>
                  <a:pt x="80" y="225"/>
                </a:cubicBezTo>
                <a:cubicBezTo>
                  <a:pt x="378" y="225"/>
                  <a:pt x="378" y="225"/>
                  <a:pt x="378" y="225"/>
                </a:cubicBezTo>
                <a:lnTo>
                  <a:pt x="378" y="239"/>
                </a:lnTo>
                <a:close/>
                <a:moveTo>
                  <a:pt x="378" y="209"/>
                </a:moveTo>
                <a:cubicBezTo>
                  <a:pt x="80" y="209"/>
                  <a:pt x="80" y="209"/>
                  <a:pt x="80" y="209"/>
                </a:cubicBezTo>
                <a:cubicBezTo>
                  <a:pt x="80" y="195"/>
                  <a:pt x="80" y="195"/>
                  <a:pt x="80" y="195"/>
                </a:cubicBezTo>
                <a:cubicBezTo>
                  <a:pt x="378" y="195"/>
                  <a:pt x="378" y="195"/>
                  <a:pt x="378" y="195"/>
                </a:cubicBezTo>
                <a:lnTo>
                  <a:pt x="378" y="209"/>
                </a:lnTo>
                <a:close/>
                <a:moveTo>
                  <a:pt x="378" y="179"/>
                </a:moveTo>
                <a:cubicBezTo>
                  <a:pt x="80" y="179"/>
                  <a:pt x="80" y="179"/>
                  <a:pt x="80" y="179"/>
                </a:cubicBezTo>
                <a:cubicBezTo>
                  <a:pt x="80" y="165"/>
                  <a:pt x="80" y="165"/>
                  <a:pt x="80" y="165"/>
                </a:cubicBezTo>
                <a:cubicBezTo>
                  <a:pt x="378" y="165"/>
                  <a:pt x="378" y="165"/>
                  <a:pt x="378" y="165"/>
                </a:cubicBezTo>
                <a:lnTo>
                  <a:pt x="378" y="179"/>
                </a:lnTo>
                <a:close/>
                <a:moveTo>
                  <a:pt x="378" y="149"/>
                </a:moveTo>
                <a:cubicBezTo>
                  <a:pt x="80" y="149"/>
                  <a:pt x="80" y="149"/>
                  <a:pt x="80" y="149"/>
                </a:cubicBezTo>
                <a:cubicBezTo>
                  <a:pt x="80" y="134"/>
                  <a:pt x="80" y="134"/>
                  <a:pt x="80" y="134"/>
                </a:cubicBezTo>
                <a:cubicBezTo>
                  <a:pt x="378" y="134"/>
                  <a:pt x="378" y="134"/>
                  <a:pt x="378" y="134"/>
                </a:cubicBezTo>
                <a:lnTo>
                  <a:pt x="378" y="149"/>
                </a:lnTo>
                <a:close/>
              </a:path>
            </a:pathLst>
          </a:custGeom>
          <a:solidFill>
            <a:srgbClr val="5858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endParaRPr lang="en-US" smtClean="0">
              <a:solidFill>
                <a:srgbClr val="58585A"/>
              </a:solidFill>
              <a:latin typeface="Arial" pitchFamily="34" charset="0"/>
            </a:endParaRPr>
          </a:p>
        </p:txBody>
      </p:sp>
      <p:sp>
        <p:nvSpPr>
          <p:cNvPr id="8214" name="Freeform 3"/>
          <p:cNvSpPr>
            <a:spLocks noChangeAspect="1" noEditPoints="1"/>
          </p:cNvSpPr>
          <p:nvPr/>
        </p:nvSpPr>
        <p:spPr bwMode="auto">
          <a:xfrm>
            <a:off x="5069421" y="5243820"/>
            <a:ext cx="264583" cy="623888"/>
          </a:xfrm>
          <a:custGeom>
            <a:avLst/>
            <a:gdLst>
              <a:gd name="T0" fmla="*/ 2147483647 w 152"/>
              <a:gd name="T1" fmla="*/ 0 h 358"/>
              <a:gd name="T2" fmla="*/ 2147483647 w 152"/>
              <a:gd name="T3" fmla="*/ 0 h 358"/>
              <a:gd name="T4" fmla="*/ 2147483647 w 152"/>
              <a:gd name="T5" fmla="*/ 2147483647 h 358"/>
              <a:gd name="T6" fmla="*/ 2147483647 w 152"/>
              <a:gd name="T7" fmla="*/ 2147483647 h 358"/>
              <a:gd name="T8" fmla="*/ 2147483647 w 152"/>
              <a:gd name="T9" fmla="*/ 2147483647 h 358"/>
              <a:gd name="T10" fmla="*/ 2147483647 w 152"/>
              <a:gd name="T11" fmla="*/ 2147483647 h 358"/>
              <a:gd name="T12" fmla="*/ 2147483647 w 152"/>
              <a:gd name="T13" fmla="*/ 2147483647 h 358"/>
              <a:gd name="T14" fmla="*/ 2147483647 w 152"/>
              <a:gd name="T15" fmla="*/ 2147483647 h 358"/>
              <a:gd name="T16" fmla="*/ 2147483647 w 152"/>
              <a:gd name="T17" fmla="*/ 2147483647 h 358"/>
              <a:gd name="T18" fmla="*/ 2147483647 w 152"/>
              <a:gd name="T19" fmla="*/ 2147483647 h 358"/>
              <a:gd name="T20" fmla="*/ 2147483647 w 152"/>
              <a:gd name="T21" fmla="*/ 2147483647 h 358"/>
              <a:gd name="T22" fmla="*/ 2147483647 w 152"/>
              <a:gd name="T23" fmla="*/ 2147483647 h 358"/>
              <a:gd name="T24" fmla="*/ 2147483647 w 152"/>
              <a:gd name="T25" fmla="*/ 2147483647 h 358"/>
              <a:gd name="T26" fmla="*/ 2147483647 w 152"/>
              <a:gd name="T27" fmla="*/ 2147483647 h 358"/>
              <a:gd name="T28" fmla="*/ 2147483647 w 152"/>
              <a:gd name="T29" fmla="*/ 2147483647 h 358"/>
              <a:gd name="T30" fmla="*/ 2147483647 w 152"/>
              <a:gd name="T31" fmla="*/ 2147483647 h 358"/>
              <a:gd name="T32" fmla="*/ 2147483647 w 152"/>
              <a:gd name="T33" fmla="*/ 2147483647 h 358"/>
              <a:gd name="T34" fmla="*/ 2147483647 w 152"/>
              <a:gd name="T35" fmla="*/ 2147483647 h 358"/>
              <a:gd name="T36" fmla="*/ 2147483647 w 152"/>
              <a:gd name="T37" fmla="*/ 2147483647 h 358"/>
              <a:gd name="T38" fmla="*/ 2147483647 w 152"/>
              <a:gd name="T39" fmla="*/ 2147483647 h 358"/>
              <a:gd name="T40" fmla="*/ 2147483647 w 152"/>
              <a:gd name="T41" fmla="*/ 0 h 358"/>
              <a:gd name="T42" fmla="*/ 2147483647 w 152"/>
              <a:gd name="T43" fmla="*/ 2147483647 h 358"/>
              <a:gd name="T44" fmla="*/ 2147483647 w 152"/>
              <a:gd name="T45" fmla="*/ 2147483647 h 358"/>
              <a:gd name="T46" fmla="*/ 2147483647 w 152"/>
              <a:gd name="T47" fmla="*/ 2147483647 h 358"/>
              <a:gd name="T48" fmla="*/ 2147483647 w 152"/>
              <a:gd name="T49" fmla="*/ 2147483647 h 358"/>
              <a:gd name="T50" fmla="*/ 2147483647 w 152"/>
              <a:gd name="T51" fmla="*/ 2147483647 h 358"/>
              <a:gd name="T52" fmla="*/ 2147483647 w 152"/>
              <a:gd name="T53" fmla="*/ 2147483647 h 358"/>
              <a:gd name="T54" fmla="*/ 2147483647 w 152"/>
              <a:gd name="T55" fmla="*/ 2147483647 h 358"/>
              <a:gd name="T56" fmla="*/ 2147483647 w 152"/>
              <a:gd name="T57" fmla="*/ 2147483647 h 358"/>
              <a:gd name="T58" fmla="*/ 2147483647 w 152"/>
              <a:gd name="T59" fmla="*/ 2147483647 h 358"/>
              <a:gd name="T60" fmla="*/ 2147483647 w 152"/>
              <a:gd name="T61" fmla="*/ 2147483647 h 358"/>
              <a:gd name="T62" fmla="*/ 2147483647 w 152"/>
              <a:gd name="T63" fmla="*/ 2147483647 h 358"/>
              <a:gd name="T64" fmla="*/ 2147483647 w 152"/>
              <a:gd name="T65" fmla="*/ 2147483647 h 358"/>
              <a:gd name="T66" fmla="*/ 2147483647 w 152"/>
              <a:gd name="T67" fmla="*/ 2147483647 h 358"/>
              <a:gd name="T68" fmla="*/ 2147483647 w 152"/>
              <a:gd name="T69" fmla="*/ 2147483647 h 358"/>
              <a:gd name="T70" fmla="*/ 2147483647 w 152"/>
              <a:gd name="T71" fmla="*/ 2147483647 h 358"/>
              <a:gd name="T72" fmla="*/ 2147483647 w 152"/>
              <a:gd name="T73" fmla="*/ 2147483647 h 358"/>
              <a:gd name="T74" fmla="*/ 2147483647 w 152"/>
              <a:gd name="T75" fmla="*/ 2147483647 h 358"/>
              <a:gd name="T76" fmla="*/ 2147483647 w 152"/>
              <a:gd name="T77" fmla="*/ 2147483647 h 358"/>
              <a:gd name="T78" fmla="*/ 2147483647 w 152"/>
              <a:gd name="T79" fmla="*/ 2147483647 h 358"/>
              <a:gd name="T80" fmla="*/ 2147483647 w 152"/>
              <a:gd name="T81" fmla="*/ 2147483647 h 358"/>
              <a:gd name="T82" fmla="*/ 2147483647 w 152"/>
              <a:gd name="T83" fmla="*/ 2147483647 h 358"/>
              <a:gd name="T84" fmla="*/ 2147483647 w 152"/>
              <a:gd name="T85" fmla="*/ 2147483647 h 358"/>
              <a:gd name="T86" fmla="*/ 2147483647 w 152"/>
              <a:gd name="T87" fmla="*/ 2147483647 h 358"/>
              <a:gd name="T88" fmla="*/ 2147483647 w 152"/>
              <a:gd name="T89" fmla="*/ 2147483647 h 358"/>
              <a:gd name="T90" fmla="*/ 2147483647 w 152"/>
              <a:gd name="T91" fmla="*/ 2147483647 h 358"/>
              <a:gd name="T92" fmla="*/ 2147483647 w 152"/>
              <a:gd name="T93" fmla="*/ 2147483647 h 358"/>
              <a:gd name="T94" fmla="*/ 2147483647 w 152"/>
              <a:gd name="T95" fmla="*/ 2147483647 h 358"/>
              <a:gd name="T96" fmla="*/ 2147483647 w 152"/>
              <a:gd name="T97" fmla="*/ 2147483647 h 358"/>
              <a:gd name="T98" fmla="*/ 2147483647 w 152"/>
              <a:gd name="T99" fmla="*/ 2147483647 h 358"/>
              <a:gd name="T100" fmla="*/ 2147483647 w 152"/>
              <a:gd name="T101" fmla="*/ 2147483647 h 358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52"/>
              <a:gd name="T154" fmla="*/ 0 h 358"/>
              <a:gd name="T155" fmla="*/ 152 w 152"/>
              <a:gd name="T156" fmla="*/ 358 h 358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52" h="358">
                <a:moveTo>
                  <a:pt x="122" y="0"/>
                </a:moveTo>
                <a:cubicBezTo>
                  <a:pt x="34" y="0"/>
                  <a:pt x="34" y="0"/>
                  <a:pt x="34" y="0"/>
                </a:cubicBezTo>
                <a:cubicBezTo>
                  <a:pt x="18" y="0"/>
                  <a:pt x="5" y="13"/>
                  <a:pt x="5" y="29"/>
                </a:cubicBezTo>
                <a:cubicBezTo>
                  <a:pt x="5" y="203"/>
                  <a:pt x="5" y="203"/>
                  <a:pt x="5" y="203"/>
                </a:cubicBezTo>
                <a:cubicBezTo>
                  <a:pt x="5" y="219"/>
                  <a:pt x="18" y="232"/>
                  <a:pt x="34" y="232"/>
                </a:cubicBezTo>
                <a:cubicBezTo>
                  <a:pt x="42" y="232"/>
                  <a:pt x="42" y="232"/>
                  <a:pt x="42" y="232"/>
                </a:cubicBezTo>
                <a:cubicBezTo>
                  <a:pt x="40" y="260"/>
                  <a:pt x="28" y="289"/>
                  <a:pt x="4" y="308"/>
                </a:cubicBezTo>
                <a:cubicBezTo>
                  <a:pt x="1" y="311"/>
                  <a:pt x="0" y="316"/>
                  <a:pt x="3" y="319"/>
                </a:cubicBezTo>
                <a:cubicBezTo>
                  <a:pt x="5" y="321"/>
                  <a:pt x="7" y="322"/>
                  <a:pt x="9" y="322"/>
                </a:cubicBezTo>
                <a:cubicBezTo>
                  <a:pt x="11" y="322"/>
                  <a:pt x="13" y="322"/>
                  <a:pt x="14" y="320"/>
                </a:cubicBezTo>
                <a:cubicBezTo>
                  <a:pt x="43" y="298"/>
                  <a:pt x="56" y="264"/>
                  <a:pt x="58" y="232"/>
                </a:cubicBezTo>
                <a:cubicBezTo>
                  <a:pt x="98" y="232"/>
                  <a:pt x="98" y="232"/>
                  <a:pt x="98" y="232"/>
                </a:cubicBezTo>
                <a:cubicBezTo>
                  <a:pt x="96" y="279"/>
                  <a:pt x="78" y="318"/>
                  <a:pt x="47" y="344"/>
                </a:cubicBezTo>
                <a:cubicBezTo>
                  <a:pt x="44" y="346"/>
                  <a:pt x="44" y="352"/>
                  <a:pt x="47" y="355"/>
                </a:cubicBezTo>
                <a:cubicBezTo>
                  <a:pt x="48" y="357"/>
                  <a:pt x="50" y="358"/>
                  <a:pt x="53" y="358"/>
                </a:cubicBezTo>
                <a:cubicBezTo>
                  <a:pt x="54" y="358"/>
                  <a:pt x="56" y="357"/>
                  <a:pt x="58" y="356"/>
                </a:cubicBezTo>
                <a:cubicBezTo>
                  <a:pt x="92" y="327"/>
                  <a:pt x="112" y="283"/>
                  <a:pt x="114" y="232"/>
                </a:cubicBezTo>
                <a:cubicBezTo>
                  <a:pt x="122" y="232"/>
                  <a:pt x="122" y="232"/>
                  <a:pt x="122" y="232"/>
                </a:cubicBezTo>
                <a:cubicBezTo>
                  <a:pt x="139" y="232"/>
                  <a:pt x="152" y="219"/>
                  <a:pt x="152" y="203"/>
                </a:cubicBezTo>
                <a:cubicBezTo>
                  <a:pt x="152" y="29"/>
                  <a:pt x="152" y="29"/>
                  <a:pt x="152" y="29"/>
                </a:cubicBezTo>
                <a:cubicBezTo>
                  <a:pt x="152" y="13"/>
                  <a:pt x="139" y="0"/>
                  <a:pt x="122" y="0"/>
                </a:cubicBezTo>
                <a:close/>
                <a:moveTo>
                  <a:pt x="136" y="203"/>
                </a:moveTo>
                <a:cubicBezTo>
                  <a:pt x="136" y="210"/>
                  <a:pt x="130" y="216"/>
                  <a:pt x="122" y="216"/>
                </a:cubicBezTo>
                <a:cubicBezTo>
                  <a:pt x="114" y="216"/>
                  <a:pt x="114" y="216"/>
                  <a:pt x="114" y="216"/>
                </a:cubicBezTo>
                <a:cubicBezTo>
                  <a:pt x="114" y="155"/>
                  <a:pt x="114" y="155"/>
                  <a:pt x="114" y="155"/>
                </a:cubicBezTo>
                <a:cubicBezTo>
                  <a:pt x="114" y="149"/>
                  <a:pt x="109" y="144"/>
                  <a:pt x="103" y="144"/>
                </a:cubicBezTo>
                <a:cubicBezTo>
                  <a:pt x="54" y="144"/>
                  <a:pt x="54" y="144"/>
                  <a:pt x="54" y="144"/>
                </a:cubicBezTo>
                <a:cubicBezTo>
                  <a:pt x="48" y="144"/>
                  <a:pt x="43" y="149"/>
                  <a:pt x="43" y="155"/>
                </a:cubicBezTo>
                <a:cubicBezTo>
                  <a:pt x="43" y="216"/>
                  <a:pt x="43" y="216"/>
                  <a:pt x="43" y="216"/>
                </a:cubicBezTo>
                <a:cubicBezTo>
                  <a:pt x="34" y="216"/>
                  <a:pt x="34" y="216"/>
                  <a:pt x="34" y="216"/>
                </a:cubicBezTo>
                <a:cubicBezTo>
                  <a:pt x="27" y="216"/>
                  <a:pt x="21" y="210"/>
                  <a:pt x="21" y="203"/>
                </a:cubicBezTo>
                <a:cubicBezTo>
                  <a:pt x="21" y="29"/>
                  <a:pt x="21" y="29"/>
                  <a:pt x="21" y="29"/>
                </a:cubicBezTo>
                <a:cubicBezTo>
                  <a:pt x="21" y="22"/>
                  <a:pt x="27" y="16"/>
                  <a:pt x="34" y="16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65"/>
                  <a:pt x="38" y="65"/>
                  <a:pt x="38" y="65"/>
                </a:cubicBezTo>
                <a:cubicBezTo>
                  <a:pt x="38" y="70"/>
                  <a:pt x="41" y="73"/>
                  <a:pt x="46" y="73"/>
                </a:cubicBezTo>
                <a:cubicBezTo>
                  <a:pt x="50" y="73"/>
                  <a:pt x="54" y="70"/>
                  <a:pt x="54" y="65"/>
                </a:cubicBezTo>
                <a:cubicBezTo>
                  <a:pt x="54" y="16"/>
                  <a:pt x="54" y="16"/>
                  <a:pt x="54" y="16"/>
                </a:cubicBezTo>
                <a:cubicBezTo>
                  <a:pt x="70" y="16"/>
                  <a:pt x="70" y="16"/>
                  <a:pt x="70" y="16"/>
                </a:cubicBezTo>
                <a:cubicBezTo>
                  <a:pt x="70" y="65"/>
                  <a:pt x="70" y="65"/>
                  <a:pt x="70" y="65"/>
                </a:cubicBezTo>
                <a:cubicBezTo>
                  <a:pt x="70" y="70"/>
                  <a:pt x="74" y="73"/>
                  <a:pt x="78" y="73"/>
                </a:cubicBezTo>
                <a:cubicBezTo>
                  <a:pt x="83" y="73"/>
                  <a:pt x="86" y="70"/>
                  <a:pt x="86" y="65"/>
                </a:cubicBezTo>
                <a:cubicBezTo>
                  <a:pt x="86" y="16"/>
                  <a:pt x="86" y="16"/>
                  <a:pt x="86" y="16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3" y="65"/>
                  <a:pt x="103" y="65"/>
                  <a:pt x="103" y="65"/>
                </a:cubicBezTo>
                <a:cubicBezTo>
                  <a:pt x="103" y="70"/>
                  <a:pt x="107" y="73"/>
                  <a:pt x="111" y="73"/>
                </a:cubicBezTo>
                <a:cubicBezTo>
                  <a:pt x="115" y="73"/>
                  <a:pt x="119" y="70"/>
                  <a:pt x="119" y="65"/>
                </a:cubicBezTo>
                <a:cubicBezTo>
                  <a:pt x="119" y="16"/>
                  <a:pt x="119" y="16"/>
                  <a:pt x="119" y="16"/>
                </a:cubicBezTo>
                <a:cubicBezTo>
                  <a:pt x="122" y="16"/>
                  <a:pt x="122" y="16"/>
                  <a:pt x="122" y="16"/>
                </a:cubicBezTo>
                <a:cubicBezTo>
                  <a:pt x="130" y="16"/>
                  <a:pt x="136" y="22"/>
                  <a:pt x="136" y="29"/>
                </a:cubicBezTo>
                <a:lnTo>
                  <a:pt x="136" y="203"/>
                </a:lnTo>
                <a:close/>
              </a:path>
            </a:pathLst>
          </a:custGeom>
          <a:solidFill>
            <a:srgbClr val="5858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endParaRPr lang="en-US" smtClean="0">
              <a:solidFill>
                <a:srgbClr val="58585A"/>
              </a:solidFill>
              <a:latin typeface="Arial" pitchFamily="34" charset="0"/>
            </a:endParaRPr>
          </a:p>
        </p:txBody>
      </p:sp>
      <p:sp>
        <p:nvSpPr>
          <p:cNvPr id="8215" name="Freeform 3"/>
          <p:cNvSpPr>
            <a:spLocks noChangeAspect="1" noEditPoints="1"/>
          </p:cNvSpPr>
          <p:nvPr/>
        </p:nvSpPr>
        <p:spPr bwMode="auto">
          <a:xfrm>
            <a:off x="5461000" y="5243820"/>
            <a:ext cx="264584" cy="623888"/>
          </a:xfrm>
          <a:custGeom>
            <a:avLst/>
            <a:gdLst>
              <a:gd name="T0" fmla="*/ 2147483647 w 152"/>
              <a:gd name="T1" fmla="*/ 0 h 358"/>
              <a:gd name="T2" fmla="*/ 2147483647 w 152"/>
              <a:gd name="T3" fmla="*/ 0 h 358"/>
              <a:gd name="T4" fmla="*/ 2147483647 w 152"/>
              <a:gd name="T5" fmla="*/ 2147483647 h 358"/>
              <a:gd name="T6" fmla="*/ 2147483647 w 152"/>
              <a:gd name="T7" fmla="*/ 2147483647 h 358"/>
              <a:gd name="T8" fmla="*/ 2147483647 w 152"/>
              <a:gd name="T9" fmla="*/ 2147483647 h 358"/>
              <a:gd name="T10" fmla="*/ 2147483647 w 152"/>
              <a:gd name="T11" fmla="*/ 2147483647 h 358"/>
              <a:gd name="T12" fmla="*/ 2147483647 w 152"/>
              <a:gd name="T13" fmla="*/ 2147483647 h 358"/>
              <a:gd name="T14" fmla="*/ 2147483647 w 152"/>
              <a:gd name="T15" fmla="*/ 2147483647 h 358"/>
              <a:gd name="T16" fmla="*/ 2147483647 w 152"/>
              <a:gd name="T17" fmla="*/ 2147483647 h 358"/>
              <a:gd name="T18" fmla="*/ 2147483647 w 152"/>
              <a:gd name="T19" fmla="*/ 2147483647 h 358"/>
              <a:gd name="T20" fmla="*/ 2147483647 w 152"/>
              <a:gd name="T21" fmla="*/ 2147483647 h 358"/>
              <a:gd name="T22" fmla="*/ 2147483647 w 152"/>
              <a:gd name="T23" fmla="*/ 2147483647 h 358"/>
              <a:gd name="T24" fmla="*/ 2147483647 w 152"/>
              <a:gd name="T25" fmla="*/ 2147483647 h 358"/>
              <a:gd name="T26" fmla="*/ 2147483647 w 152"/>
              <a:gd name="T27" fmla="*/ 2147483647 h 358"/>
              <a:gd name="T28" fmla="*/ 2147483647 w 152"/>
              <a:gd name="T29" fmla="*/ 2147483647 h 358"/>
              <a:gd name="T30" fmla="*/ 2147483647 w 152"/>
              <a:gd name="T31" fmla="*/ 2147483647 h 358"/>
              <a:gd name="T32" fmla="*/ 2147483647 w 152"/>
              <a:gd name="T33" fmla="*/ 2147483647 h 358"/>
              <a:gd name="T34" fmla="*/ 2147483647 w 152"/>
              <a:gd name="T35" fmla="*/ 2147483647 h 358"/>
              <a:gd name="T36" fmla="*/ 2147483647 w 152"/>
              <a:gd name="T37" fmla="*/ 2147483647 h 358"/>
              <a:gd name="T38" fmla="*/ 2147483647 w 152"/>
              <a:gd name="T39" fmla="*/ 2147483647 h 358"/>
              <a:gd name="T40" fmla="*/ 2147483647 w 152"/>
              <a:gd name="T41" fmla="*/ 0 h 358"/>
              <a:gd name="T42" fmla="*/ 2147483647 w 152"/>
              <a:gd name="T43" fmla="*/ 2147483647 h 358"/>
              <a:gd name="T44" fmla="*/ 2147483647 w 152"/>
              <a:gd name="T45" fmla="*/ 2147483647 h 358"/>
              <a:gd name="T46" fmla="*/ 2147483647 w 152"/>
              <a:gd name="T47" fmla="*/ 2147483647 h 358"/>
              <a:gd name="T48" fmla="*/ 2147483647 w 152"/>
              <a:gd name="T49" fmla="*/ 2147483647 h 358"/>
              <a:gd name="T50" fmla="*/ 2147483647 w 152"/>
              <a:gd name="T51" fmla="*/ 2147483647 h 358"/>
              <a:gd name="T52" fmla="*/ 2147483647 w 152"/>
              <a:gd name="T53" fmla="*/ 2147483647 h 358"/>
              <a:gd name="T54" fmla="*/ 2147483647 w 152"/>
              <a:gd name="T55" fmla="*/ 2147483647 h 358"/>
              <a:gd name="T56" fmla="*/ 2147483647 w 152"/>
              <a:gd name="T57" fmla="*/ 2147483647 h 358"/>
              <a:gd name="T58" fmla="*/ 2147483647 w 152"/>
              <a:gd name="T59" fmla="*/ 2147483647 h 358"/>
              <a:gd name="T60" fmla="*/ 2147483647 w 152"/>
              <a:gd name="T61" fmla="*/ 2147483647 h 358"/>
              <a:gd name="T62" fmla="*/ 2147483647 w 152"/>
              <a:gd name="T63" fmla="*/ 2147483647 h 358"/>
              <a:gd name="T64" fmla="*/ 2147483647 w 152"/>
              <a:gd name="T65" fmla="*/ 2147483647 h 358"/>
              <a:gd name="T66" fmla="*/ 2147483647 w 152"/>
              <a:gd name="T67" fmla="*/ 2147483647 h 358"/>
              <a:gd name="T68" fmla="*/ 2147483647 w 152"/>
              <a:gd name="T69" fmla="*/ 2147483647 h 358"/>
              <a:gd name="T70" fmla="*/ 2147483647 w 152"/>
              <a:gd name="T71" fmla="*/ 2147483647 h 358"/>
              <a:gd name="T72" fmla="*/ 2147483647 w 152"/>
              <a:gd name="T73" fmla="*/ 2147483647 h 358"/>
              <a:gd name="T74" fmla="*/ 2147483647 w 152"/>
              <a:gd name="T75" fmla="*/ 2147483647 h 358"/>
              <a:gd name="T76" fmla="*/ 2147483647 w 152"/>
              <a:gd name="T77" fmla="*/ 2147483647 h 358"/>
              <a:gd name="T78" fmla="*/ 2147483647 w 152"/>
              <a:gd name="T79" fmla="*/ 2147483647 h 358"/>
              <a:gd name="T80" fmla="*/ 2147483647 w 152"/>
              <a:gd name="T81" fmla="*/ 2147483647 h 358"/>
              <a:gd name="T82" fmla="*/ 2147483647 w 152"/>
              <a:gd name="T83" fmla="*/ 2147483647 h 358"/>
              <a:gd name="T84" fmla="*/ 2147483647 w 152"/>
              <a:gd name="T85" fmla="*/ 2147483647 h 358"/>
              <a:gd name="T86" fmla="*/ 2147483647 w 152"/>
              <a:gd name="T87" fmla="*/ 2147483647 h 358"/>
              <a:gd name="T88" fmla="*/ 2147483647 w 152"/>
              <a:gd name="T89" fmla="*/ 2147483647 h 358"/>
              <a:gd name="T90" fmla="*/ 2147483647 w 152"/>
              <a:gd name="T91" fmla="*/ 2147483647 h 358"/>
              <a:gd name="T92" fmla="*/ 2147483647 w 152"/>
              <a:gd name="T93" fmla="*/ 2147483647 h 358"/>
              <a:gd name="T94" fmla="*/ 2147483647 w 152"/>
              <a:gd name="T95" fmla="*/ 2147483647 h 358"/>
              <a:gd name="T96" fmla="*/ 2147483647 w 152"/>
              <a:gd name="T97" fmla="*/ 2147483647 h 358"/>
              <a:gd name="T98" fmla="*/ 2147483647 w 152"/>
              <a:gd name="T99" fmla="*/ 2147483647 h 358"/>
              <a:gd name="T100" fmla="*/ 2147483647 w 152"/>
              <a:gd name="T101" fmla="*/ 2147483647 h 358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52"/>
              <a:gd name="T154" fmla="*/ 0 h 358"/>
              <a:gd name="T155" fmla="*/ 152 w 152"/>
              <a:gd name="T156" fmla="*/ 358 h 358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52" h="358">
                <a:moveTo>
                  <a:pt x="122" y="0"/>
                </a:moveTo>
                <a:cubicBezTo>
                  <a:pt x="34" y="0"/>
                  <a:pt x="34" y="0"/>
                  <a:pt x="34" y="0"/>
                </a:cubicBezTo>
                <a:cubicBezTo>
                  <a:pt x="18" y="0"/>
                  <a:pt x="5" y="13"/>
                  <a:pt x="5" y="29"/>
                </a:cubicBezTo>
                <a:cubicBezTo>
                  <a:pt x="5" y="203"/>
                  <a:pt x="5" y="203"/>
                  <a:pt x="5" y="203"/>
                </a:cubicBezTo>
                <a:cubicBezTo>
                  <a:pt x="5" y="219"/>
                  <a:pt x="18" y="232"/>
                  <a:pt x="34" y="232"/>
                </a:cubicBezTo>
                <a:cubicBezTo>
                  <a:pt x="42" y="232"/>
                  <a:pt x="42" y="232"/>
                  <a:pt x="42" y="232"/>
                </a:cubicBezTo>
                <a:cubicBezTo>
                  <a:pt x="40" y="260"/>
                  <a:pt x="28" y="289"/>
                  <a:pt x="4" y="308"/>
                </a:cubicBezTo>
                <a:cubicBezTo>
                  <a:pt x="1" y="311"/>
                  <a:pt x="0" y="316"/>
                  <a:pt x="3" y="319"/>
                </a:cubicBezTo>
                <a:cubicBezTo>
                  <a:pt x="5" y="321"/>
                  <a:pt x="7" y="322"/>
                  <a:pt x="9" y="322"/>
                </a:cubicBezTo>
                <a:cubicBezTo>
                  <a:pt x="11" y="322"/>
                  <a:pt x="13" y="322"/>
                  <a:pt x="14" y="320"/>
                </a:cubicBezTo>
                <a:cubicBezTo>
                  <a:pt x="43" y="298"/>
                  <a:pt x="56" y="264"/>
                  <a:pt x="58" y="232"/>
                </a:cubicBezTo>
                <a:cubicBezTo>
                  <a:pt x="98" y="232"/>
                  <a:pt x="98" y="232"/>
                  <a:pt x="98" y="232"/>
                </a:cubicBezTo>
                <a:cubicBezTo>
                  <a:pt x="96" y="279"/>
                  <a:pt x="78" y="318"/>
                  <a:pt x="47" y="344"/>
                </a:cubicBezTo>
                <a:cubicBezTo>
                  <a:pt x="44" y="346"/>
                  <a:pt x="44" y="352"/>
                  <a:pt x="47" y="355"/>
                </a:cubicBezTo>
                <a:cubicBezTo>
                  <a:pt x="48" y="357"/>
                  <a:pt x="50" y="358"/>
                  <a:pt x="53" y="358"/>
                </a:cubicBezTo>
                <a:cubicBezTo>
                  <a:pt x="54" y="358"/>
                  <a:pt x="56" y="357"/>
                  <a:pt x="58" y="356"/>
                </a:cubicBezTo>
                <a:cubicBezTo>
                  <a:pt x="92" y="327"/>
                  <a:pt x="112" y="283"/>
                  <a:pt x="114" y="232"/>
                </a:cubicBezTo>
                <a:cubicBezTo>
                  <a:pt x="122" y="232"/>
                  <a:pt x="122" y="232"/>
                  <a:pt x="122" y="232"/>
                </a:cubicBezTo>
                <a:cubicBezTo>
                  <a:pt x="139" y="232"/>
                  <a:pt x="152" y="219"/>
                  <a:pt x="152" y="203"/>
                </a:cubicBezTo>
                <a:cubicBezTo>
                  <a:pt x="152" y="29"/>
                  <a:pt x="152" y="29"/>
                  <a:pt x="152" y="29"/>
                </a:cubicBezTo>
                <a:cubicBezTo>
                  <a:pt x="152" y="13"/>
                  <a:pt x="139" y="0"/>
                  <a:pt x="122" y="0"/>
                </a:cubicBezTo>
                <a:close/>
                <a:moveTo>
                  <a:pt x="136" y="203"/>
                </a:moveTo>
                <a:cubicBezTo>
                  <a:pt x="136" y="210"/>
                  <a:pt x="130" y="216"/>
                  <a:pt x="122" y="216"/>
                </a:cubicBezTo>
                <a:cubicBezTo>
                  <a:pt x="114" y="216"/>
                  <a:pt x="114" y="216"/>
                  <a:pt x="114" y="216"/>
                </a:cubicBezTo>
                <a:cubicBezTo>
                  <a:pt x="114" y="155"/>
                  <a:pt x="114" y="155"/>
                  <a:pt x="114" y="155"/>
                </a:cubicBezTo>
                <a:cubicBezTo>
                  <a:pt x="114" y="149"/>
                  <a:pt x="109" y="144"/>
                  <a:pt x="103" y="144"/>
                </a:cubicBezTo>
                <a:cubicBezTo>
                  <a:pt x="54" y="144"/>
                  <a:pt x="54" y="144"/>
                  <a:pt x="54" y="144"/>
                </a:cubicBezTo>
                <a:cubicBezTo>
                  <a:pt x="48" y="144"/>
                  <a:pt x="43" y="149"/>
                  <a:pt x="43" y="155"/>
                </a:cubicBezTo>
                <a:cubicBezTo>
                  <a:pt x="43" y="216"/>
                  <a:pt x="43" y="216"/>
                  <a:pt x="43" y="216"/>
                </a:cubicBezTo>
                <a:cubicBezTo>
                  <a:pt x="34" y="216"/>
                  <a:pt x="34" y="216"/>
                  <a:pt x="34" y="216"/>
                </a:cubicBezTo>
                <a:cubicBezTo>
                  <a:pt x="27" y="216"/>
                  <a:pt x="21" y="210"/>
                  <a:pt x="21" y="203"/>
                </a:cubicBezTo>
                <a:cubicBezTo>
                  <a:pt x="21" y="29"/>
                  <a:pt x="21" y="29"/>
                  <a:pt x="21" y="29"/>
                </a:cubicBezTo>
                <a:cubicBezTo>
                  <a:pt x="21" y="22"/>
                  <a:pt x="27" y="16"/>
                  <a:pt x="34" y="16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65"/>
                  <a:pt x="38" y="65"/>
                  <a:pt x="38" y="65"/>
                </a:cubicBezTo>
                <a:cubicBezTo>
                  <a:pt x="38" y="70"/>
                  <a:pt x="41" y="73"/>
                  <a:pt x="46" y="73"/>
                </a:cubicBezTo>
                <a:cubicBezTo>
                  <a:pt x="50" y="73"/>
                  <a:pt x="54" y="70"/>
                  <a:pt x="54" y="65"/>
                </a:cubicBezTo>
                <a:cubicBezTo>
                  <a:pt x="54" y="16"/>
                  <a:pt x="54" y="16"/>
                  <a:pt x="54" y="16"/>
                </a:cubicBezTo>
                <a:cubicBezTo>
                  <a:pt x="70" y="16"/>
                  <a:pt x="70" y="16"/>
                  <a:pt x="70" y="16"/>
                </a:cubicBezTo>
                <a:cubicBezTo>
                  <a:pt x="70" y="65"/>
                  <a:pt x="70" y="65"/>
                  <a:pt x="70" y="65"/>
                </a:cubicBezTo>
                <a:cubicBezTo>
                  <a:pt x="70" y="70"/>
                  <a:pt x="74" y="73"/>
                  <a:pt x="78" y="73"/>
                </a:cubicBezTo>
                <a:cubicBezTo>
                  <a:pt x="83" y="73"/>
                  <a:pt x="86" y="70"/>
                  <a:pt x="86" y="65"/>
                </a:cubicBezTo>
                <a:cubicBezTo>
                  <a:pt x="86" y="16"/>
                  <a:pt x="86" y="16"/>
                  <a:pt x="86" y="16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3" y="65"/>
                  <a:pt x="103" y="65"/>
                  <a:pt x="103" y="65"/>
                </a:cubicBezTo>
                <a:cubicBezTo>
                  <a:pt x="103" y="70"/>
                  <a:pt x="107" y="73"/>
                  <a:pt x="111" y="73"/>
                </a:cubicBezTo>
                <a:cubicBezTo>
                  <a:pt x="115" y="73"/>
                  <a:pt x="119" y="70"/>
                  <a:pt x="119" y="65"/>
                </a:cubicBezTo>
                <a:cubicBezTo>
                  <a:pt x="119" y="16"/>
                  <a:pt x="119" y="16"/>
                  <a:pt x="119" y="16"/>
                </a:cubicBezTo>
                <a:cubicBezTo>
                  <a:pt x="122" y="16"/>
                  <a:pt x="122" y="16"/>
                  <a:pt x="122" y="16"/>
                </a:cubicBezTo>
                <a:cubicBezTo>
                  <a:pt x="130" y="16"/>
                  <a:pt x="136" y="22"/>
                  <a:pt x="136" y="29"/>
                </a:cubicBezTo>
                <a:lnTo>
                  <a:pt x="136" y="203"/>
                </a:lnTo>
                <a:close/>
              </a:path>
            </a:pathLst>
          </a:custGeom>
          <a:solidFill>
            <a:srgbClr val="5858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endParaRPr lang="en-US" smtClean="0">
              <a:solidFill>
                <a:srgbClr val="58585A"/>
              </a:solidFill>
              <a:latin typeface="Arial" pitchFamily="34" charset="0"/>
            </a:endParaRPr>
          </a:p>
        </p:txBody>
      </p:sp>
      <p:sp>
        <p:nvSpPr>
          <p:cNvPr id="8216" name="Freeform 26"/>
          <p:cNvSpPr>
            <a:spLocks noChangeAspect="1"/>
          </p:cNvSpPr>
          <p:nvPr/>
        </p:nvSpPr>
        <p:spPr bwMode="auto">
          <a:xfrm>
            <a:off x="360899" y="5092297"/>
            <a:ext cx="137583" cy="425450"/>
          </a:xfrm>
          <a:custGeom>
            <a:avLst/>
            <a:gdLst>
              <a:gd name="T0" fmla="*/ 2147483647 w 73"/>
              <a:gd name="T1" fmla="*/ 2147483647 h 227"/>
              <a:gd name="T2" fmla="*/ 0 w 73"/>
              <a:gd name="T3" fmla="*/ 2147483647 h 227"/>
              <a:gd name="T4" fmla="*/ 0 w 73"/>
              <a:gd name="T5" fmla="*/ 2147483647 h 227"/>
              <a:gd name="T6" fmla="*/ 0 w 73"/>
              <a:gd name="T7" fmla="*/ 2147483647 h 227"/>
              <a:gd name="T8" fmla="*/ 2147483647 w 73"/>
              <a:gd name="T9" fmla="*/ 0 h 227"/>
              <a:gd name="T10" fmla="*/ 2147483647 w 73"/>
              <a:gd name="T11" fmla="*/ 0 h 227"/>
              <a:gd name="T12" fmla="*/ 2147483647 w 73"/>
              <a:gd name="T13" fmla="*/ 0 h 227"/>
              <a:gd name="T14" fmla="*/ 2147483647 w 73"/>
              <a:gd name="T15" fmla="*/ 0 h 227"/>
              <a:gd name="T16" fmla="*/ 2147483647 w 73"/>
              <a:gd name="T17" fmla="*/ 0 h 227"/>
              <a:gd name="T18" fmla="*/ 2147483647 w 73"/>
              <a:gd name="T19" fmla="*/ 2147483647 h 227"/>
              <a:gd name="T20" fmla="*/ 2147483647 w 73"/>
              <a:gd name="T21" fmla="*/ 2147483647 h 227"/>
              <a:gd name="T22" fmla="*/ 2147483647 w 73"/>
              <a:gd name="T23" fmla="*/ 2147483647 h 227"/>
              <a:gd name="T24" fmla="*/ 2147483647 w 73"/>
              <a:gd name="T25" fmla="*/ 2147483647 h 227"/>
              <a:gd name="T26" fmla="*/ 2147483647 w 73"/>
              <a:gd name="T27" fmla="*/ 2147483647 h 227"/>
              <a:gd name="T28" fmla="*/ 2147483647 w 73"/>
              <a:gd name="T29" fmla="*/ 2147483647 h 227"/>
              <a:gd name="T30" fmla="*/ 2147483647 w 73"/>
              <a:gd name="T31" fmla="*/ 2147483647 h 227"/>
              <a:gd name="T32" fmla="*/ 2147483647 w 73"/>
              <a:gd name="T33" fmla="*/ 2147483647 h 227"/>
              <a:gd name="T34" fmla="*/ 2147483647 w 73"/>
              <a:gd name="T35" fmla="*/ 2147483647 h 227"/>
              <a:gd name="T36" fmla="*/ 2147483647 w 73"/>
              <a:gd name="T37" fmla="*/ 2147483647 h 227"/>
              <a:gd name="T38" fmla="*/ 2147483647 w 73"/>
              <a:gd name="T39" fmla="*/ 2147483647 h 227"/>
              <a:gd name="T40" fmla="*/ 2147483647 w 73"/>
              <a:gd name="T41" fmla="*/ 2147483647 h 227"/>
              <a:gd name="T42" fmla="*/ 2147483647 w 73"/>
              <a:gd name="T43" fmla="*/ 2147483647 h 227"/>
              <a:gd name="T44" fmla="*/ 2147483647 w 73"/>
              <a:gd name="T45" fmla="*/ 2147483647 h 227"/>
              <a:gd name="T46" fmla="*/ 2147483647 w 73"/>
              <a:gd name="T47" fmla="*/ 2147483647 h 227"/>
              <a:gd name="T48" fmla="*/ 2147483647 w 73"/>
              <a:gd name="T49" fmla="*/ 2147483647 h 227"/>
              <a:gd name="T50" fmla="*/ 2147483647 w 73"/>
              <a:gd name="T51" fmla="*/ 2147483647 h 227"/>
              <a:gd name="T52" fmla="*/ 2147483647 w 73"/>
              <a:gd name="T53" fmla="*/ 2147483647 h 227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73" h="227">
                <a:moveTo>
                  <a:pt x="29" y="227"/>
                </a:moveTo>
                <a:cubicBezTo>
                  <a:pt x="13" y="227"/>
                  <a:pt x="0" y="214"/>
                  <a:pt x="0" y="198"/>
                </a:cubicBezTo>
                <a:cubicBezTo>
                  <a:pt x="0" y="198"/>
                  <a:pt x="0" y="198"/>
                  <a:pt x="0" y="198"/>
                </a:cubicBezTo>
                <a:cubicBezTo>
                  <a:pt x="0" y="29"/>
                  <a:pt x="0" y="29"/>
                  <a:pt x="0" y="29"/>
                </a:cubicBezTo>
                <a:cubicBezTo>
                  <a:pt x="0" y="13"/>
                  <a:pt x="13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43" y="0"/>
                  <a:pt x="65" y="0"/>
                </a:cubicBezTo>
                <a:cubicBezTo>
                  <a:pt x="65" y="0"/>
                  <a:pt x="65" y="0"/>
                  <a:pt x="65" y="0"/>
                </a:cubicBezTo>
                <a:cubicBezTo>
                  <a:pt x="65" y="0"/>
                  <a:pt x="65" y="0"/>
                  <a:pt x="65" y="0"/>
                </a:cubicBezTo>
                <a:cubicBezTo>
                  <a:pt x="69" y="0"/>
                  <a:pt x="73" y="3"/>
                  <a:pt x="73" y="8"/>
                </a:cubicBezTo>
                <a:cubicBezTo>
                  <a:pt x="73" y="8"/>
                  <a:pt x="73" y="8"/>
                  <a:pt x="73" y="8"/>
                </a:cubicBezTo>
                <a:cubicBezTo>
                  <a:pt x="73" y="12"/>
                  <a:pt x="69" y="16"/>
                  <a:pt x="65" y="16"/>
                </a:cubicBezTo>
                <a:cubicBezTo>
                  <a:pt x="65" y="16"/>
                  <a:pt x="65" y="16"/>
                  <a:pt x="65" y="16"/>
                </a:cubicBezTo>
                <a:cubicBezTo>
                  <a:pt x="43" y="16"/>
                  <a:pt x="29" y="16"/>
                  <a:pt x="29" y="16"/>
                </a:cubicBezTo>
                <a:cubicBezTo>
                  <a:pt x="29" y="16"/>
                  <a:pt x="29" y="16"/>
                  <a:pt x="29" y="16"/>
                </a:cubicBezTo>
                <a:cubicBezTo>
                  <a:pt x="22" y="16"/>
                  <a:pt x="16" y="22"/>
                  <a:pt x="16" y="29"/>
                </a:cubicBezTo>
                <a:cubicBezTo>
                  <a:pt x="16" y="29"/>
                  <a:pt x="16" y="29"/>
                  <a:pt x="16" y="29"/>
                </a:cubicBezTo>
                <a:cubicBezTo>
                  <a:pt x="16" y="198"/>
                  <a:pt x="16" y="198"/>
                  <a:pt x="16" y="198"/>
                </a:cubicBezTo>
                <a:cubicBezTo>
                  <a:pt x="16" y="205"/>
                  <a:pt x="22" y="211"/>
                  <a:pt x="29" y="211"/>
                </a:cubicBezTo>
                <a:cubicBezTo>
                  <a:pt x="29" y="211"/>
                  <a:pt x="29" y="211"/>
                  <a:pt x="29" y="211"/>
                </a:cubicBezTo>
                <a:cubicBezTo>
                  <a:pt x="29" y="211"/>
                  <a:pt x="43" y="211"/>
                  <a:pt x="65" y="211"/>
                </a:cubicBezTo>
                <a:cubicBezTo>
                  <a:pt x="65" y="211"/>
                  <a:pt x="65" y="211"/>
                  <a:pt x="65" y="211"/>
                </a:cubicBezTo>
                <a:cubicBezTo>
                  <a:pt x="69" y="211"/>
                  <a:pt x="73" y="215"/>
                  <a:pt x="73" y="219"/>
                </a:cubicBezTo>
                <a:cubicBezTo>
                  <a:pt x="73" y="219"/>
                  <a:pt x="73" y="219"/>
                  <a:pt x="73" y="219"/>
                </a:cubicBezTo>
                <a:cubicBezTo>
                  <a:pt x="73" y="223"/>
                  <a:pt x="69" y="227"/>
                  <a:pt x="65" y="227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43" y="227"/>
                  <a:pt x="29" y="227"/>
                  <a:pt x="29" y="227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endParaRPr lang="en-US" smtClean="0">
              <a:solidFill>
                <a:srgbClr val="58585A"/>
              </a:solidFill>
              <a:latin typeface="Arial" pitchFamily="34" charset="0"/>
            </a:endParaRPr>
          </a:p>
        </p:txBody>
      </p:sp>
      <p:sp>
        <p:nvSpPr>
          <p:cNvPr id="8217" name="Freeform 27"/>
          <p:cNvSpPr>
            <a:spLocks noChangeAspect="1"/>
          </p:cNvSpPr>
          <p:nvPr/>
        </p:nvSpPr>
        <p:spPr bwMode="auto">
          <a:xfrm>
            <a:off x="3422652" y="5177150"/>
            <a:ext cx="133349" cy="420688"/>
          </a:xfrm>
          <a:custGeom>
            <a:avLst/>
            <a:gdLst>
              <a:gd name="T0" fmla="*/ 0 w 72"/>
              <a:gd name="T1" fmla="*/ 2147483647 h 227"/>
              <a:gd name="T2" fmla="*/ 2147483647 w 72"/>
              <a:gd name="T3" fmla="*/ 2147483647 h 227"/>
              <a:gd name="T4" fmla="*/ 2147483647 w 72"/>
              <a:gd name="T5" fmla="*/ 2147483647 h 227"/>
              <a:gd name="T6" fmla="*/ 2147483647 w 72"/>
              <a:gd name="T7" fmla="*/ 2147483647 h 227"/>
              <a:gd name="T8" fmla="*/ 2147483647 w 72"/>
              <a:gd name="T9" fmla="*/ 2147483647 h 227"/>
              <a:gd name="T10" fmla="*/ 2147483647 w 72"/>
              <a:gd name="T11" fmla="*/ 2147483647 h 227"/>
              <a:gd name="T12" fmla="*/ 2147483647 w 72"/>
              <a:gd name="T13" fmla="*/ 2147483647 h 227"/>
              <a:gd name="T14" fmla="*/ 2147483647 w 72"/>
              <a:gd name="T15" fmla="*/ 2147483647 h 227"/>
              <a:gd name="T16" fmla="*/ 2147483647 w 72"/>
              <a:gd name="T17" fmla="*/ 2147483647 h 227"/>
              <a:gd name="T18" fmla="*/ 2147483647 w 72"/>
              <a:gd name="T19" fmla="*/ 2147483647 h 227"/>
              <a:gd name="T20" fmla="*/ 2147483647 w 72"/>
              <a:gd name="T21" fmla="*/ 2147483647 h 227"/>
              <a:gd name="T22" fmla="*/ 2147483647 w 72"/>
              <a:gd name="T23" fmla="*/ 2147483647 h 227"/>
              <a:gd name="T24" fmla="*/ 2147483647 w 72"/>
              <a:gd name="T25" fmla="*/ 2147483647 h 227"/>
              <a:gd name="T26" fmla="*/ 0 w 72"/>
              <a:gd name="T27" fmla="*/ 2147483647 h 227"/>
              <a:gd name="T28" fmla="*/ 0 w 72"/>
              <a:gd name="T29" fmla="*/ 2147483647 h 227"/>
              <a:gd name="T30" fmla="*/ 2147483647 w 72"/>
              <a:gd name="T31" fmla="*/ 0 h 227"/>
              <a:gd name="T32" fmla="*/ 2147483647 w 72"/>
              <a:gd name="T33" fmla="*/ 0 h 227"/>
              <a:gd name="T34" fmla="*/ 2147483647 w 72"/>
              <a:gd name="T35" fmla="*/ 0 h 227"/>
              <a:gd name="T36" fmla="*/ 2147483647 w 72"/>
              <a:gd name="T37" fmla="*/ 0 h 227"/>
              <a:gd name="T38" fmla="*/ 2147483647 w 72"/>
              <a:gd name="T39" fmla="*/ 2147483647 h 227"/>
              <a:gd name="T40" fmla="*/ 2147483647 w 72"/>
              <a:gd name="T41" fmla="*/ 2147483647 h 227"/>
              <a:gd name="T42" fmla="*/ 2147483647 w 72"/>
              <a:gd name="T43" fmla="*/ 2147483647 h 227"/>
              <a:gd name="T44" fmla="*/ 2147483647 w 72"/>
              <a:gd name="T45" fmla="*/ 2147483647 h 227"/>
              <a:gd name="T46" fmla="*/ 2147483647 w 72"/>
              <a:gd name="T47" fmla="*/ 2147483647 h 227"/>
              <a:gd name="T48" fmla="*/ 2147483647 w 72"/>
              <a:gd name="T49" fmla="*/ 2147483647 h 227"/>
              <a:gd name="T50" fmla="*/ 2147483647 w 72"/>
              <a:gd name="T51" fmla="*/ 2147483647 h 227"/>
              <a:gd name="T52" fmla="*/ 0 w 72"/>
              <a:gd name="T53" fmla="*/ 2147483647 h 227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72" h="227">
                <a:moveTo>
                  <a:pt x="0" y="219"/>
                </a:moveTo>
                <a:cubicBezTo>
                  <a:pt x="0" y="215"/>
                  <a:pt x="3" y="211"/>
                  <a:pt x="8" y="211"/>
                </a:cubicBezTo>
                <a:cubicBezTo>
                  <a:pt x="8" y="211"/>
                  <a:pt x="8" y="211"/>
                  <a:pt x="8" y="211"/>
                </a:cubicBezTo>
                <a:cubicBezTo>
                  <a:pt x="30" y="211"/>
                  <a:pt x="43" y="211"/>
                  <a:pt x="43" y="211"/>
                </a:cubicBezTo>
                <a:cubicBezTo>
                  <a:pt x="43" y="211"/>
                  <a:pt x="43" y="211"/>
                  <a:pt x="43" y="211"/>
                </a:cubicBezTo>
                <a:cubicBezTo>
                  <a:pt x="51" y="211"/>
                  <a:pt x="56" y="205"/>
                  <a:pt x="56" y="198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9"/>
                  <a:pt x="56" y="29"/>
                  <a:pt x="56" y="29"/>
                </a:cubicBezTo>
                <a:cubicBezTo>
                  <a:pt x="56" y="22"/>
                  <a:pt x="51" y="16"/>
                  <a:pt x="43" y="16"/>
                </a:cubicBezTo>
                <a:cubicBezTo>
                  <a:pt x="43" y="16"/>
                  <a:pt x="43" y="16"/>
                  <a:pt x="43" y="16"/>
                </a:cubicBezTo>
                <a:cubicBezTo>
                  <a:pt x="43" y="16"/>
                  <a:pt x="30" y="16"/>
                  <a:pt x="8" y="16"/>
                </a:cubicBezTo>
                <a:cubicBezTo>
                  <a:pt x="8" y="16"/>
                  <a:pt x="8" y="16"/>
                  <a:pt x="8" y="16"/>
                </a:cubicBezTo>
                <a:cubicBezTo>
                  <a:pt x="8" y="16"/>
                  <a:pt x="8" y="16"/>
                  <a:pt x="8" y="16"/>
                </a:cubicBezTo>
                <a:cubicBezTo>
                  <a:pt x="3" y="16"/>
                  <a:pt x="0" y="12"/>
                  <a:pt x="0" y="8"/>
                </a:cubicBezTo>
                <a:cubicBezTo>
                  <a:pt x="0" y="8"/>
                  <a:pt x="0" y="8"/>
                  <a:pt x="0" y="8"/>
                </a:cubicBezTo>
                <a:cubicBezTo>
                  <a:pt x="0" y="3"/>
                  <a:pt x="3" y="0"/>
                  <a:pt x="8" y="0"/>
                </a:cubicBezTo>
                <a:cubicBezTo>
                  <a:pt x="8" y="0"/>
                  <a:pt x="8" y="0"/>
                  <a:pt x="8" y="0"/>
                </a:cubicBezTo>
                <a:cubicBezTo>
                  <a:pt x="30" y="0"/>
                  <a:pt x="43" y="0"/>
                  <a:pt x="43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60" y="0"/>
                  <a:pt x="72" y="13"/>
                  <a:pt x="72" y="29"/>
                </a:cubicBezTo>
                <a:cubicBezTo>
                  <a:pt x="72" y="29"/>
                  <a:pt x="72" y="29"/>
                  <a:pt x="72" y="29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214"/>
                  <a:pt x="59" y="227"/>
                  <a:pt x="43" y="227"/>
                </a:cubicBezTo>
                <a:cubicBezTo>
                  <a:pt x="43" y="227"/>
                  <a:pt x="43" y="227"/>
                  <a:pt x="43" y="227"/>
                </a:cubicBezTo>
                <a:cubicBezTo>
                  <a:pt x="43" y="227"/>
                  <a:pt x="30" y="227"/>
                  <a:pt x="8" y="227"/>
                </a:cubicBezTo>
                <a:cubicBezTo>
                  <a:pt x="8" y="227"/>
                  <a:pt x="8" y="227"/>
                  <a:pt x="8" y="227"/>
                </a:cubicBezTo>
                <a:cubicBezTo>
                  <a:pt x="3" y="227"/>
                  <a:pt x="0" y="223"/>
                  <a:pt x="0" y="219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endParaRPr lang="en-US" smtClean="0">
              <a:solidFill>
                <a:srgbClr val="58585A"/>
              </a:solidFill>
              <a:latin typeface="Arial" pitchFamily="34" charset="0"/>
            </a:endParaRPr>
          </a:p>
        </p:txBody>
      </p:sp>
      <p:sp>
        <p:nvSpPr>
          <p:cNvPr id="8218" name="Text Box 28"/>
          <p:cNvSpPr txBox="1">
            <a:spLocks noChangeArrowheads="1"/>
          </p:cNvSpPr>
          <p:nvPr/>
        </p:nvSpPr>
        <p:spPr bwMode="auto">
          <a:xfrm>
            <a:off x="714979" y="4969187"/>
            <a:ext cx="22826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9BA17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prstDash val="dash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600" b="1" dirty="0" smtClean="0">
                <a:solidFill>
                  <a:srgbClr val="58585A"/>
                </a:solidFill>
                <a:ea typeface="MS PGothic" pitchFamily="34" charset="-128"/>
              </a:rPr>
              <a:t>Physical  Infrastructure</a:t>
            </a:r>
            <a:endParaRPr lang="sv-SE" sz="1600" b="1" dirty="0" smtClean="0">
              <a:solidFill>
                <a:srgbClr val="58585A"/>
              </a:solidFill>
              <a:ea typeface="MS PGothic" pitchFamily="34" charset="-128"/>
            </a:endParaRPr>
          </a:p>
        </p:txBody>
      </p:sp>
      <p:sp>
        <p:nvSpPr>
          <p:cNvPr id="8219" name="Freeform 29"/>
          <p:cNvSpPr>
            <a:spLocks noChangeAspect="1" noEditPoints="1"/>
          </p:cNvSpPr>
          <p:nvPr/>
        </p:nvSpPr>
        <p:spPr bwMode="auto">
          <a:xfrm>
            <a:off x="4514854" y="4888220"/>
            <a:ext cx="1204383" cy="280988"/>
          </a:xfrm>
          <a:custGeom>
            <a:avLst/>
            <a:gdLst>
              <a:gd name="T0" fmla="*/ 2147483647 w 470"/>
              <a:gd name="T1" fmla="*/ 2147483647 h 110"/>
              <a:gd name="T2" fmla="*/ 2147483647 w 470"/>
              <a:gd name="T3" fmla="*/ 2147483647 h 110"/>
              <a:gd name="T4" fmla="*/ 2147483647 w 470"/>
              <a:gd name="T5" fmla="*/ 2147483647 h 110"/>
              <a:gd name="T6" fmla="*/ 2147483647 w 470"/>
              <a:gd name="T7" fmla="*/ 2147483647 h 110"/>
              <a:gd name="T8" fmla="*/ 2147483647 w 470"/>
              <a:gd name="T9" fmla="*/ 2147483647 h 110"/>
              <a:gd name="T10" fmla="*/ 2147483647 w 470"/>
              <a:gd name="T11" fmla="*/ 2147483647 h 110"/>
              <a:gd name="T12" fmla="*/ 2147483647 w 470"/>
              <a:gd name="T13" fmla="*/ 2147483647 h 110"/>
              <a:gd name="T14" fmla="*/ 2147483647 w 470"/>
              <a:gd name="T15" fmla="*/ 2147483647 h 110"/>
              <a:gd name="T16" fmla="*/ 2147483647 w 470"/>
              <a:gd name="T17" fmla="*/ 2147483647 h 110"/>
              <a:gd name="T18" fmla="*/ 2147483647 w 470"/>
              <a:gd name="T19" fmla="*/ 2147483647 h 110"/>
              <a:gd name="T20" fmla="*/ 2147483647 w 470"/>
              <a:gd name="T21" fmla="*/ 2147483647 h 110"/>
              <a:gd name="T22" fmla="*/ 2147483647 w 470"/>
              <a:gd name="T23" fmla="*/ 0 h 110"/>
              <a:gd name="T24" fmla="*/ 2147483647 w 470"/>
              <a:gd name="T25" fmla="*/ 0 h 110"/>
              <a:gd name="T26" fmla="*/ 2147483647 w 470"/>
              <a:gd name="T27" fmla="*/ 2147483647 h 110"/>
              <a:gd name="T28" fmla="*/ 2147483647 w 470"/>
              <a:gd name="T29" fmla="*/ 2147483647 h 110"/>
              <a:gd name="T30" fmla="*/ 2147483647 w 470"/>
              <a:gd name="T31" fmla="*/ 2147483647 h 110"/>
              <a:gd name="T32" fmla="*/ 2147483647 w 470"/>
              <a:gd name="T33" fmla="*/ 2147483647 h 110"/>
              <a:gd name="T34" fmla="*/ 2147483647 w 470"/>
              <a:gd name="T35" fmla="*/ 2147483647 h 110"/>
              <a:gd name="T36" fmla="*/ 2147483647 w 470"/>
              <a:gd name="T37" fmla="*/ 2147483647 h 110"/>
              <a:gd name="T38" fmla="*/ 2147483647 w 470"/>
              <a:gd name="T39" fmla="*/ 2147483647 h 110"/>
              <a:gd name="T40" fmla="*/ 2147483647 w 470"/>
              <a:gd name="T41" fmla="*/ 2147483647 h 110"/>
              <a:gd name="T42" fmla="*/ 2147483647 w 470"/>
              <a:gd name="T43" fmla="*/ 0 h 110"/>
              <a:gd name="T44" fmla="*/ 2147483647 w 470"/>
              <a:gd name="T45" fmla="*/ 0 h 110"/>
              <a:gd name="T46" fmla="*/ 0 w 470"/>
              <a:gd name="T47" fmla="*/ 2147483647 h 110"/>
              <a:gd name="T48" fmla="*/ 0 w 470"/>
              <a:gd name="T49" fmla="*/ 2147483647 h 110"/>
              <a:gd name="T50" fmla="*/ 2147483647 w 470"/>
              <a:gd name="T51" fmla="*/ 2147483647 h 110"/>
              <a:gd name="T52" fmla="*/ 2147483647 w 470"/>
              <a:gd name="T53" fmla="*/ 2147483647 h 110"/>
              <a:gd name="T54" fmla="*/ 2147483647 w 470"/>
              <a:gd name="T55" fmla="*/ 2147483647 h 110"/>
              <a:gd name="T56" fmla="*/ 2147483647 w 470"/>
              <a:gd name="T57" fmla="*/ 2147483647 h 110"/>
              <a:gd name="T58" fmla="*/ 2147483647 w 470"/>
              <a:gd name="T59" fmla="*/ 2147483647 h 110"/>
              <a:gd name="T60" fmla="*/ 2147483647 w 470"/>
              <a:gd name="T61" fmla="*/ 2147483647 h 110"/>
              <a:gd name="T62" fmla="*/ 2147483647 w 470"/>
              <a:gd name="T63" fmla="*/ 2147483647 h 110"/>
              <a:gd name="T64" fmla="*/ 2147483647 w 470"/>
              <a:gd name="T65" fmla="*/ 2147483647 h 110"/>
              <a:gd name="T66" fmla="*/ 2147483647 w 470"/>
              <a:gd name="T67" fmla="*/ 2147483647 h 110"/>
              <a:gd name="T68" fmla="*/ 2147483647 w 470"/>
              <a:gd name="T69" fmla="*/ 2147483647 h 110"/>
              <a:gd name="T70" fmla="*/ 2147483647 w 470"/>
              <a:gd name="T71" fmla="*/ 2147483647 h 110"/>
              <a:gd name="T72" fmla="*/ 2147483647 w 470"/>
              <a:gd name="T73" fmla="*/ 2147483647 h 110"/>
              <a:gd name="T74" fmla="*/ 2147483647 w 470"/>
              <a:gd name="T75" fmla="*/ 2147483647 h 110"/>
              <a:gd name="T76" fmla="*/ 2147483647 w 470"/>
              <a:gd name="T77" fmla="*/ 2147483647 h 110"/>
              <a:gd name="T78" fmla="*/ 2147483647 w 470"/>
              <a:gd name="T79" fmla="*/ 2147483647 h 110"/>
              <a:gd name="T80" fmla="*/ 2147483647 w 470"/>
              <a:gd name="T81" fmla="*/ 2147483647 h 110"/>
              <a:gd name="T82" fmla="*/ 2147483647 w 470"/>
              <a:gd name="T83" fmla="*/ 2147483647 h 110"/>
              <a:gd name="T84" fmla="*/ 2147483647 w 470"/>
              <a:gd name="T85" fmla="*/ 2147483647 h 110"/>
              <a:gd name="T86" fmla="*/ 2147483647 w 470"/>
              <a:gd name="T87" fmla="*/ 2147483647 h 110"/>
              <a:gd name="T88" fmla="*/ 2147483647 w 470"/>
              <a:gd name="T89" fmla="*/ 2147483647 h 110"/>
              <a:gd name="T90" fmla="*/ 2147483647 w 470"/>
              <a:gd name="T91" fmla="*/ 2147483647 h 110"/>
              <a:gd name="T92" fmla="*/ 2147483647 w 470"/>
              <a:gd name="T93" fmla="*/ 2147483647 h 110"/>
              <a:gd name="T94" fmla="*/ 2147483647 w 470"/>
              <a:gd name="T95" fmla="*/ 2147483647 h 110"/>
              <a:gd name="T96" fmla="*/ 2147483647 w 470"/>
              <a:gd name="T97" fmla="*/ 2147483647 h 110"/>
              <a:gd name="T98" fmla="*/ 2147483647 w 470"/>
              <a:gd name="T99" fmla="*/ 2147483647 h 110"/>
              <a:gd name="T100" fmla="*/ 2147483647 w 470"/>
              <a:gd name="T101" fmla="*/ 2147483647 h 110"/>
              <a:gd name="T102" fmla="*/ 2147483647 w 470"/>
              <a:gd name="T103" fmla="*/ 2147483647 h 110"/>
              <a:gd name="T104" fmla="*/ 2147483647 w 470"/>
              <a:gd name="T105" fmla="*/ 2147483647 h 110"/>
              <a:gd name="T106" fmla="*/ 2147483647 w 470"/>
              <a:gd name="T107" fmla="*/ 2147483647 h 110"/>
              <a:gd name="T108" fmla="*/ 2147483647 w 470"/>
              <a:gd name="T109" fmla="*/ 2147483647 h 110"/>
              <a:gd name="T110" fmla="*/ 2147483647 w 470"/>
              <a:gd name="T111" fmla="*/ 2147483647 h 110"/>
              <a:gd name="T112" fmla="*/ 2147483647 w 470"/>
              <a:gd name="T113" fmla="*/ 2147483647 h 110"/>
              <a:gd name="T114" fmla="*/ 2147483647 w 470"/>
              <a:gd name="T115" fmla="*/ 2147483647 h 110"/>
              <a:gd name="T116" fmla="*/ 2147483647 w 470"/>
              <a:gd name="T117" fmla="*/ 2147483647 h 110"/>
              <a:gd name="T118" fmla="*/ 2147483647 w 470"/>
              <a:gd name="T119" fmla="*/ 2147483647 h 11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470" h="110">
                <a:moveTo>
                  <a:pt x="398" y="72"/>
                </a:moveTo>
                <a:cubicBezTo>
                  <a:pt x="402" y="72"/>
                  <a:pt x="406" y="69"/>
                  <a:pt x="406" y="64"/>
                </a:cubicBezTo>
                <a:cubicBezTo>
                  <a:pt x="406" y="60"/>
                  <a:pt x="402" y="56"/>
                  <a:pt x="398" y="56"/>
                </a:cubicBezTo>
                <a:cubicBezTo>
                  <a:pt x="393" y="56"/>
                  <a:pt x="390" y="60"/>
                  <a:pt x="390" y="64"/>
                </a:cubicBezTo>
                <a:cubicBezTo>
                  <a:pt x="390" y="69"/>
                  <a:pt x="393" y="72"/>
                  <a:pt x="398" y="72"/>
                </a:cubicBezTo>
                <a:close/>
                <a:moveTo>
                  <a:pt x="398" y="49"/>
                </a:moveTo>
                <a:cubicBezTo>
                  <a:pt x="402" y="49"/>
                  <a:pt x="406" y="45"/>
                  <a:pt x="406" y="40"/>
                </a:cubicBezTo>
                <a:cubicBezTo>
                  <a:pt x="406" y="36"/>
                  <a:pt x="402" y="32"/>
                  <a:pt x="398" y="32"/>
                </a:cubicBezTo>
                <a:cubicBezTo>
                  <a:pt x="393" y="32"/>
                  <a:pt x="390" y="36"/>
                  <a:pt x="390" y="40"/>
                </a:cubicBezTo>
                <a:cubicBezTo>
                  <a:pt x="390" y="45"/>
                  <a:pt x="393" y="49"/>
                  <a:pt x="398" y="49"/>
                </a:cubicBezTo>
                <a:close/>
                <a:moveTo>
                  <a:pt x="470" y="19"/>
                </a:moveTo>
                <a:cubicBezTo>
                  <a:pt x="470" y="9"/>
                  <a:pt x="461" y="0"/>
                  <a:pt x="451" y="0"/>
                </a:cubicBezTo>
                <a:cubicBezTo>
                  <a:pt x="408" y="0"/>
                  <a:pt x="408" y="0"/>
                  <a:pt x="408" y="0"/>
                </a:cubicBezTo>
                <a:cubicBezTo>
                  <a:pt x="403" y="0"/>
                  <a:pt x="400" y="4"/>
                  <a:pt x="400" y="8"/>
                </a:cubicBezTo>
                <a:cubicBezTo>
                  <a:pt x="400" y="12"/>
                  <a:pt x="403" y="16"/>
                  <a:pt x="408" y="16"/>
                </a:cubicBezTo>
                <a:cubicBezTo>
                  <a:pt x="423" y="16"/>
                  <a:pt x="423" y="16"/>
                  <a:pt x="423" y="16"/>
                </a:cubicBezTo>
                <a:cubicBezTo>
                  <a:pt x="423" y="94"/>
                  <a:pt x="423" y="94"/>
                  <a:pt x="423" y="94"/>
                </a:cubicBezTo>
                <a:cubicBezTo>
                  <a:pt x="47" y="94"/>
                  <a:pt x="47" y="94"/>
                  <a:pt x="47" y="94"/>
                </a:cubicBezTo>
                <a:cubicBezTo>
                  <a:pt x="47" y="16"/>
                  <a:pt x="47" y="16"/>
                  <a:pt x="47" y="16"/>
                </a:cubicBezTo>
                <a:cubicBezTo>
                  <a:pt x="379" y="16"/>
                  <a:pt x="379" y="16"/>
                  <a:pt x="379" y="16"/>
                </a:cubicBezTo>
                <a:cubicBezTo>
                  <a:pt x="383" y="16"/>
                  <a:pt x="386" y="12"/>
                  <a:pt x="386" y="8"/>
                </a:cubicBezTo>
                <a:cubicBezTo>
                  <a:pt x="386" y="4"/>
                  <a:pt x="383" y="0"/>
                  <a:pt x="379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9" y="0"/>
                  <a:pt x="0" y="9"/>
                  <a:pt x="0" y="19"/>
                </a:cubicBezTo>
                <a:cubicBezTo>
                  <a:pt x="0" y="91"/>
                  <a:pt x="0" y="91"/>
                  <a:pt x="0" y="91"/>
                </a:cubicBezTo>
                <a:cubicBezTo>
                  <a:pt x="0" y="101"/>
                  <a:pt x="9" y="110"/>
                  <a:pt x="19" y="110"/>
                </a:cubicBezTo>
                <a:cubicBezTo>
                  <a:pt x="451" y="110"/>
                  <a:pt x="451" y="110"/>
                  <a:pt x="451" y="110"/>
                </a:cubicBezTo>
                <a:cubicBezTo>
                  <a:pt x="461" y="110"/>
                  <a:pt x="470" y="101"/>
                  <a:pt x="470" y="91"/>
                </a:cubicBezTo>
                <a:cubicBezTo>
                  <a:pt x="470" y="34"/>
                  <a:pt x="470" y="34"/>
                  <a:pt x="470" y="34"/>
                </a:cubicBezTo>
                <a:lnTo>
                  <a:pt x="470" y="19"/>
                </a:lnTo>
                <a:close/>
                <a:moveTo>
                  <a:pt x="32" y="94"/>
                </a:moveTo>
                <a:cubicBezTo>
                  <a:pt x="19" y="94"/>
                  <a:pt x="19" y="94"/>
                  <a:pt x="19" y="94"/>
                </a:cubicBezTo>
                <a:cubicBezTo>
                  <a:pt x="17" y="94"/>
                  <a:pt x="15" y="93"/>
                  <a:pt x="15" y="91"/>
                </a:cubicBezTo>
                <a:cubicBezTo>
                  <a:pt x="15" y="19"/>
                  <a:pt x="15" y="19"/>
                  <a:pt x="15" y="19"/>
                </a:cubicBezTo>
                <a:cubicBezTo>
                  <a:pt x="15" y="17"/>
                  <a:pt x="17" y="16"/>
                  <a:pt x="19" y="16"/>
                </a:cubicBezTo>
                <a:cubicBezTo>
                  <a:pt x="32" y="16"/>
                  <a:pt x="32" y="16"/>
                  <a:pt x="32" y="16"/>
                </a:cubicBezTo>
                <a:lnTo>
                  <a:pt x="32" y="94"/>
                </a:lnTo>
                <a:close/>
                <a:moveTo>
                  <a:pt x="455" y="91"/>
                </a:moveTo>
                <a:cubicBezTo>
                  <a:pt x="455" y="92"/>
                  <a:pt x="453" y="94"/>
                  <a:pt x="451" y="94"/>
                </a:cubicBezTo>
                <a:cubicBezTo>
                  <a:pt x="451" y="94"/>
                  <a:pt x="451" y="94"/>
                  <a:pt x="451" y="94"/>
                </a:cubicBezTo>
                <a:cubicBezTo>
                  <a:pt x="438" y="94"/>
                  <a:pt x="438" y="94"/>
                  <a:pt x="438" y="94"/>
                </a:cubicBezTo>
                <a:cubicBezTo>
                  <a:pt x="438" y="16"/>
                  <a:pt x="438" y="16"/>
                  <a:pt x="438" y="16"/>
                </a:cubicBezTo>
                <a:cubicBezTo>
                  <a:pt x="451" y="16"/>
                  <a:pt x="451" y="16"/>
                  <a:pt x="451" y="16"/>
                </a:cubicBezTo>
                <a:cubicBezTo>
                  <a:pt x="451" y="16"/>
                  <a:pt x="451" y="16"/>
                  <a:pt x="451" y="16"/>
                </a:cubicBezTo>
                <a:cubicBezTo>
                  <a:pt x="451" y="16"/>
                  <a:pt x="451" y="16"/>
                  <a:pt x="451" y="16"/>
                </a:cubicBezTo>
                <a:cubicBezTo>
                  <a:pt x="451" y="16"/>
                  <a:pt x="451" y="16"/>
                  <a:pt x="451" y="16"/>
                </a:cubicBezTo>
                <a:cubicBezTo>
                  <a:pt x="451" y="16"/>
                  <a:pt x="451" y="16"/>
                  <a:pt x="451" y="16"/>
                </a:cubicBezTo>
                <a:cubicBezTo>
                  <a:pt x="453" y="16"/>
                  <a:pt x="455" y="18"/>
                  <a:pt x="455" y="19"/>
                </a:cubicBezTo>
                <a:cubicBezTo>
                  <a:pt x="455" y="34"/>
                  <a:pt x="455" y="34"/>
                  <a:pt x="455" y="34"/>
                </a:cubicBezTo>
                <a:cubicBezTo>
                  <a:pt x="455" y="34"/>
                  <a:pt x="455" y="34"/>
                  <a:pt x="455" y="34"/>
                </a:cubicBezTo>
                <a:lnTo>
                  <a:pt x="455" y="91"/>
                </a:lnTo>
                <a:close/>
                <a:moveTo>
                  <a:pt x="204" y="39"/>
                </a:moveTo>
                <a:cubicBezTo>
                  <a:pt x="200" y="39"/>
                  <a:pt x="196" y="42"/>
                  <a:pt x="196" y="47"/>
                </a:cubicBezTo>
                <a:cubicBezTo>
                  <a:pt x="196" y="59"/>
                  <a:pt x="196" y="59"/>
                  <a:pt x="196" y="59"/>
                </a:cubicBezTo>
                <a:cubicBezTo>
                  <a:pt x="196" y="63"/>
                  <a:pt x="200" y="67"/>
                  <a:pt x="204" y="67"/>
                </a:cubicBezTo>
                <a:cubicBezTo>
                  <a:pt x="358" y="67"/>
                  <a:pt x="358" y="67"/>
                  <a:pt x="358" y="67"/>
                </a:cubicBezTo>
                <a:cubicBezTo>
                  <a:pt x="363" y="67"/>
                  <a:pt x="366" y="63"/>
                  <a:pt x="366" y="59"/>
                </a:cubicBezTo>
                <a:cubicBezTo>
                  <a:pt x="366" y="47"/>
                  <a:pt x="366" y="47"/>
                  <a:pt x="366" y="47"/>
                </a:cubicBezTo>
                <a:cubicBezTo>
                  <a:pt x="366" y="42"/>
                  <a:pt x="363" y="39"/>
                  <a:pt x="358" y="39"/>
                </a:cubicBezTo>
                <a:lnTo>
                  <a:pt x="204" y="39"/>
                </a:lnTo>
                <a:close/>
              </a:path>
            </a:pathLst>
          </a:custGeom>
          <a:solidFill>
            <a:srgbClr val="5858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endParaRPr lang="en-US" smtClean="0">
              <a:solidFill>
                <a:srgbClr val="58585A"/>
              </a:solidFill>
              <a:latin typeface="Arial" pitchFamily="34" charset="0"/>
            </a:endParaRPr>
          </a:p>
        </p:txBody>
      </p:sp>
      <p:sp>
        <p:nvSpPr>
          <p:cNvPr id="8220" name="Text Box 30"/>
          <p:cNvSpPr txBox="1">
            <a:spLocks noChangeArrowheads="1"/>
          </p:cNvSpPr>
          <p:nvPr/>
        </p:nvSpPr>
        <p:spPr bwMode="auto">
          <a:xfrm>
            <a:off x="588435" y="5420038"/>
            <a:ext cx="2233084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7888A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r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 b="1" smtClean="0">
                <a:solidFill>
                  <a:srgbClr val="87888A"/>
                </a:solidFill>
                <a:cs typeface="Arial" pitchFamily="34" charset="0"/>
              </a:rPr>
              <a:t>Connectivity</a:t>
            </a:r>
            <a:endParaRPr lang="en-US" sz="1200" smtClean="0">
              <a:solidFill>
                <a:srgbClr val="87888A"/>
              </a:solidFill>
              <a:cs typeface="Arial" pitchFamily="34" charset="0"/>
            </a:endParaRPr>
          </a:p>
        </p:txBody>
      </p:sp>
      <p:sp>
        <p:nvSpPr>
          <p:cNvPr id="8221" name="Text Box 31"/>
          <p:cNvSpPr txBox="1">
            <a:spLocks noChangeArrowheads="1"/>
          </p:cNvSpPr>
          <p:nvPr/>
        </p:nvSpPr>
        <p:spPr bwMode="auto">
          <a:xfrm>
            <a:off x="588435" y="5197788"/>
            <a:ext cx="2233084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r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 b="1" smtClean="0">
                <a:solidFill>
                  <a:srgbClr val="87888A"/>
                </a:solidFill>
                <a:cs typeface="Arial" pitchFamily="34" charset="0"/>
              </a:rPr>
              <a:t>Facilities, hardware</a:t>
            </a:r>
            <a:endParaRPr lang="en-US" sz="1200" smtClean="0">
              <a:solidFill>
                <a:srgbClr val="87888A"/>
              </a:solidFill>
              <a:cs typeface="Arial" pitchFamily="34" charset="0"/>
            </a:endParaRPr>
          </a:p>
        </p:txBody>
      </p:sp>
      <p:sp>
        <p:nvSpPr>
          <p:cNvPr id="8222" name="Rectangle 32" descr="bpct-blend3"/>
          <p:cNvSpPr>
            <a:spLocks noChangeArrowheads="1"/>
          </p:cNvSpPr>
          <p:nvPr/>
        </p:nvSpPr>
        <p:spPr bwMode="auto">
          <a:xfrm>
            <a:off x="714980" y="5795968"/>
            <a:ext cx="10918070" cy="884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28575" cap="rnd" algn="ctr">
                <a:solidFill>
                  <a:srgbClr val="F08A00"/>
                </a:solidFill>
                <a:prstDash val="sysDot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2000" rIns="72000" anchor="ctr"/>
          <a:lstStyle/>
          <a:p>
            <a:pPr algn="ctr"/>
            <a:r>
              <a:rPr lang="sv-SE" sz="2400" dirty="0" smtClean="0">
                <a:solidFill>
                  <a:srgbClr val="00A9D4"/>
                </a:solidFill>
                <a:latin typeface="Ericsson Capital TT" pitchFamily="2" charset="0"/>
              </a:rPr>
              <a:t>Level of abstraction and openness define the cloud type</a:t>
            </a:r>
            <a:endParaRPr lang="en-US" sz="2400" dirty="0" smtClean="0">
              <a:solidFill>
                <a:srgbClr val="00A9D4"/>
              </a:solidFill>
              <a:latin typeface="Ericsson Capital TT" pitchFamily="2" charset="0"/>
            </a:endParaRPr>
          </a:p>
        </p:txBody>
      </p:sp>
      <p:sp>
        <p:nvSpPr>
          <p:cNvPr id="8223" name="Freeform 33" descr="bpct-blend2"/>
          <p:cNvSpPr>
            <a:spLocks noChangeAspect="1"/>
          </p:cNvSpPr>
          <p:nvPr/>
        </p:nvSpPr>
        <p:spPr bwMode="auto">
          <a:xfrm>
            <a:off x="3718988" y="2586350"/>
            <a:ext cx="2000249" cy="860425"/>
          </a:xfrm>
          <a:custGeom>
            <a:avLst/>
            <a:gdLst>
              <a:gd name="T0" fmla="*/ 2147483647 w 545"/>
              <a:gd name="T1" fmla="*/ 2147483647 h 309"/>
              <a:gd name="T2" fmla="*/ 0 w 545"/>
              <a:gd name="T3" fmla="*/ 2147483647 h 309"/>
              <a:gd name="T4" fmla="*/ 0 w 545"/>
              <a:gd name="T5" fmla="*/ 2147483647 h 309"/>
              <a:gd name="T6" fmla="*/ 0 w 545"/>
              <a:gd name="T7" fmla="*/ 2147483647 h 309"/>
              <a:gd name="T8" fmla="*/ 2147483647 w 545"/>
              <a:gd name="T9" fmla="*/ 0 h 309"/>
              <a:gd name="T10" fmla="*/ 2147483647 w 545"/>
              <a:gd name="T11" fmla="*/ 0 h 309"/>
              <a:gd name="T12" fmla="*/ 2147483647 w 545"/>
              <a:gd name="T13" fmla="*/ 0 h 309"/>
              <a:gd name="T14" fmla="*/ 2147483647 w 545"/>
              <a:gd name="T15" fmla="*/ 2147483647 h 309"/>
              <a:gd name="T16" fmla="*/ 2147483647 w 545"/>
              <a:gd name="T17" fmla="*/ 2147483647 h 309"/>
              <a:gd name="T18" fmla="*/ 2147483647 w 545"/>
              <a:gd name="T19" fmla="*/ 2147483647 h 309"/>
              <a:gd name="T20" fmla="*/ 2147483647 w 545"/>
              <a:gd name="T21" fmla="*/ 2147483647 h 309"/>
              <a:gd name="T22" fmla="*/ 2147483647 w 545"/>
              <a:gd name="T23" fmla="*/ 2147483647 h 309"/>
              <a:gd name="T24" fmla="*/ 2147483647 w 545"/>
              <a:gd name="T25" fmla="*/ 2147483647 h 309"/>
              <a:gd name="T26" fmla="*/ 2147483647 w 545"/>
              <a:gd name="T27" fmla="*/ 2147483647 h 309"/>
              <a:gd name="T28" fmla="*/ 2147483647 w 545"/>
              <a:gd name="T29" fmla="*/ 2147483647 h 309"/>
              <a:gd name="T30" fmla="*/ 2147483647 w 545"/>
              <a:gd name="T31" fmla="*/ 2147483647 h 309"/>
              <a:gd name="T32" fmla="*/ 2147483647 w 545"/>
              <a:gd name="T33" fmla="*/ 2147483647 h 309"/>
              <a:gd name="T34" fmla="*/ 2147483647 w 545"/>
              <a:gd name="T35" fmla="*/ 2147483647 h 309"/>
              <a:gd name="T36" fmla="*/ 2147483647 w 545"/>
              <a:gd name="T37" fmla="*/ 2147483647 h 309"/>
              <a:gd name="T38" fmla="*/ 2147483647 w 545"/>
              <a:gd name="T39" fmla="*/ 2147483647 h 309"/>
              <a:gd name="T40" fmla="*/ 2147483647 w 545"/>
              <a:gd name="T41" fmla="*/ 2147483647 h 309"/>
              <a:gd name="T42" fmla="*/ 2147483647 w 545"/>
              <a:gd name="T43" fmla="*/ 2147483647 h 309"/>
              <a:gd name="T44" fmla="*/ 2147483647 w 545"/>
              <a:gd name="T45" fmla="*/ 2147483647 h 309"/>
              <a:gd name="T46" fmla="*/ 2147483647 w 545"/>
              <a:gd name="T47" fmla="*/ 2147483647 h 309"/>
              <a:gd name="T48" fmla="*/ 2147483647 w 545"/>
              <a:gd name="T49" fmla="*/ 2147483647 h 309"/>
              <a:gd name="T50" fmla="*/ 2147483647 w 545"/>
              <a:gd name="T51" fmla="*/ 2147483647 h 309"/>
              <a:gd name="T52" fmla="*/ 2147483647 w 545"/>
              <a:gd name="T53" fmla="*/ 2147483647 h 309"/>
              <a:gd name="T54" fmla="*/ 2147483647 w 545"/>
              <a:gd name="T55" fmla="*/ 2147483647 h 309"/>
              <a:gd name="T56" fmla="*/ 2147483647 w 545"/>
              <a:gd name="T57" fmla="*/ 2147483647 h 309"/>
              <a:gd name="T58" fmla="*/ 2147483647 w 545"/>
              <a:gd name="T59" fmla="*/ 2147483647 h 309"/>
              <a:gd name="T60" fmla="*/ 2147483647 w 545"/>
              <a:gd name="T61" fmla="*/ 2147483647 h 309"/>
              <a:gd name="T62" fmla="*/ 2147483647 w 545"/>
              <a:gd name="T63" fmla="*/ 2147483647 h 309"/>
              <a:gd name="T64" fmla="*/ 2147483647 w 545"/>
              <a:gd name="T65" fmla="*/ 2147483647 h 309"/>
              <a:gd name="T66" fmla="*/ 2147483647 w 545"/>
              <a:gd name="T67" fmla="*/ 2147483647 h 309"/>
              <a:gd name="T68" fmla="*/ 2147483647 w 545"/>
              <a:gd name="T69" fmla="*/ 2147483647 h 309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545" h="309">
                <a:moveTo>
                  <a:pt x="31" y="309"/>
                </a:moveTo>
                <a:cubicBezTo>
                  <a:pt x="14" y="309"/>
                  <a:pt x="0" y="295"/>
                  <a:pt x="0" y="278"/>
                </a:cubicBezTo>
                <a:cubicBezTo>
                  <a:pt x="0" y="278"/>
                  <a:pt x="0" y="278"/>
                  <a:pt x="0" y="278"/>
                </a:cubicBezTo>
                <a:cubicBezTo>
                  <a:pt x="0" y="31"/>
                  <a:pt x="0" y="31"/>
                  <a:pt x="0" y="31"/>
                </a:cubicBezTo>
                <a:cubicBezTo>
                  <a:pt x="0" y="14"/>
                  <a:pt x="14" y="0"/>
                  <a:pt x="31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515" y="0"/>
                  <a:pt x="515" y="0"/>
                  <a:pt x="515" y="0"/>
                </a:cubicBezTo>
                <a:cubicBezTo>
                  <a:pt x="532" y="0"/>
                  <a:pt x="545" y="14"/>
                  <a:pt x="545" y="31"/>
                </a:cubicBezTo>
                <a:cubicBezTo>
                  <a:pt x="545" y="31"/>
                  <a:pt x="545" y="31"/>
                  <a:pt x="545" y="31"/>
                </a:cubicBezTo>
                <a:cubicBezTo>
                  <a:pt x="545" y="53"/>
                  <a:pt x="545" y="53"/>
                  <a:pt x="545" y="53"/>
                </a:cubicBezTo>
                <a:cubicBezTo>
                  <a:pt x="545" y="57"/>
                  <a:pt x="542" y="61"/>
                  <a:pt x="537" y="61"/>
                </a:cubicBezTo>
                <a:cubicBezTo>
                  <a:pt x="537" y="61"/>
                  <a:pt x="537" y="61"/>
                  <a:pt x="537" y="61"/>
                </a:cubicBezTo>
                <a:cubicBezTo>
                  <a:pt x="533" y="61"/>
                  <a:pt x="529" y="57"/>
                  <a:pt x="529" y="53"/>
                </a:cubicBezTo>
                <a:cubicBezTo>
                  <a:pt x="529" y="53"/>
                  <a:pt x="529" y="53"/>
                  <a:pt x="529" y="53"/>
                </a:cubicBezTo>
                <a:cubicBezTo>
                  <a:pt x="529" y="31"/>
                  <a:pt x="529" y="31"/>
                  <a:pt x="529" y="31"/>
                </a:cubicBezTo>
                <a:cubicBezTo>
                  <a:pt x="529" y="23"/>
                  <a:pt x="523" y="16"/>
                  <a:pt x="515" y="16"/>
                </a:cubicBezTo>
                <a:cubicBezTo>
                  <a:pt x="515" y="16"/>
                  <a:pt x="515" y="16"/>
                  <a:pt x="515" y="16"/>
                </a:cubicBezTo>
                <a:cubicBezTo>
                  <a:pt x="31" y="16"/>
                  <a:pt x="31" y="16"/>
                  <a:pt x="31" y="16"/>
                </a:cubicBezTo>
                <a:cubicBezTo>
                  <a:pt x="23" y="16"/>
                  <a:pt x="16" y="23"/>
                  <a:pt x="16" y="31"/>
                </a:cubicBezTo>
                <a:cubicBezTo>
                  <a:pt x="16" y="31"/>
                  <a:pt x="16" y="31"/>
                  <a:pt x="16" y="31"/>
                </a:cubicBezTo>
                <a:cubicBezTo>
                  <a:pt x="16" y="278"/>
                  <a:pt x="16" y="278"/>
                  <a:pt x="16" y="278"/>
                </a:cubicBezTo>
                <a:cubicBezTo>
                  <a:pt x="16" y="286"/>
                  <a:pt x="23" y="293"/>
                  <a:pt x="31" y="293"/>
                </a:cubicBezTo>
                <a:cubicBezTo>
                  <a:pt x="31" y="293"/>
                  <a:pt x="31" y="293"/>
                  <a:pt x="31" y="293"/>
                </a:cubicBezTo>
                <a:cubicBezTo>
                  <a:pt x="515" y="293"/>
                  <a:pt x="515" y="293"/>
                  <a:pt x="515" y="293"/>
                </a:cubicBezTo>
                <a:cubicBezTo>
                  <a:pt x="523" y="293"/>
                  <a:pt x="529" y="286"/>
                  <a:pt x="529" y="278"/>
                </a:cubicBezTo>
                <a:cubicBezTo>
                  <a:pt x="529" y="278"/>
                  <a:pt x="529" y="278"/>
                  <a:pt x="529" y="278"/>
                </a:cubicBezTo>
                <a:cubicBezTo>
                  <a:pt x="529" y="82"/>
                  <a:pt x="529" y="82"/>
                  <a:pt x="529" y="82"/>
                </a:cubicBezTo>
                <a:cubicBezTo>
                  <a:pt x="529" y="78"/>
                  <a:pt x="533" y="74"/>
                  <a:pt x="537" y="74"/>
                </a:cubicBezTo>
                <a:cubicBezTo>
                  <a:pt x="537" y="74"/>
                  <a:pt x="537" y="74"/>
                  <a:pt x="537" y="74"/>
                </a:cubicBezTo>
                <a:cubicBezTo>
                  <a:pt x="542" y="74"/>
                  <a:pt x="545" y="78"/>
                  <a:pt x="545" y="82"/>
                </a:cubicBezTo>
                <a:cubicBezTo>
                  <a:pt x="545" y="82"/>
                  <a:pt x="545" y="82"/>
                  <a:pt x="545" y="82"/>
                </a:cubicBezTo>
                <a:cubicBezTo>
                  <a:pt x="545" y="278"/>
                  <a:pt x="545" y="278"/>
                  <a:pt x="545" y="278"/>
                </a:cubicBezTo>
                <a:cubicBezTo>
                  <a:pt x="545" y="295"/>
                  <a:pt x="532" y="309"/>
                  <a:pt x="515" y="309"/>
                </a:cubicBezTo>
                <a:cubicBezTo>
                  <a:pt x="515" y="309"/>
                  <a:pt x="515" y="309"/>
                  <a:pt x="515" y="309"/>
                </a:cubicBezTo>
                <a:cubicBezTo>
                  <a:pt x="31" y="309"/>
                  <a:pt x="31" y="309"/>
                  <a:pt x="31" y="309"/>
                </a:cubicBezTo>
                <a:close/>
              </a:path>
            </a:pathLst>
          </a:custGeom>
          <a:blipFill dpi="0" rotWithShape="0">
            <a:blip r:embed="rId6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endParaRPr lang="en-US" smtClean="0">
              <a:solidFill>
                <a:srgbClr val="58585A"/>
              </a:solidFill>
              <a:latin typeface="Arial" pitchFamily="34" charset="0"/>
            </a:endParaRPr>
          </a:p>
        </p:txBody>
      </p:sp>
      <p:sp>
        <p:nvSpPr>
          <p:cNvPr id="8224" name="Freeform 34" descr="bpct-blend6"/>
          <p:cNvSpPr>
            <a:spLocks noChangeAspect="1"/>
          </p:cNvSpPr>
          <p:nvPr/>
        </p:nvSpPr>
        <p:spPr bwMode="auto">
          <a:xfrm>
            <a:off x="3422652" y="1413185"/>
            <a:ext cx="133349" cy="420687"/>
          </a:xfrm>
          <a:custGeom>
            <a:avLst/>
            <a:gdLst>
              <a:gd name="T0" fmla="*/ 0 w 72"/>
              <a:gd name="T1" fmla="*/ 2147483647 h 227"/>
              <a:gd name="T2" fmla="*/ 2147483647 w 72"/>
              <a:gd name="T3" fmla="*/ 2147483647 h 227"/>
              <a:gd name="T4" fmla="*/ 2147483647 w 72"/>
              <a:gd name="T5" fmla="*/ 2147483647 h 227"/>
              <a:gd name="T6" fmla="*/ 2147483647 w 72"/>
              <a:gd name="T7" fmla="*/ 2147483647 h 227"/>
              <a:gd name="T8" fmla="*/ 2147483647 w 72"/>
              <a:gd name="T9" fmla="*/ 2147483647 h 227"/>
              <a:gd name="T10" fmla="*/ 2147483647 w 72"/>
              <a:gd name="T11" fmla="*/ 2147483647 h 227"/>
              <a:gd name="T12" fmla="*/ 2147483647 w 72"/>
              <a:gd name="T13" fmla="*/ 2147483647 h 227"/>
              <a:gd name="T14" fmla="*/ 2147483647 w 72"/>
              <a:gd name="T15" fmla="*/ 2147483647 h 227"/>
              <a:gd name="T16" fmla="*/ 2147483647 w 72"/>
              <a:gd name="T17" fmla="*/ 2147483647 h 227"/>
              <a:gd name="T18" fmla="*/ 2147483647 w 72"/>
              <a:gd name="T19" fmla="*/ 2147483647 h 227"/>
              <a:gd name="T20" fmla="*/ 2147483647 w 72"/>
              <a:gd name="T21" fmla="*/ 2147483647 h 227"/>
              <a:gd name="T22" fmla="*/ 2147483647 w 72"/>
              <a:gd name="T23" fmla="*/ 2147483647 h 227"/>
              <a:gd name="T24" fmla="*/ 2147483647 w 72"/>
              <a:gd name="T25" fmla="*/ 2147483647 h 227"/>
              <a:gd name="T26" fmla="*/ 0 w 72"/>
              <a:gd name="T27" fmla="*/ 2147483647 h 227"/>
              <a:gd name="T28" fmla="*/ 0 w 72"/>
              <a:gd name="T29" fmla="*/ 2147483647 h 227"/>
              <a:gd name="T30" fmla="*/ 2147483647 w 72"/>
              <a:gd name="T31" fmla="*/ 0 h 227"/>
              <a:gd name="T32" fmla="*/ 2147483647 w 72"/>
              <a:gd name="T33" fmla="*/ 0 h 227"/>
              <a:gd name="T34" fmla="*/ 2147483647 w 72"/>
              <a:gd name="T35" fmla="*/ 0 h 227"/>
              <a:gd name="T36" fmla="*/ 2147483647 w 72"/>
              <a:gd name="T37" fmla="*/ 0 h 227"/>
              <a:gd name="T38" fmla="*/ 2147483647 w 72"/>
              <a:gd name="T39" fmla="*/ 2147483647 h 227"/>
              <a:gd name="T40" fmla="*/ 2147483647 w 72"/>
              <a:gd name="T41" fmla="*/ 2147483647 h 227"/>
              <a:gd name="T42" fmla="*/ 2147483647 w 72"/>
              <a:gd name="T43" fmla="*/ 2147483647 h 227"/>
              <a:gd name="T44" fmla="*/ 2147483647 w 72"/>
              <a:gd name="T45" fmla="*/ 2147483647 h 227"/>
              <a:gd name="T46" fmla="*/ 2147483647 w 72"/>
              <a:gd name="T47" fmla="*/ 2147483647 h 227"/>
              <a:gd name="T48" fmla="*/ 2147483647 w 72"/>
              <a:gd name="T49" fmla="*/ 2147483647 h 227"/>
              <a:gd name="T50" fmla="*/ 2147483647 w 72"/>
              <a:gd name="T51" fmla="*/ 2147483647 h 227"/>
              <a:gd name="T52" fmla="*/ 0 w 72"/>
              <a:gd name="T53" fmla="*/ 2147483647 h 227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72" h="227">
                <a:moveTo>
                  <a:pt x="0" y="219"/>
                </a:moveTo>
                <a:cubicBezTo>
                  <a:pt x="0" y="215"/>
                  <a:pt x="3" y="211"/>
                  <a:pt x="8" y="211"/>
                </a:cubicBezTo>
                <a:cubicBezTo>
                  <a:pt x="8" y="211"/>
                  <a:pt x="8" y="211"/>
                  <a:pt x="8" y="211"/>
                </a:cubicBezTo>
                <a:cubicBezTo>
                  <a:pt x="30" y="211"/>
                  <a:pt x="43" y="211"/>
                  <a:pt x="43" y="211"/>
                </a:cubicBezTo>
                <a:cubicBezTo>
                  <a:pt x="43" y="211"/>
                  <a:pt x="43" y="211"/>
                  <a:pt x="43" y="211"/>
                </a:cubicBezTo>
                <a:cubicBezTo>
                  <a:pt x="51" y="211"/>
                  <a:pt x="56" y="205"/>
                  <a:pt x="56" y="198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9"/>
                  <a:pt x="56" y="29"/>
                  <a:pt x="56" y="29"/>
                </a:cubicBezTo>
                <a:cubicBezTo>
                  <a:pt x="56" y="22"/>
                  <a:pt x="51" y="16"/>
                  <a:pt x="43" y="16"/>
                </a:cubicBezTo>
                <a:cubicBezTo>
                  <a:pt x="43" y="16"/>
                  <a:pt x="43" y="16"/>
                  <a:pt x="43" y="16"/>
                </a:cubicBezTo>
                <a:cubicBezTo>
                  <a:pt x="43" y="16"/>
                  <a:pt x="30" y="16"/>
                  <a:pt x="8" y="16"/>
                </a:cubicBezTo>
                <a:cubicBezTo>
                  <a:pt x="8" y="16"/>
                  <a:pt x="8" y="16"/>
                  <a:pt x="8" y="16"/>
                </a:cubicBezTo>
                <a:cubicBezTo>
                  <a:pt x="8" y="16"/>
                  <a:pt x="8" y="16"/>
                  <a:pt x="8" y="16"/>
                </a:cubicBezTo>
                <a:cubicBezTo>
                  <a:pt x="3" y="16"/>
                  <a:pt x="0" y="12"/>
                  <a:pt x="0" y="8"/>
                </a:cubicBezTo>
                <a:cubicBezTo>
                  <a:pt x="0" y="8"/>
                  <a:pt x="0" y="8"/>
                  <a:pt x="0" y="8"/>
                </a:cubicBezTo>
                <a:cubicBezTo>
                  <a:pt x="0" y="3"/>
                  <a:pt x="3" y="0"/>
                  <a:pt x="8" y="0"/>
                </a:cubicBezTo>
                <a:cubicBezTo>
                  <a:pt x="8" y="0"/>
                  <a:pt x="8" y="0"/>
                  <a:pt x="8" y="0"/>
                </a:cubicBezTo>
                <a:cubicBezTo>
                  <a:pt x="30" y="0"/>
                  <a:pt x="43" y="0"/>
                  <a:pt x="43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60" y="0"/>
                  <a:pt x="72" y="13"/>
                  <a:pt x="72" y="29"/>
                </a:cubicBezTo>
                <a:cubicBezTo>
                  <a:pt x="72" y="29"/>
                  <a:pt x="72" y="29"/>
                  <a:pt x="72" y="29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214"/>
                  <a:pt x="59" y="227"/>
                  <a:pt x="43" y="227"/>
                </a:cubicBezTo>
                <a:cubicBezTo>
                  <a:pt x="43" y="227"/>
                  <a:pt x="43" y="227"/>
                  <a:pt x="43" y="227"/>
                </a:cubicBezTo>
                <a:cubicBezTo>
                  <a:pt x="43" y="227"/>
                  <a:pt x="30" y="227"/>
                  <a:pt x="8" y="227"/>
                </a:cubicBezTo>
                <a:cubicBezTo>
                  <a:pt x="8" y="227"/>
                  <a:pt x="8" y="227"/>
                  <a:pt x="8" y="227"/>
                </a:cubicBezTo>
                <a:cubicBezTo>
                  <a:pt x="3" y="227"/>
                  <a:pt x="0" y="223"/>
                  <a:pt x="0" y="219"/>
                </a:cubicBezTo>
                <a:close/>
              </a:path>
            </a:pathLst>
          </a:custGeom>
          <a:blipFill dpi="0" rotWithShape="0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endParaRPr lang="en-US" smtClean="0">
              <a:solidFill>
                <a:srgbClr val="58585A"/>
              </a:solidFill>
              <a:latin typeface="Arial" pitchFamily="34" charset="0"/>
            </a:endParaRPr>
          </a:p>
        </p:txBody>
      </p:sp>
      <p:sp>
        <p:nvSpPr>
          <p:cNvPr id="8225" name="Freeform 35" descr="bpct-blend2"/>
          <p:cNvSpPr>
            <a:spLocks noChangeAspect="1"/>
          </p:cNvSpPr>
          <p:nvPr/>
        </p:nvSpPr>
        <p:spPr bwMode="auto">
          <a:xfrm>
            <a:off x="3422652" y="2567295"/>
            <a:ext cx="133349" cy="420688"/>
          </a:xfrm>
          <a:custGeom>
            <a:avLst/>
            <a:gdLst>
              <a:gd name="T0" fmla="*/ 0 w 72"/>
              <a:gd name="T1" fmla="*/ 2147483647 h 227"/>
              <a:gd name="T2" fmla="*/ 2147483647 w 72"/>
              <a:gd name="T3" fmla="*/ 2147483647 h 227"/>
              <a:gd name="T4" fmla="*/ 2147483647 w 72"/>
              <a:gd name="T5" fmla="*/ 2147483647 h 227"/>
              <a:gd name="T6" fmla="*/ 2147483647 w 72"/>
              <a:gd name="T7" fmla="*/ 2147483647 h 227"/>
              <a:gd name="T8" fmla="*/ 2147483647 w 72"/>
              <a:gd name="T9" fmla="*/ 2147483647 h 227"/>
              <a:gd name="T10" fmla="*/ 2147483647 w 72"/>
              <a:gd name="T11" fmla="*/ 2147483647 h 227"/>
              <a:gd name="T12" fmla="*/ 2147483647 w 72"/>
              <a:gd name="T13" fmla="*/ 2147483647 h 227"/>
              <a:gd name="T14" fmla="*/ 2147483647 w 72"/>
              <a:gd name="T15" fmla="*/ 2147483647 h 227"/>
              <a:gd name="T16" fmla="*/ 2147483647 w 72"/>
              <a:gd name="T17" fmla="*/ 2147483647 h 227"/>
              <a:gd name="T18" fmla="*/ 2147483647 w 72"/>
              <a:gd name="T19" fmla="*/ 2147483647 h 227"/>
              <a:gd name="T20" fmla="*/ 2147483647 w 72"/>
              <a:gd name="T21" fmla="*/ 2147483647 h 227"/>
              <a:gd name="T22" fmla="*/ 2147483647 w 72"/>
              <a:gd name="T23" fmla="*/ 2147483647 h 227"/>
              <a:gd name="T24" fmla="*/ 2147483647 w 72"/>
              <a:gd name="T25" fmla="*/ 2147483647 h 227"/>
              <a:gd name="T26" fmla="*/ 0 w 72"/>
              <a:gd name="T27" fmla="*/ 2147483647 h 227"/>
              <a:gd name="T28" fmla="*/ 0 w 72"/>
              <a:gd name="T29" fmla="*/ 2147483647 h 227"/>
              <a:gd name="T30" fmla="*/ 2147483647 w 72"/>
              <a:gd name="T31" fmla="*/ 0 h 227"/>
              <a:gd name="T32" fmla="*/ 2147483647 w 72"/>
              <a:gd name="T33" fmla="*/ 0 h 227"/>
              <a:gd name="T34" fmla="*/ 2147483647 w 72"/>
              <a:gd name="T35" fmla="*/ 0 h 227"/>
              <a:gd name="T36" fmla="*/ 2147483647 w 72"/>
              <a:gd name="T37" fmla="*/ 0 h 227"/>
              <a:gd name="T38" fmla="*/ 2147483647 w 72"/>
              <a:gd name="T39" fmla="*/ 2147483647 h 227"/>
              <a:gd name="T40" fmla="*/ 2147483647 w 72"/>
              <a:gd name="T41" fmla="*/ 2147483647 h 227"/>
              <a:gd name="T42" fmla="*/ 2147483647 w 72"/>
              <a:gd name="T43" fmla="*/ 2147483647 h 227"/>
              <a:gd name="T44" fmla="*/ 2147483647 w 72"/>
              <a:gd name="T45" fmla="*/ 2147483647 h 227"/>
              <a:gd name="T46" fmla="*/ 2147483647 w 72"/>
              <a:gd name="T47" fmla="*/ 2147483647 h 227"/>
              <a:gd name="T48" fmla="*/ 2147483647 w 72"/>
              <a:gd name="T49" fmla="*/ 2147483647 h 227"/>
              <a:gd name="T50" fmla="*/ 2147483647 w 72"/>
              <a:gd name="T51" fmla="*/ 2147483647 h 227"/>
              <a:gd name="T52" fmla="*/ 0 w 72"/>
              <a:gd name="T53" fmla="*/ 2147483647 h 227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72" h="227">
                <a:moveTo>
                  <a:pt x="0" y="219"/>
                </a:moveTo>
                <a:cubicBezTo>
                  <a:pt x="0" y="215"/>
                  <a:pt x="3" y="211"/>
                  <a:pt x="8" y="211"/>
                </a:cubicBezTo>
                <a:cubicBezTo>
                  <a:pt x="8" y="211"/>
                  <a:pt x="8" y="211"/>
                  <a:pt x="8" y="211"/>
                </a:cubicBezTo>
                <a:cubicBezTo>
                  <a:pt x="30" y="211"/>
                  <a:pt x="43" y="211"/>
                  <a:pt x="43" y="211"/>
                </a:cubicBezTo>
                <a:cubicBezTo>
                  <a:pt x="43" y="211"/>
                  <a:pt x="43" y="211"/>
                  <a:pt x="43" y="211"/>
                </a:cubicBezTo>
                <a:cubicBezTo>
                  <a:pt x="51" y="211"/>
                  <a:pt x="56" y="205"/>
                  <a:pt x="56" y="198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9"/>
                  <a:pt x="56" y="29"/>
                  <a:pt x="56" y="29"/>
                </a:cubicBezTo>
                <a:cubicBezTo>
                  <a:pt x="56" y="22"/>
                  <a:pt x="51" y="16"/>
                  <a:pt x="43" y="16"/>
                </a:cubicBezTo>
                <a:cubicBezTo>
                  <a:pt x="43" y="16"/>
                  <a:pt x="43" y="16"/>
                  <a:pt x="43" y="16"/>
                </a:cubicBezTo>
                <a:cubicBezTo>
                  <a:pt x="43" y="16"/>
                  <a:pt x="30" y="16"/>
                  <a:pt x="8" y="16"/>
                </a:cubicBezTo>
                <a:cubicBezTo>
                  <a:pt x="8" y="16"/>
                  <a:pt x="8" y="16"/>
                  <a:pt x="8" y="16"/>
                </a:cubicBezTo>
                <a:cubicBezTo>
                  <a:pt x="8" y="16"/>
                  <a:pt x="8" y="16"/>
                  <a:pt x="8" y="16"/>
                </a:cubicBezTo>
                <a:cubicBezTo>
                  <a:pt x="3" y="16"/>
                  <a:pt x="0" y="12"/>
                  <a:pt x="0" y="8"/>
                </a:cubicBezTo>
                <a:cubicBezTo>
                  <a:pt x="0" y="8"/>
                  <a:pt x="0" y="8"/>
                  <a:pt x="0" y="8"/>
                </a:cubicBezTo>
                <a:cubicBezTo>
                  <a:pt x="0" y="3"/>
                  <a:pt x="3" y="0"/>
                  <a:pt x="8" y="0"/>
                </a:cubicBezTo>
                <a:cubicBezTo>
                  <a:pt x="8" y="0"/>
                  <a:pt x="8" y="0"/>
                  <a:pt x="8" y="0"/>
                </a:cubicBezTo>
                <a:cubicBezTo>
                  <a:pt x="30" y="0"/>
                  <a:pt x="43" y="0"/>
                  <a:pt x="43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60" y="0"/>
                  <a:pt x="72" y="13"/>
                  <a:pt x="72" y="29"/>
                </a:cubicBezTo>
                <a:cubicBezTo>
                  <a:pt x="72" y="29"/>
                  <a:pt x="72" y="29"/>
                  <a:pt x="72" y="29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214"/>
                  <a:pt x="59" y="227"/>
                  <a:pt x="43" y="227"/>
                </a:cubicBezTo>
                <a:cubicBezTo>
                  <a:pt x="43" y="227"/>
                  <a:pt x="43" y="227"/>
                  <a:pt x="43" y="227"/>
                </a:cubicBezTo>
                <a:cubicBezTo>
                  <a:pt x="43" y="227"/>
                  <a:pt x="30" y="227"/>
                  <a:pt x="8" y="227"/>
                </a:cubicBezTo>
                <a:cubicBezTo>
                  <a:pt x="8" y="227"/>
                  <a:pt x="8" y="227"/>
                  <a:pt x="8" y="227"/>
                </a:cubicBezTo>
                <a:cubicBezTo>
                  <a:pt x="3" y="227"/>
                  <a:pt x="0" y="223"/>
                  <a:pt x="0" y="219"/>
                </a:cubicBezTo>
                <a:close/>
              </a:path>
            </a:pathLst>
          </a:custGeom>
          <a:blipFill dpi="0" rotWithShape="0">
            <a:blip r:embed="rId6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endParaRPr lang="en-US" smtClean="0">
              <a:solidFill>
                <a:srgbClr val="58585A"/>
              </a:solidFill>
              <a:latin typeface="Arial" pitchFamily="34" charset="0"/>
            </a:endParaRPr>
          </a:p>
        </p:txBody>
      </p:sp>
      <p:sp>
        <p:nvSpPr>
          <p:cNvPr id="8226" name="Freeform 36" descr="bpct-blend3"/>
          <p:cNvSpPr>
            <a:spLocks noChangeAspect="1"/>
          </p:cNvSpPr>
          <p:nvPr/>
        </p:nvSpPr>
        <p:spPr bwMode="auto">
          <a:xfrm>
            <a:off x="3422651" y="3903975"/>
            <a:ext cx="133349" cy="420687"/>
          </a:xfrm>
          <a:custGeom>
            <a:avLst/>
            <a:gdLst>
              <a:gd name="T0" fmla="*/ 0 w 72"/>
              <a:gd name="T1" fmla="*/ 2147483647 h 227"/>
              <a:gd name="T2" fmla="*/ 2147483647 w 72"/>
              <a:gd name="T3" fmla="*/ 2147483647 h 227"/>
              <a:gd name="T4" fmla="*/ 2147483647 w 72"/>
              <a:gd name="T5" fmla="*/ 2147483647 h 227"/>
              <a:gd name="T6" fmla="*/ 2147483647 w 72"/>
              <a:gd name="T7" fmla="*/ 2147483647 h 227"/>
              <a:gd name="T8" fmla="*/ 2147483647 w 72"/>
              <a:gd name="T9" fmla="*/ 2147483647 h 227"/>
              <a:gd name="T10" fmla="*/ 2147483647 w 72"/>
              <a:gd name="T11" fmla="*/ 2147483647 h 227"/>
              <a:gd name="T12" fmla="*/ 2147483647 w 72"/>
              <a:gd name="T13" fmla="*/ 2147483647 h 227"/>
              <a:gd name="T14" fmla="*/ 2147483647 w 72"/>
              <a:gd name="T15" fmla="*/ 2147483647 h 227"/>
              <a:gd name="T16" fmla="*/ 2147483647 w 72"/>
              <a:gd name="T17" fmla="*/ 2147483647 h 227"/>
              <a:gd name="T18" fmla="*/ 2147483647 w 72"/>
              <a:gd name="T19" fmla="*/ 2147483647 h 227"/>
              <a:gd name="T20" fmla="*/ 2147483647 w 72"/>
              <a:gd name="T21" fmla="*/ 2147483647 h 227"/>
              <a:gd name="T22" fmla="*/ 2147483647 w 72"/>
              <a:gd name="T23" fmla="*/ 2147483647 h 227"/>
              <a:gd name="T24" fmla="*/ 2147483647 w 72"/>
              <a:gd name="T25" fmla="*/ 2147483647 h 227"/>
              <a:gd name="T26" fmla="*/ 0 w 72"/>
              <a:gd name="T27" fmla="*/ 2147483647 h 227"/>
              <a:gd name="T28" fmla="*/ 0 w 72"/>
              <a:gd name="T29" fmla="*/ 2147483647 h 227"/>
              <a:gd name="T30" fmla="*/ 2147483647 w 72"/>
              <a:gd name="T31" fmla="*/ 0 h 227"/>
              <a:gd name="T32" fmla="*/ 2147483647 w 72"/>
              <a:gd name="T33" fmla="*/ 0 h 227"/>
              <a:gd name="T34" fmla="*/ 2147483647 w 72"/>
              <a:gd name="T35" fmla="*/ 0 h 227"/>
              <a:gd name="T36" fmla="*/ 2147483647 w 72"/>
              <a:gd name="T37" fmla="*/ 0 h 227"/>
              <a:gd name="T38" fmla="*/ 2147483647 w 72"/>
              <a:gd name="T39" fmla="*/ 2147483647 h 227"/>
              <a:gd name="T40" fmla="*/ 2147483647 w 72"/>
              <a:gd name="T41" fmla="*/ 2147483647 h 227"/>
              <a:gd name="T42" fmla="*/ 2147483647 w 72"/>
              <a:gd name="T43" fmla="*/ 2147483647 h 227"/>
              <a:gd name="T44" fmla="*/ 2147483647 w 72"/>
              <a:gd name="T45" fmla="*/ 2147483647 h 227"/>
              <a:gd name="T46" fmla="*/ 2147483647 w 72"/>
              <a:gd name="T47" fmla="*/ 2147483647 h 227"/>
              <a:gd name="T48" fmla="*/ 2147483647 w 72"/>
              <a:gd name="T49" fmla="*/ 2147483647 h 227"/>
              <a:gd name="T50" fmla="*/ 2147483647 w 72"/>
              <a:gd name="T51" fmla="*/ 2147483647 h 227"/>
              <a:gd name="T52" fmla="*/ 0 w 72"/>
              <a:gd name="T53" fmla="*/ 2147483647 h 227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72" h="227">
                <a:moveTo>
                  <a:pt x="0" y="219"/>
                </a:moveTo>
                <a:cubicBezTo>
                  <a:pt x="0" y="215"/>
                  <a:pt x="3" y="211"/>
                  <a:pt x="8" y="211"/>
                </a:cubicBezTo>
                <a:cubicBezTo>
                  <a:pt x="8" y="211"/>
                  <a:pt x="8" y="211"/>
                  <a:pt x="8" y="211"/>
                </a:cubicBezTo>
                <a:cubicBezTo>
                  <a:pt x="30" y="211"/>
                  <a:pt x="43" y="211"/>
                  <a:pt x="43" y="211"/>
                </a:cubicBezTo>
                <a:cubicBezTo>
                  <a:pt x="43" y="211"/>
                  <a:pt x="43" y="211"/>
                  <a:pt x="43" y="211"/>
                </a:cubicBezTo>
                <a:cubicBezTo>
                  <a:pt x="51" y="211"/>
                  <a:pt x="56" y="205"/>
                  <a:pt x="56" y="198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9"/>
                  <a:pt x="56" y="29"/>
                  <a:pt x="56" y="29"/>
                </a:cubicBezTo>
                <a:cubicBezTo>
                  <a:pt x="56" y="22"/>
                  <a:pt x="51" y="16"/>
                  <a:pt x="43" y="16"/>
                </a:cubicBezTo>
                <a:cubicBezTo>
                  <a:pt x="43" y="16"/>
                  <a:pt x="43" y="16"/>
                  <a:pt x="43" y="16"/>
                </a:cubicBezTo>
                <a:cubicBezTo>
                  <a:pt x="43" y="16"/>
                  <a:pt x="30" y="16"/>
                  <a:pt x="8" y="16"/>
                </a:cubicBezTo>
                <a:cubicBezTo>
                  <a:pt x="8" y="16"/>
                  <a:pt x="8" y="16"/>
                  <a:pt x="8" y="16"/>
                </a:cubicBezTo>
                <a:cubicBezTo>
                  <a:pt x="8" y="16"/>
                  <a:pt x="8" y="16"/>
                  <a:pt x="8" y="16"/>
                </a:cubicBezTo>
                <a:cubicBezTo>
                  <a:pt x="3" y="16"/>
                  <a:pt x="0" y="12"/>
                  <a:pt x="0" y="8"/>
                </a:cubicBezTo>
                <a:cubicBezTo>
                  <a:pt x="0" y="8"/>
                  <a:pt x="0" y="8"/>
                  <a:pt x="0" y="8"/>
                </a:cubicBezTo>
                <a:cubicBezTo>
                  <a:pt x="0" y="3"/>
                  <a:pt x="3" y="0"/>
                  <a:pt x="8" y="0"/>
                </a:cubicBezTo>
                <a:cubicBezTo>
                  <a:pt x="8" y="0"/>
                  <a:pt x="8" y="0"/>
                  <a:pt x="8" y="0"/>
                </a:cubicBezTo>
                <a:cubicBezTo>
                  <a:pt x="30" y="0"/>
                  <a:pt x="43" y="0"/>
                  <a:pt x="43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60" y="0"/>
                  <a:pt x="72" y="13"/>
                  <a:pt x="72" y="29"/>
                </a:cubicBezTo>
                <a:cubicBezTo>
                  <a:pt x="72" y="29"/>
                  <a:pt x="72" y="29"/>
                  <a:pt x="72" y="29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214"/>
                  <a:pt x="59" y="227"/>
                  <a:pt x="43" y="227"/>
                </a:cubicBezTo>
                <a:cubicBezTo>
                  <a:pt x="43" y="227"/>
                  <a:pt x="43" y="227"/>
                  <a:pt x="43" y="227"/>
                </a:cubicBezTo>
                <a:cubicBezTo>
                  <a:pt x="43" y="227"/>
                  <a:pt x="30" y="227"/>
                  <a:pt x="8" y="227"/>
                </a:cubicBezTo>
                <a:cubicBezTo>
                  <a:pt x="8" y="227"/>
                  <a:pt x="8" y="227"/>
                  <a:pt x="8" y="227"/>
                </a:cubicBezTo>
                <a:cubicBezTo>
                  <a:pt x="3" y="227"/>
                  <a:pt x="0" y="223"/>
                  <a:pt x="0" y="219"/>
                </a:cubicBezTo>
                <a:close/>
              </a:path>
            </a:pathLst>
          </a:custGeom>
          <a:blipFill dpi="0" rotWithShape="0">
            <a:blip r:embed="rId7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endParaRPr lang="en-US" smtClean="0">
              <a:solidFill>
                <a:srgbClr val="58585A"/>
              </a:solidFill>
              <a:latin typeface="Arial" pitchFamily="34" charset="0"/>
            </a:endParaRPr>
          </a:p>
        </p:txBody>
      </p:sp>
      <p:sp>
        <p:nvSpPr>
          <p:cNvPr id="8227" name="Line 37"/>
          <p:cNvSpPr>
            <a:spLocks noChangeShapeType="1"/>
          </p:cNvSpPr>
          <p:nvPr/>
        </p:nvSpPr>
        <p:spPr bwMode="auto">
          <a:xfrm>
            <a:off x="588435" y="2456170"/>
            <a:ext cx="5168900" cy="0"/>
          </a:xfrm>
          <a:prstGeom prst="line">
            <a:avLst/>
          </a:prstGeom>
          <a:noFill/>
          <a:ln w="19050" cap="rnd">
            <a:solidFill>
              <a:schemeClr val="bg2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2000" rIns="72000"/>
          <a:lstStyle/>
          <a:p>
            <a:pPr algn="ctr"/>
            <a:endParaRPr lang="en-US" smtClean="0">
              <a:solidFill>
                <a:srgbClr val="58585A"/>
              </a:solidFill>
              <a:latin typeface="Arial" pitchFamily="34" charset="0"/>
            </a:endParaRPr>
          </a:p>
        </p:txBody>
      </p:sp>
      <p:sp>
        <p:nvSpPr>
          <p:cNvPr id="8228" name="Line 38"/>
          <p:cNvSpPr>
            <a:spLocks noChangeShapeType="1"/>
          </p:cNvSpPr>
          <p:nvPr/>
        </p:nvSpPr>
        <p:spPr bwMode="auto">
          <a:xfrm>
            <a:off x="588433" y="4772333"/>
            <a:ext cx="5181600" cy="0"/>
          </a:xfrm>
          <a:prstGeom prst="line">
            <a:avLst/>
          </a:prstGeom>
          <a:noFill/>
          <a:ln w="19050" cap="rnd">
            <a:solidFill>
              <a:schemeClr val="bg2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2000" rIns="72000"/>
          <a:lstStyle/>
          <a:p>
            <a:pPr algn="ctr"/>
            <a:endParaRPr lang="en-US" smtClean="0">
              <a:solidFill>
                <a:srgbClr val="58585A"/>
              </a:solidFill>
              <a:latin typeface="Arial" pitchFamily="34" charset="0"/>
            </a:endParaRPr>
          </a:p>
        </p:txBody>
      </p:sp>
      <p:sp>
        <p:nvSpPr>
          <p:cNvPr id="8229" name="Freeform 8" descr="bpct-blend6"/>
          <p:cNvSpPr>
            <a:spLocks noChangeAspect="1" noEditPoints="1"/>
          </p:cNvSpPr>
          <p:nvPr/>
        </p:nvSpPr>
        <p:spPr bwMode="auto">
          <a:xfrm>
            <a:off x="4080933" y="4191308"/>
            <a:ext cx="298451" cy="481012"/>
          </a:xfrm>
          <a:custGeom>
            <a:avLst/>
            <a:gdLst>
              <a:gd name="T0" fmla="*/ 2147483647 w 255"/>
              <a:gd name="T1" fmla="*/ 2147483647 h 412"/>
              <a:gd name="T2" fmla="*/ 2147483647 w 255"/>
              <a:gd name="T3" fmla="*/ 2147483647 h 412"/>
              <a:gd name="T4" fmla="*/ 2147483647 w 255"/>
              <a:gd name="T5" fmla="*/ 2147483647 h 412"/>
              <a:gd name="T6" fmla="*/ 2147483647 w 255"/>
              <a:gd name="T7" fmla="*/ 2147483647 h 412"/>
              <a:gd name="T8" fmla="*/ 2147483647 w 255"/>
              <a:gd name="T9" fmla="*/ 2147483647 h 412"/>
              <a:gd name="T10" fmla="*/ 2147483647 w 255"/>
              <a:gd name="T11" fmla="*/ 2147483647 h 412"/>
              <a:gd name="T12" fmla="*/ 2147483647 w 255"/>
              <a:gd name="T13" fmla="*/ 2147483647 h 412"/>
              <a:gd name="T14" fmla="*/ 2147483647 w 255"/>
              <a:gd name="T15" fmla="*/ 2147483647 h 412"/>
              <a:gd name="T16" fmla="*/ 2147483647 w 255"/>
              <a:gd name="T17" fmla="*/ 2147483647 h 412"/>
              <a:gd name="T18" fmla="*/ 2147483647 w 255"/>
              <a:gd name="T19" fmla="*/ 2147483647 h 412"/>
              <a:gd name="T20" fmla="*/ 2147483647 w 255"/>
              <a:gd name="T21" fmla="*/ 2147483647 h 412"/>
              <a:gd name="T22" fmla="*/ 2147483647 w 255"/>
              <a:gd name="T23" fmla="*/ 2147483647 h 412"/>
              <a:gd name="T24" fmla="*/ 2147483647 w 255"/>
              <a:gd name="T25" fmla="*/ 2147483647 h 412"/>
              <a:gd name="T26" fmla="*/ 2147483647 w 255"/>
              <a:gd name="T27" fmla="*/ 2147483647 h 412"/>
              <a:gd name="T28" fmla="*/ 2147483647 w 255"/>
              <a:gd name="T29" fmla="*/ 2147483647 h 412"/>
              <a:gd name="T30" fmla="*/ 2147483647 w 255"/>
              <a:gd name="T31" fmla="*/ 2147483647 h 412"/>
              <a:gd name="T32" fmla="*/ 2147483647 w 255"/>
              <a:gd name="T33" fmla="*/ 2147483647 h 412"/>
              <a:gd name="T34" fmla="*/ 2147483647 w 255"/>
              <a:gd name="T35" fmla="*/ 2147483647 h 412"/>
              <a:gd name="T36" fmla="*/ 2147483647 w 255"/>
              <a:gd name="T37" fmla="*/ 2147483647 h 412"/>
              <a:gd name="T38" fmla="*/ 2147483647 w 255"/>
              <a:gd name="T39" fmla="*/ 2147483647 h 412"/>
              <a:gd name="T40" fmla="*/ 2147483647 w 255"/>
              <a:gd name="T41" fmla="*/ 2147483647 h 412"/>
              <a:gd name="T42" fmla="*/ 2147483647 w 255"/>
              <a:gd name="T43" fmla="*/ 2147483647 h 412"/>
              <a:gd name="T44" fmla="*/ 2147483647 w 255"/>
              <a:gd name="T45" fmla="*/ 2147483647 h 412"/>
              <a:gd name="T46" fmla="*/ 2147483647 w 255"/>
              <a:gd name="T47" fmla="*/ 2147483647 h 412"/>
              <a:gd name="T48" fmla="*/ 2147483647 w 255"/>
              <a:gd name="T49" fmla="*/ 2147483647 h 412"/>
              <a:gd name="T50" fmla="*/ 2147483647 w 255"/>
              <a:gd name="T51" fmla="*/ 2147483647 h 412"/>
              <a:gd name="T52" fmla="*/ 2147483647 w 255"/>
              <a:gd name="T53" fmla="*/ 2147483647 h 412"/>
              <a:gd name="T54" fmla="*/ 2147483647 w 255"/>
              <a:gd name="T55" fmla="*/ 2147483647 h 412"/>
              <a:gd name="T56" fmla="*/ 2147483647 w 255"/>
              <a:gd name="T57" fmla="*/ 2147483647 h 412"/>
              <a:gd name="T58" fmla="*/ 2147483647 w 255"/>
              <a:gd name="T59" fmla="*/ 2147483647 h 412"/>
              <a:gd name="T60" fmla="*/ 2147483647 w 255"/>
              <a:gd name="T61" fmla="*/ 2147483647 h 412"/>
              <a:gd name="T62" fmla="*/ 2147483647 w 255"/>
              <a:gd name="T63" fmla="*/ 2147483647 h 412"/>
              <a:gd name="T64" fmla="*/ 2147483647 w 255"/>
              <a:gd name="T65" fmla="*/ 2147483647 h 412"/>
              <a:gd name="T66" fmla="*/ 2147483647 w 255"/>
              <a:gd name="T67" fmla="*/ 2147483647 h 412"/>
              <a:gd name="T68" fmla="*/ 2147483647 w 255"/>
              <a:gd name="T69" fmla="*/ 2147483647 h 412"/>
              <a:gd name="T70" fmla="*/ 2147483647 w 255"/>
              <a:gd name="T71" fmla="*/ 2147483647 h 412"/>
              <a:gd name="T72" fmla="*/ 2147483647 w 255"/>
              <a:gd name="T73" fmla="*/ 2147483647 h 412"/>
              <a:gd name="T74" fmla="*/ 2147483647 w 255"/>
              <a:gd name="T75" fmla="*/ 2147483647 h 412"/>
              <a:gd name="T76" fmla="*/ 2147483647 w 255"/>
              <a:gd name="T77" fmla="*/ 2147483647 h 412"/>
              <a:gd name="T78" fmla="*/ 2147483647 w 255"/>
              <a:gd name="T79" fmla="*/ 2147483647 h 412"/>
              <a:gd name="T80" fmla="*/ 2147483647 w 255"/>
              <a:gd name="T81" fmla="*/ 2147483647 h 412"/>
              <a:gd name="T82" fmla="*/ 2147483647 w 255"/>
              <a:gd name="T83" fmla="*/ 2147483647 h 412"/>
              <a:gd name="T84" fmla="*/ 2147483647 w 255"/>
              <a:gd name="T85" fmla="*/ 2147483647 h 412"/>
              <a:gd name="T86" fmla="*/ 2147483647 w 255"/>
              <a:gd name="T87" fmla="*/ 2147483647 h 412"/>
              <a:gd name="T88" fmla="*/ 2147483647 w 255"/>
              <a:gd name="T89" fmla="*/ 2147483647 h 412"/>
              <a:gd name="T90" fmla="*/ 2147483647 w 255"/>
              <a:gd name="T91" fmla="*/ 2147483647 h 412"/>
              <a:gd name="T92" fmla="*/ 2147483647 w 255"/>
              <a:gd name="T93" fmla="*/ 2147483647 h 412"/>
              <a:gd name="T94" fmla="*/ 2147483647 w 255"/>
              <a:gd name="T95" fmla="*/ 2147483647 h 412"/>
              <a:gd name="T96" fmla="*/ 2147483647 w 255"/>
              <a:gd name="T97" fmla="*/ 2147483647 h 412"/>
              <a:gd name="T98" fmla="*/ 2147483647 w 255"/>
              <a:gd name="T99" fmla="*/ 2147483647 h 412"/>
              <a:gd name="T100" fmla="*/ 0 w 255"/>
              <a:gd name="T101" fmla="*/ 2147483647 h 412"/>
              <a:gd name="T102" fmla="*/ 2147483647 w 255"/>
              <a:gd name="T103" fmla="*/ 2147483647 h 412"/>
              <a:gd name="T104" fmla="*/ 2147483647 w 255"/>
              <a:gd name="T105" fmla="*/ 2147483647 h 412"/>
              <a:gd name="T106" fmla="*/ 2147483647 w 255"/>
              <a:gd name="T107" fmla="*/ 2147483647 h 412"/>
              <a:gd name="T108" fmla="*/ 2147483647 w 255"/>
              <a:gd name="T109" fmla="*/ 2147483647 h 412"/>
              <a:gd name="T110" fmla="*/ 2147483647 w 255"/>
              <a:gd name="T111" fmla="*/ 2147483647 h 41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55"/>
              <a:gd name="T169" fmla="*/ 0 h 412"/>
              <a:gd name="T170" fmla="*/ 255 w 255"/>
              <a:gd name="T171" fmla="*/ 412 h 412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55" h="412">
                <a:moveTo>
                  <a:pt x="169" y="344"/>
                </a:moveTo>
                <a:cubicBezTo>
                  <a:pt x="45" y="344"/>
                  <a:pt x="45" y="344"/>
                  <a:pt x="45" y="344"/>
                </a:cubicBezTo>
                <a:cubicBezTo>
                  <a:pt x="37" y="344"/>
                  <a:pt x="30" y="349"/>
                  <a:pt x="29" y="358"/>
                </a:cubicBezTo>
                <a:cubicBezTo>
                  <a:pt x="29" y="370"/>
                  <a:pt x="29" y="370"/>
                  <a:pt x="29" y="370"/>
                </a:cubicBezTo>
                <a:cubicBezTo>
                  <a:pt x="30" y="380"/>
                  <a:pt x="37" y="385"/>
                  <a:pt x="45" y="385"/>
                </a:cubicBezTo>
                <a:cubicBezTo>
                  <a:pt x="169" y="385"/>
                  <a:pt x="169" y="385"/>
                  <a:pt x="169" y="385"/>
                </a:cubicBezTo>
                <a:cubicBezTo>
                  <a:pt x="177" y="385"/>
                  <a:pt x="185" y="380"/>
                  <a:pt x="185" y="370"/>
                </a:cubicBezTo>
                <a:cubicBezTo>
                  <a:pt x="185" y="358"/>
                  <a:pt x="185" y="358"/>
                  <a:pt x="185" y="358"/>
                </a:cubicBezTo>
                <a:cubicBezTo>
                  <a:pt x="184" y="349"/>
                  <a:pt x="177" y="344"/>
                  <a:pt x="169" y="344"/>
                </a:cubicBezTo>
                <a:close/>
                <a:moveTo>
                  <a:pt x="169" y="369"/>
                </a:moveTo>
                <a:cubicBezTo>
                  <a:pt x="45" y="369"/>
                  <a:pt x="45" y="369"/>
                  <a:pt x="45" y="369"/>
                </a:cubicBezTo>
                <a:cubicBezTo>
                  <a:pt x="45" y="369"/>
                  <a:pt x="45" y="369"/>
                  <a:pt x="45" y="369"/>
                </a:cubicBezTo>
                <a:cubicBezTo>
                  <a:pt x="45" y="360"/>
                  <a:pt x="45" y="360"/>
                  <a:pt x="45" y="360"/>
                </a:cubicBezTo>
                <a:cubicBezTo>
                  <a:pt x="45" y="360"/>
                  <a:pt x="45" y="360"/>
                  <a:pt x="45" y="360"/>
                </a:cubicBezTo>
                <a:cubicBezTo>
                  <a:pt x="169" y="360"/>
                  <a:pt x="169" y="360"/>
                  <a:pt x="169" y="360"/>
                </a:cubicBezTo>
                <a:lnTo>
                  <a:pt x="169" y="369"/>
                </a:lnTo>
                <a:close/>
                <a:moveTo>
                  <a:pt x="185" y="306"/>
                </a:moveTo>
                <a:cubicBezTo>
                  <a:pt x="185" y="297"/>
                  <a:pt x="177" y="291"/>
                  <a:pt x="169" y="291"/>
                </a:cubicBezTo>
                <a:cubicBezTo>
                  <a:pt x="45" y="291"/>
                  <a:pt x="45" y="291"/>
                  <a:pt x="45" y="291"/>
                </a:cubicBezTo>
                <a:cubicBezTo>
                  <a:pt x="37" y="291"/>
                  <a:pt x="30" y="297"/>
                  <a:pt x="29" y="306"/>
                </a:cubicBezTo>
                <a:cubicBezTo>
                  <a:pt x="29" y="318"/>
                  <a:pt x="29" y="318"/>
                  <a:pt x="29" y="318"/>
                </a:cubicBezTo>
                <a:cubicBezTo>
                  <a:pt x="30" y="327"/>
                  <a:pt x="37" y="333"/>
                  <a:pt x="45" y="333"/>
                </a:cubicBezTo>
                <a:cubicBezTo>
                  <a:pt x="169" y="333"/>
                  <a:pt x="169" y="333"/>
                  <a:pt x="169" y="333"/>
                </a:cubicBezTo>
                <a:cubicBezTo>
                  <a:pt x="177" y="333"/>
                  <a:pt x="184" y="327"/>
                  <a:pt x="185" y="318"/>
                </a:cubicBezTo>
                <a:lnTo>
                  <a:pt x="185" y="306"/>
                </a:lnTo>
                <a:close/>
                <a:moveTo>
                  <a:pt x="169" y="317"/>
                </a:moveTo>
                <a:cubicBezTo>
                  <a:pt x="45" y="317"/>
                  <a:pt x="45" y="317"/>
                  <a:pt x="45" y="317"/>
                </a:cubicBezTo>
                <a:cubicBezTo>
                  <a:pt x="45" y="317"/>
                  <a:pt x="45" y="317"/>
                  <a:pt x="45" y="317"/>
                </a:cubicBezTo>
                <a:cubicBezTo>
                  <a:pt x="45" y="307"/>
                  <a:pt x="45" y="307"/>
                  <a:pt x="45" y="307"/>
                </a:cubicBezTo>
                <a:cubicBezTo>
                  <a:pt x="45" y="307"/>
                  <a:pt x="45" y="307"/>
                  <a:pt x="45" y="307"/>
                </a:cubicBezTo>
                <a:cubicBezTo>
                  <a:pt x="169" y="307"/>
                  <a:pt x="169" y="307"/>
                  <a:pt x="169" y="307"/>
                </a:cubicBezTo>
                <a:lnTo>
                  <a:pt x="169" y="317"/>
                </a:lnTo>
                <a:close/>
                <a:moveTo>
                  <a:pt x="185" y="253"/>
                </a:moveTo>
                <a:cubicBezTo>
                  <a:pt x="184" y="244"/>
                  <a:pt x="177" y="239"/>
                  <a:pt x="169" y="239"/>
                </a:cubicBezTo>
                <a:cubicBezTo>
                  <a:pt x="45" y="239"/>
                  <a:pt x="45" y="239"/>
                  <a:pt x="45" y="239"/>
                </a:cubicBezTo>
                <a:cubicBezTo>
                  <a:pt x="37" y="239"/>
                  <a:pt x="30" y="244"/>
                  <a:pt x="29" y="253"/>
                </a:cubicBezTo>
                <a:cubicBezTo>
                  <a:pt x="29" y="265"/>
                  <a:pt x="29" y="265"/>
                  <a:pt x="29" y="265"/>
                </a:cubicBezTo>
                <a:cubicBezTo>
                  <a:pt x="30" y="275"/>
                  <a:pt x="37" y="280"/>
                  <a:pt x="45" y="280"/>
                </a:cubicBezTo>
                <a:cubicBezTo>
                  <a:pt x="169" y="280"/>
                  <a:pt x="169" y="280"/>
                  <a:pt x="169" y="280"/>
                </a:cubicBezTo>
                <a:cubicBezTo>
                  <a:pt x="177" y="280"/>
                  <a:pt x="185" y="275"/>
                  <a:pt x="185" y="265"/>
                </a:cubicBezTo>
                <a:lnTo>
                  <a:pt x="185" y="253"/>
                </a:lnTo>
                <a:close/>
                <a:moveTo>
                  <a:pt x="169" y="264"/>
                </a:moveTo>
                <a:cubicBezTo>
                  <a:pt x="45" y="264"/>
                  <a:pt x="45" y="264"/>
                  <a:pt x="45" y="264"/>
                </a:cubicBezTo>
                <a:cubicBezTo>
                  <a:pt x="45" y="264"/>
                  <a:pt x="45" y="264"/>
                  <a:pt x="45" y="264"/>
                </a:cubicBezTo>
                <a:cubicBezTo>
                  <a:pt x="45" y="255"/>
                  <a:pt x="45" y="255"/>
                  <a:pt x="45" y="255"/>
                </a:cubicBezTo>
                <a:cubicBezTo>
                  <a:pt x="45" y="255"/>
                  <a:pt x="45" y="255"/>
                  <a:pt x="45" y="255"/>
                </a:cubicBezTo>
                <a:cubicBezTo>
                  <a:pt x="169" y="255"/>
                  <a:pt x="169" y="255"/>
                  <a:pt x="169" y="255"/>
                </a:cubicBezTo>
                <a:lnTo>
                  <a:pt x="169" y="264"/>
                </a:lnTo>
                <a:close/>
                <a:moveTo>
                  <a:pt x="185" y="201"/>
                </a:moveTo>
                <a:cubicBezTo>
                  <a:pt x="185" y="192"/>
                  <a:pt x="177" y="186"/>
                  <a:pt x="169" y="186"/>
                </a:cubicBezTo>
                <a:cubicBezTo>
                  <a:pt x="45" y="186"/>
                  <a:pt x="45" y="186"/>
                  <a:pt x="45" y="186"/>
                </a:cubicBezTo>
                <a:cubicBezTo>
                  <a:pt x="37" y="186"/>
                  <a:pt x="30" y="192"/>
                  <a:pt x="29" y="201"/>
                </a:cubicBezTo>
                <a:cubicBezTo>
                  <a:pt x="29" y="213"/>
                  <a:pt x="29" y="213"/>
                  <a:pt x="29" y="213"/>
                </a:cubicBezTo>
                <a:cubicBezTo>
                  <a:pt x="30" y="222"/>
                  <a:pt x="37" y="228"/>
                  <a:pt x="45" y="228"/>
                </a:cubicBezTo>
                <a:cubicBezTo>
                  <a:pt x="169" y="228"/>
                  <a:pt x="169" y="228"/>
                  <a:pt x="169" y="228"/>
                </a:cubicBezTo>
                <a:cubicBezTo>
                  <a:pt x="177" y="228"/>
                  <a:pt x="184" y="222"/>
                  <a:pt x="185" y="213"/>
                </a:cubicBezTo>
                <a:lnTo>
                  <a:pt x="185" y="201"/>
                </a:lnTo>
                <a:close/>
                <a:moveTo>
                  <a:pt x="169" y="212"/>
                </a:moveTo>
                <a:cubicBezTo>
                  <a:pt x="45" y="212"/>
                  <a:pt x="45" y="212"/>
                  <a:pt x="45" y="212"/>
                </a:cubicBezTo>
                <a:cubicBezTo>
                  <a:pt x="45" y="212"/>
                  <a:pt x="45" y="212"/>
                  <a:pt x="45" y="212"/>
                </a:cubicBezTo>
                <a:cubicBezTo>
                  <a:pt x="45" y="202"/>
                  <a:pt x="45" y="202"/>
                  <a:pt x="45" y="202"/>
                </a:cubicBezTo>
                <a:cubicBezTo>
                  <a:pt x="45" y="202"/>
                  <a:pt x="45" y="202"/>
                  <a:pt x="45" y="202"/>
                </a:cubicBezTo>
                <a:cubicBezTo>
                  <a:pt x="169" y="202"/>
                  <a:pt x="169" y="202"/>
                  <a:pt x="169" y="202"/>
                </a:cubicBezTo>
                <a:lnTo>
                  <a:pt x="169" y="212"/>
                </a:lnTo>
                <a:close/>
                <a:moveTo>
                  <a:pt x="185" y="148"/>
                </a:moveTo>
                <a:cubicBezTo>
                  <a:pt x="184" y="139"/>
                  <a:pt x="177" y="134"/>
                  <a:pt x="169" y="134"/>
                </a:cubicBezTo>
                <a:cubicBezTo>
                  <a:pt x="45" y="134"/>
                  <a:pt x="45" y="134"/>
                  <a:pt x="45" y="134"/>
                </a:cubicBezTo>
                <a:cubicBezTo>
                  <a:pt x="37" y="134"/>
                  <a:pt x="30" y="139"/>
                  <a:pt x="29" y="148"/>
                </a:cubicBezTo>
                <a:cubicBezTo>
                  <a:pt x="29" y="161"/>
                  <a:pt x="29" y="161"/>
                  <a:pt x="29" y="161"/>
                </a:cubicBezTo>
                <a:cubicBezTo>
                  <a:pt x="30" y="170"/>
                  <a:pt x="37" y="175"/>
                  <a:pt x="45" y="175"/>
                </a:cubicBezTo>
                <a:cubicBezTo>
                  <a:pt x="169" y="175"/>
                  <a:pt x="169" y="175"/>
                  <a:pt x="169" y="175"/>
                </a:cubicBezTo>
                <a:cubicBezTo>
                  <a:pt x="177" y="175"/>
                  <a:pt x="185" y="170"/>
                  <a:pt x="185" y="161"/>
                </a:cubicBezTo>
                <a:lnTo>
                  <a:pt x="185" y="148"/>
                </a:lnTo>
                <a:close/>
                <a:moveTo>
                  <a:pt x="169" y="159"/>
                </a:moveTo>
                <a:cubicBezTo>
                  <a:pt x="45" y="159"/>
                  <a:pt x="45" y="159"/>
                  <a:pt x="45" y="159"/>
                </a:cubicBezTo>
                <a:cubicBezTo>
                  <a:pt x="45" y="159"/>
                  <a:pt x="45" y="159"/>
                  <a:pt x="45" y="159"/>
                </a:cubicBezTo>
                <a:cubicBezTo>
                  <a:pt x="45" y="150"/>
                  <a:pt x="45" y="150"/>
                  <a:pt x="45" y="150"/>
                </a:cubicBezTo>
                <a:cubicBezTo>
                  <a:pt x="45" y="150"/>
                  <a:pt x="45" y="150"/>
                  <a:pt x="45" y="150"/>
                </a:cubicBezTo>
                <a:cubicBezTo>
                  <a:pt x="169" y="150"/>
                  <a:pt x="169" y="150"/>
                  <a:pt x="169" y="150"/>
                </a:cubicBezTo>
                <a:lnTo>
                  <a:pt x="169" y="159"/>
                </a:lnTo>
                <a:close/>
                <a:moveTo>
                  <a:pt x="185" y="96"/>
                </a:moveTo>
                <a:cubicBezTo>
                  <a:pt x="185" y="87"/>
                  <a:pt x="177" y="81"/>
                  <a:pt x="169" y="81"/>
                </a:cubicBezTo>
                <a:cubicBezTo>
                  <a:pt x="45" y="81"/>
                  <a:pt x="45" y="81"/>
                  <a:pt x="45" y="81"/>
                </a:cubicBezTo>
                <a:cubicBezTo>
                  <a:pt x="37" y="81"/>
                  <a:pt x="30" y="87"/>
                  <a:pt x="29" y="96"/>
                </a:cubicBezTo>
                <a:cubicBezTo>
                  <a:pt x="29" y="108"/>
                  <a:pt x="29" y="108"/>
                  <a:pt x="29" y="108"/>
                </a:cubicBezTo>
                <a:cubicBezTo>
                  <a:pt x="30" y="117"/>
                  <a:pt x="37" y="123"/>
                  <a:pt x="45" y="123"/>
                </a:cubicBezTo>
                <a:cubicBezTo>
                  <a:pt x="169" y="123"/>
                  <a:pt x="169" y="123"/>
                  <a:pt x="169" y="123"/>
                </a:cubicBezTo>
                <a:cubicBezTo>
                  <a:pt x="177" y="123"/>
                  <a:pt x="184" y="117"/>
                  <a:pt x="185" y="108"/>
                </a:cubicBezTo>
                <a:lnTo>
                  <a:pt x="185" y="96"/>
                </a:lnTo>
                <a:close/>
                <a:moveTo>
                  <a:pt x="169" y="107"/>
                </a:moveTo>
                <a:cubicBezTo>
                  <a:pt x="45" y="107"/>
                  <a:pt x="45" y="107"/>
                  <a:pt x="45" y="107"/>
                </a:cubicBezTo>
                <a:cubicBezTo>
                  <a:pt x="45" y="107"/>
                  <a:pt x="45" y="107"/>
                  <a:pt x="45" y="107"/>
                </a:cubicBezTo>
                <a:cubicBezTo>
                  <a:pt x="45" y="97"/>
                  <a:pt x="45" y="97"/>
                  <a:pt x="45" y="97"/>
                </a:cubicBezTo>
                <a:cubicBezTo>
                  <a:pt x="45" y="97"/>
                  <a:pt x="45" y="97"/>
                  <a:pt x="45" y="97"/>
                </a:cubicBezTo>
                <a:cubicBezTo>
                  <a:pt x="169" y="97"/>
                  <a:pt x="169" y="97"/>
                  <a:pt x="169" y="97"/>
                </a:cubicBezTo>
                <a:lnTo>
                  <a:pt x="169" y="107"/>
                </a:lnTo>
                <a:close/>
                <a:moveTo>
                  <a:pt x="185" y="44"/>
                </a:moveTo>
                <a:cubicBezTo>
                  <a:pt x="184" y="34"/>
                  <a:pt x="177" y="29"/>
                  <a:pt x="169" y="29"/>
                </a:cubicBezTo>
                <a:cubicBezTo>
                  <a:pt x="45" y="29"/>
                  <a:pt x="45" y="29"/>
                  <a:pt x="45" y="29"/>
                </a:cubicBezTo>
                <a:cubicBezTo>
                  <a:pt x="37" y="29"/>
                  <a:pt x="30" y="34"/>
                  <a:pt x="29" y="44"/>
                </a:cubicBezTo>
                <a:cubicBezTo>
                  <a:pt x="29" y="56"/>
                  <a:pt x="29" y="56"/>
                  <a:pt x="29" y="56"/>
                </a:cubicBezTo>
                <a:cubicBezTo>
                  <a:pt x="30" y="65"/>
                  <a:pt x="37" y="70"/>
                  <a:pt x="45" y="70"/>
                </a:cubicBezTo>
                <a:cubicBezTo>
                  <a:pt x="169" y="70"/>
                  <a:pt x="169" y="70"/>
                  <a:pt x="169" y="70"/>
                </a:cubicBezTo>
                <a:cubicBezTo>
                  <a:pt x="177" y="70"/>
                  <a:pt x="185" y="65"/>
                  <a:pt x="185" y="56"/>
                </a:cubicBezTo>
                <a:lnTo>
                  <a:pt x="185" y="44"/>
                </a:lnTo>
                <a:close/>
                <a:moveTo>
                  <a:pt x="169" y="54"/>
                </a:moveTo>
                <a:cubicBezTo>
                  <a:pt x="45" y="54"/>
                  <a:pt x="45" y="54"/>
                  <a:pt x="45" y="54"/>
                </a:cubicBezTo>
                <a:cubicBezTo>
                  <a:pt x="45" y="54"/>
                  <a:pt x="45" y="54"/>
                  <a:pt x="45" y="54"/>
                </a:cubicBezTo>
                <a:cubicBezTo>
                  <a:pt x="45" y="45"/>
                  <a:pt x="45" y="45"/>
                  <a:pt x="45" y="45"/>
                </a:cubicBezTo>
                <a:cubicBezTo>
                  <a:pt x="45" y="45"/>
                  <a:pt x="45" y="45"/>
                  <a:pt x="45" y="45"/>
                </a:cubicBezTo>
                <a:cubicBezTo>
                  <a:pt x="169" y="45"/>
                  <a:pt x="169" y="45"/>
                  <a:pt x="169" y="45"/>
                </a:cubicBezTo>
                <a:lnTo>
                  <a:pt x="169" y="54"/>
                </a:lnTo>
                <a:close/>
                <a:moveTo>
                  <a:pt x="212" y="88"/>
                </a:moveTo>
                <a:cubicBezTo>
                  <a:pt x="204" y="88"/>
                  <a:pt x="198" y="94"/>
                  <a:pt x="198" y="102"/>
                </a:cubicBezTo>
                <a:cubicBezTo>
                  <a:pt x="198" y="110"/>
                  <a:pt x="204" y="116"/>
                  <a:pt x="212" y="116"/>
                </a:cubicBezTo>
                <a:cubicBezTo>
                  <a:pt x="220" y="116"/>
                  <a:pt x="226" y="110"/>
                  <a:pt x="226" y="102"/>
                </a:cubicBezTo>
                <a:cubicBezTo>
                  <a:pt x="226" y="94"/>
                  <a:pt x="220" y="88"/>
                  <a:pt x="212" y="88"/>
                </a:cubicBezTo>
                <a:close/>
                <a:moveTo>
                  <a:pt x="212" y="35"/>
                </a:moveTo>
                <a:cubicBezTo>
                  <a:pt x="204" y="35"/>
                  <a:pt x="198" y="42"/>
                  <a:pt x="198" y="50"/>
                </a:cubicBezTo>
                <a:cubicBezTo>
                  <a:pt x="198" y="57"/>
                  <a:pt x="204" y="64"/>
                  <a:pt x="212" y="64"/>
                </a:cubicBezTo>
                <a:cubicBezTo>
                  <a:pt x="220" y="64"/>
                  <a:pt x="226" y="57"/>
                  <a:pt x="226" y="50"/>
                </a:cubicBezTo>
                <a:cubicBezTo>
                  <a:pt x="226" y="42"/>
                  <a:pt x="220" y="35"/>
                  <a:pt x="212" y="35"/>
                </a:cubicBezTo>
                <a:close/>
                <a:moveTo>
                  <a:pt x="212" y="140"/>
                </a:moveTo>
                <a:cubicBezTo>
                  <a:pt x="204" y="140"/>
                  <a:pt x="198" y="147"/>
                  <a:pt x="198" y="155"/>
                </a:cubicBezTo>
                <a:cubicBezTo>
                  <a:pt x="198" y="162"/>
                  <a:pt x="204" y="169"/>
                  <a:pt x="212" y="169"/>
                </a:cubicBezTo>
                <a:cubicBezTo>
                  <a:pt x="220" y="169"/>
                  <a:pt x="226" y="162"/>
                  <a:pt x="226" y="155"/>
                </a:cubicBezTo>
                <a:cubicBezTo>
                  <a:pt x="226" y="147"/>
                  <a:pt x="220" y="140"/>
                  <a:pt x="212" y="140"/>
                </a:cubicBezTo>
                <a:close/>
                <a:moveTo>
                  <a:pt x="212" y="193"/>
                </a:moveTo>
                <a:cubicBezTo>
                  <a:pt x="204" y="193"/>
                  <a:pt x="198" y="199"/>
                  <a:pt x="198" y="207"/>
                </a:cubicBezTo>
                <a:cubicBezTo>
                  <a:pt x="198" y="215"/>
                  <a:pt x="204" y="221"/>
                  <a:pt x="212" y="221"/>
                </a:cubicBezTo>
                <a:cubicBezTo>
                  <a:pt x="220" y="221"/>
                  <a:pt x="226" y="215"/>
                  <a:pt x="226" y="207"/>
                </a:cubicBezTo>
                <a:cubicBezTo>
                  <a:pt x="226" y="199"/>
                  <a:pt x="220" y="193"/>
                  <a:pt x="212" y="193"/>
                </a:cubicBezTo>
                <a:close/>
                <a:moveTo>
                  <a:pt x="212" y="245"/>
                </a:moveTo>
                <a:cubicBezTo>
                  <a:pt x="204" y="245"/>
                  <a:pt x="198" y="252"/>
                  <a:pt x="198" y="259"/>
                </a:cubicBezTo>
                <a:cubicBezTo>
                  <a:pt x="198" y="267"/>
                  <a:pt x="204" y="274"/>
                  <a:pt x="212" y="274"/>
                </a:cubicBezTo>
                <a:cubicBezTo>
                  <a:pt x="220" y="274"/>
                  <a:pt x="226" y="267"/>
                  <a:pt x="226" y="259"/>
                </a:cubicBezTo>
                <a:cubicBezTo>
                  <a:pt x="226" y="252"/>
                  <a:pt x="220" y="245"/>
                  <a:pt x="212" y="245"/>
                </a:cubicBezTo>
                <a:close/>
                <a:moveTo>
                  <a:pt x="212" y="298"/>
                </a:moveTo>
                <a:cubicBezTo>
                  <a:pt x="204" y="298"/>
                  <a:pt x="198" y="304"/>
                  <a:pt x="198" y="312"/>
                </a:cubicBezTo>
                <a:cubicBezTo>
                  <a:pt x="198" y="320"/>
                  <a:pt x="204" y="326"/>
                  <a:pt x="212" y="326"/>
                </a:cubicBezTo>
                <a:cubicBezTo>
                  <a:pt x="220" y="326"/>
                  <a:pt x="226" y="320"/>
                  <a:pt x="226" y="312"/>
                </a:cubicBezTo>
                <a:cubicBezTo>
                  <a:pt x="226" y="304"/>
                  <a:pt x="220" y="298"/>
                  <a:pt x="212" y="298"/>
                </a:cubicBezTo>
                <a:close/>
                <a:moveTo>
                  <a:pt x="212" y="350"/>
                </a:moveTo>
                <a:cubicBezTo>
                  <a:pt x="204" y="350"/>
                  <a:pt x="198" y="356"/>
                  <a:pt x="198" y="364"/>
                </a:cubicBezTo>
                <a:cubicBezTo>
                  <a:pt x="198" y="372"/>
                  <a:pt x="204" y="379"/>
                  <a:pt x="212" y="379"/>
                </a:cubicBezTo>
                <a:cubicBezTo>
                  <a:pt x="220" y="379"/>
                  <a:pt x="226" y="372"/>
                  <a:pt x="226" y="364"/>
                </a:cubicBezTo>
                <a:cubicBezTo>
                  <a:pt x="226" y="356"/>
                  <a:pt x="220" y="350"/>
                  <a:pt x="212" y="350"/>
                </a:cubicBezTo>
                <a:close/>
                <a:moveTo>
                  <a:pt x="247" y="44"/>
                </a:moveTo>
                <a:cubicBezTo>
                  <a:pt x="251" y="44"/>
                  <a:pt x="255" y="41"/>
                  <a:pt x="255" y="36"/>
                </a:cubicBezTo>
                <a:cubicBezTo>
                  <a:pt x="255" y="16"/>
                  <a:pt x="255" y="16"/>
                  <a:pt x="255" y="16"/>
                </a:cubicBezTo>
                <a:cubicBezTo>
                  <a:pt x="255" y="7"/>
                  <a:pt x="248" y="0"/>
                  <a:pt x="23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7" y="0"/>
                  <a:pt x="0" y="7"/>
                  <a:pt x="0" y="16"/>
                </a:cubicBezTo>
                <a:cubicBezTo>
                  <a:pt x="0" y="396"/>
                  <a:pt x="0" y="396"/>
                  <a:pt x="0" y="396"/>
                </a:cubicBezTo>
                <a:cubicBezTo>
                  <a:pt x="0" y="405"/>
                  <a:pt x="7" y="412"/>
                  <a:pt x="16" y="412"/>
                </a:cubicBezTo>
                <a:cubicBezTo>
                  <a:pt x="239" y="412"/>
                  <a:pt x="239" y="412"/>
                  <a:pt x="239" y="412"/>
                </a:cubicBezTo>
                <a:cubicBezTo>
                  <a:pt x="248" y="412"/>
                  <a:pt x="255" y="405"/>
                  <a:pt x="255" y="396"/>
                </a:cubicBezTo>
                <a:cubicBezTo>
                  <a:pt x="255" y="60"/>
                  <a:pt x="255" y="60"/>
                  <a:pt x="255" y="60"/>
                </a:cubicBezTo>
                <a:cubicBezTo>
                  <a:pt x="255" y="56"/>
                  <a:pt x="251" y="52"/>
                  <a:pt x="247" y="52"/>
                </a:cubicBezTo>
                <a:cubicBezTo>
                  <a:pt x="242" y="52"/>
                  <a:pt x="239" y="56"/>
                  <a:pt x="239" y="60"/>
                </a:cubicBezTo>
                <a:cubicBezTo>
                  <a:pt x="239" y="396"/>
                  <a:pt x="239" y="396"/>
                  <a:pt x="239" y="396"/>
                </a:cubicBezTo>
                <a:cubicBezTo>
                  <a:pt x="16" y="396"/>
                  <a:pt x="16" y="396"/>
                  <a:pt x="16" y="396"/>
                </a:cubicBezTo>
                <a:cubicBezTo>
                  <a:pt x="16" y="396"/>
                  <a:pt x="16" y="396"/>
                  <a:pt x="16" y="396"/>
                </a:cubicBezTo>
                <a:cubicBezTo>
                  <a:pt x="16" y="16"/>
                  <a:pt x="16" y="16"/>
                  <a:pt x="16" y="16"/>
                </a:cubicBezTo>
                <a:cubicBezTo>
                  <a:pt x="16" y="16"/>
                  <a:pt x="16" y="16"/>
                  <a:pt x="16" y="16"/>
                </a:cubicBezTo>
                <a:cubicBezTo>
                  <a:pt x="239" y="16"/>
                  <a:pt x="239" y="16"/>
                  <a:pt x="239" y="16"/>
                </a:cubicBezTo>
                <a:cubicBezTo>
                  <a:pt x="239" y="36"/>
                  <a:pt x="239" y="36"/>
                  <a:pt x="239" y="36"/>
                </a:cubicBezTo>
                <a:cubicBezTo>
                  <a:pt x="239" y="41"/>
                  <a:pt x="242" y="44"/>
                  <a:pt x="247" y="44"/>
                </a:cubicBezTo>
                <a:close/>
              </a:path>
            </a:pathLst>
          </a:custGeom>
          <a:blipFill dpi="0" rotWithShape="0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endParaRPr lang="en-US" smtClean="0">
              <a:solidFill>
                <a:srgbClr val="58585A"/>
              </a:solidFill>
              <a:latin typeface="Arial" pitchFamily="34" charset="0"/>
            </a:endParaRPr>
          </a:p>
        </p:txBody>
      </p:sp>
      <p:sp>
        <p:nvSpPr>
          <p:cNvPr id="8230" name="Freeform 8" descr="bpct-blend2"/>
          <p:cNvSpPr>
            <a:spLocks noChangeAspect="1" noEditPoints="1"/>
          </p:cNvSpPr>
          <p:nvPr/>
        </p:nvSpPr>
        <p:spPr bwMode="auto">
          <a:xfrm>
            <a:off x="4080933" y="3638858"/>
            <a:ext cx="298451" cy="481012"/>
          </a:xfrm>
          <a:custGeom>
            <a:avLst/>
            <a:gdLst>
              <a:gd name="T0" fmla="*/ 2147483647 w 255"/>
              <a:gd name="T1" fmla="*/ 2147483647 h 412"/>
              <a:gd name="T2" fmla="*/ 2147483647 w 255"/>
              <a:gd name="T3" fmla="*/ 2147483647 h 412"/>
              <a:gd name="T4" fmla="*/ 2147483647 w 255"/>
              <a:gd name="T5" fmla="*/ 2147483647 h 412"/>
              <a:gd name="T6" fmla="*/ 2147483647 w 255"/>
              <a:gd name="T7" fmla="*/ 2147483647 h 412"/>
              <a:gd name="T8" fmla="*/ 2147483647 w 255"/>
              <a:gd name="T9" fmla="*/ 2147483647 h 412"/>
              <a:gd name="T10" fmla="*/ 2147483647 w 255"/>
              <a:gd name="T11" fmla="*/ 2147483647 h 412"/>
              <a:gd name="T12" fmla="*/ 2147483647 w 255"/>
              <a:gd name="T13" fmla="*/ 2147483647 h 412"/>
              <a:gd name="T14" fmla="*/ 2147483647 w 255"/>
              <a:gd name="T15" fmla="*/ 2147483647 h 412"/>
              <a:gd name="T16" fmla="*/ 2147483647 w 255"/>
              <a:gd name="T17" fmla="*/ 2147483647 h 412"/>
              <a:gd name="T18" fmla="*/ 2147483647 w 255"/>
              <a:gd name="T19" fmla="*/ 2147483647 h 412"/>
              <a:gd name="T20" fmla="*/ 2147483647 w 255"/>
              <a:gd name="T21" fmla="*/ 2147483647 h 412"/>
              <a:gd name="T22" fmla="*/ 2147483647 w 255"/>
              <a:gd name="T23" fmla="*/ 2147483647 h 412"/>
              <a:gd name="T24" fmla="*/ 2147483647 w 255"/>
              <a:gd name="T25" fmla="*/ 2147483647 h 412"/>
              <a:gd name="T26" fmla="*/ 2147483647 w 255"/>
              <a:gd name="T27" fmla="*/ 2147483647 h 412"/>
              <a:gd name="T28" fmla="*/ 2147483647 w 255"/>
              <a:gd name="T29" fmla="*/ 2147483647 h 412"/>
              <a:gd name="T30" fmla="*/ 2147483647 w 255"/>
              <a:gd name="T31" fmla="*/ 2147483647 h 412"/>
              <a:gd name="T32" fmla="*/ 2147483647 w 255"/>
              <a:gd name="T33" fmla="*/ 2147483647 h 412"/>
              <a:gd name="T34" fmla="*/ 2147483647 w 255"/>
              <a:gd name="T35" fmla="*/ 2147483647 h 412"/>
              <a:gd name="T36" fmla="*/ 2147483647 w 255"/>
              <a:gd name="T37" fmla="*/ 2147483647 h 412"/>
              <a:gd name="T38" fmla="*/ 2147483647 w 255"/>
              <a:gd name="T39" fmla="*/ 2147483647 h 412"/>
              <a:gd name="T40" fmla="*/ 2147483647 w 255"/>
              <a:gd name="T41" fmla="*/ 2147483647 h 412"/>
              <a:gd name="T42" fmla="*/ 2147483647 w 255"/>
              <a:gd name="T43" fmla="*/ 2147483647 h 412"/>
              <a:gd name="T44" fmla="*/ 2147483647 w 255"/>
              <a:gd name="T45" fmla="*/ 2147483647 h 412"/>
              <a:gd name="T46" fmla="*/ 2147483647 w 255"/>
              <a:gd name="T47" fmla="*/ 2147483647 h 412"/>
              <a:gd name="T48" fmla="*/ 2147483647 w 255"/>
              <a:gd name="T49" fmla="*/ 2147483647 h 412"/>
              <a:gd name="T50" fmla="*/ 2147483647 w 255"/>
              <a:gd name="T51" fmla="*/ 2147483647 h 412"/>
              <a:gd name="T52" fmla="*/ 2147483647 w 255"/>
              <a:gd name="T53" fmla="*/ 2147483647 h 412"/>
              <a:gd name="T54" fmla="*/ 2147483647 w 255"/>
              <a:gd name="T55" fmla="*/ 2147483647 h 412"/>
              <a:gd name="T56" fmla="*/ 2147483647 w 255"/>
              <a:gd name="T57" fmla="*/ 2147483647 h 412"/>
              <a:gd name="T58" fmla="*/ 2147483647 w 255"/>
              <a:gd name="T59" fmla="*/ 2147483647 h 412"/>
              <a:gd name="T60" fmla="*/ 2147483647 w 255"/>
              <a:gd name="T61" fmla="*/ 2147483647 h 412"/>
              <a:gd name="T62" fmla="*/ 2147483647 w 255"/>
              <a:gd name="T63" fmla="*/ 2147483647 h 412"/>
              <a:gd name="T64" fmla="*/ 2147483647 w 255"/>
              <a:gd name="T65" fmla="*/ 2147483647 h 412"/>
              <a:gd name="T66" fmla="*/ 2147483647 w 255"/>
              <a:gd name="T67" fmla="*/ 2147483647 h 412"/>
              <a:gd name="T68" fmla="*/ 2147483647 w 255"/>
              <a:gd name="T69" fmla="*/ 2147483647 h 412"/>
              <a:gd name="T70" fmla="*/ 2147483647 w 255"/>
              <a:gd name="T71" fmla="*/ 2147483647 h 412"/>
              <a:gd name="T72" fmla="*/ 2147483647 w 255"/>
              <a:gd name="T73" fmla="*/ 2147483647 h 412"/>
              <a:gd name="T74" fmla="*/ 2147483647 w 255"/>
              <a:gd name="T75" fmla="*/ 2147483647 h 412"/>
              <a:gd name="T76" fmla="*/ 2147483647 w 255"/>
              <a:gd name="T77" fmla="*/ 2147483647 h 412"/>
              <a:gd name="T78" fmla="*/ 2147483647 w 255"/>
              <a:gd name="T79" fmla="*/ 2147483647 h 412"/>
              <a:gd name="T80" fmla="*/ 2147483647 w 255"/>
              <a:gd name="T81" fmla="*/ 2147483647 h 412"/>
              <a:gd name="T82" fmla="*/ 2147483647 w 255"/>
              <a:gd name="T83" fmla="*/ 2147483647 h 412"/>
              <a:gd name="T84" fmla="*/ 2147483647 w 255"/>
              <a:gd name="T85" fmla="*/ 2147483647 h 412"/>
              <a:gd name="T86" fmla="*/ 2147483647 w 255"/>
              <a:gd name="T87" fmla="*/ 2147483647 h 412"/>
              <a:gd name="T88" fmla="*/ 2147483647 w 255"/>
              <a:gd name="T89" fmla="*/ 2147483647 h 412"/>
              <a:gd name="T90" fmla="*/ 2147483647 w 255"/>
              <a:gd name="T91" fmla="*/ 2147483647 h 412"/>
              <a:gd name="T92" fmla="*/ 2147483647 w 255"/>
              <a:gd name="T93" fmla="*/ 2147483647 h 412"/>
              <a:gd name="T94" fmla="*/ 2147483647 w 255"/>
              <a:gd name="T95" fmla="*/ 2147483647 h 412"/>
              <a:gd name="T96" fmla="*/ 2147483647 w 255"/>
              <a:gd name="T97" fmla="*/ 2147483647 h 412"/>
              <a:gd name="T98" fmla="*/ 2147483647 w 255"/>
              <a:gd name="T99" fmla="*/ 2147483647 h 412"/>
              <a:gd name="T100" fmla="*/ 0 w 255"/>
              <a:gd name="T101" fmla="*/ 2147483647 h 412"/>
              <a:gd name="T102" fmla="*/ 2147483647 w 255"/>
              <a:gd name="T103" fmla="*/ 2147483647 h 412"/>
              <a:gd name="T104" fmla="*/ 2147483647 w 255"/>
              <a:gd name="T105" fmla="*/ 2147483647 h 412"/>
              <a:gd name="T106" fmla="*/ 2147483647 w 255"/>
              <a:gd name="T107" fmla="*/ 2147483647 h 412"/>
              <a:gd name="T108" fmla="*/ 2147483647 w 255"/>
              <a:gd name="T109" fmla="*/ 2147483647 h 412"/>
              <a:gd name="T110" fmla="*/ 2147483647 w 255"/>
              <a:gd name="T111" fmla="*/ 2147483647 h 41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55"/>
              <a:gd name="T169" fmla="*/ 0 h 412"/>
              <a:gd name="T170" fmla="*/ 255 w 255"/>
              <a:gd name="T171" fmla="*/ 412 h 412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55" h="412">
                <a:moveTo>
                  <a:pt x="169" y="344"/>
                </a:moveTo>
                <a:cubicBezTo>
                  <a:pt x="45" y="344"/>
                  <a:pt x="45" y="344"/>
                  <a:pt x="45" y="344"/>
                </a:cubicBezTo>
                <a:cubicBezTo>
                  <a:pt x="37" y="344"/>
                  <a:pt x="30" y="349"/>
                  <a:pt x="29" y="358"/>
                </a:cubicBezTo>
                <a:cubicBezTo>
                  <a:pt x="29" y="370"/>
                  <a:pt x="29" y="370"/>
                  <a:pt x="29" y="370"/>
                </a:cubicBezTo>
                <a:cubicBezTo>
                  <a:pt x="30" y="380"/>
                  <a:pt x="37" y="385"/>
                  <a:pt x="45" y="385"/>
                </a:cubicBezTo>
                <a:cubicBezTo>
                  <a:pt x="169" y="385"/>
                  <a:pt x="169" y="385"/>
                  <a:pt x="169" y="385"/>
                </a:cubicBezTo>
                <a:cubicBezTo>
                  <a:pt x="177" y="385"/>
                  <a:pt x="185" y="380"/>
                  <a:pt x="185" y="370"/>
                </a:cubicBezTo>
                <a:cubicBezTo>
                  <a:pt x="185" y="358"/>
                  <a:pt x="185" y="358"/>
                  <a:pt x="185" y="358"/>
                </a:cubicBezTo>
                <a:cubicBezTo>
                  <a:pt x="184" y="349"/>
                  <a:pt x="177" y="344"/>
                  <a:pt x="169" y="344"/>
                </a:cubicBezTo>
                <a:close/>
                <a:moveTo>
                  <a:pt x="169" y="369"/>
                </a:moveTo>
                <a:cubicBezTo>
                  <a:pt x="45" y="369"/>
                  <a:pt x="45" y="369"/>
                  <a:pt x="45" y="369"/>
                </a:cubicBezTo>
                <a:cubicBezTo>
                  <a:pt x="45" y="369"/>
                  <a:pt x="45" y="369"/>
                  <a:pt x="45" y="369"/>
                </a:cubicBezTo>
                <a:cubicBezTo>
                  <a:pt x="45" y="360"/>
                  <a:pt x="45" y="360"/>
                  <a:pt x="45" y="360"/>
                </a:cubicBezTo>
                <a:cubicBezTo>
                  <a:pt x="45" y="360"/>
                  <a:pt x="45" y="360"/>
                  <a:pt x="45" y="360"/>
                </a:cubicBezTo>
                <a:cubicBezTo>
                  <a:pt x="169" y="360"/>
                  <a:pt x="169" y="360"/>
                  <a:pt x="169" y="360"/>
                </a:cubicBezTo>
                <a:lnTo>
                  <a:pt x="169" y="369"/>
                </a:lnTo>
                <a:close/>
                <a:moveTo>
                  <a:pt x="185" y="306"/>
                </a:moveTo>
                <a:cubicBezTo>
                  <a:pt x="185" y="297"/>
                  <a:pt x="177" y="291"/>
                  <a:pt x="169" y="291"/>
                </a:cubicBezTo>
                <a:cubicBezTo>
                  <a:pt x="45" y="291"/>
                  <a:pt x="45" y="291"/>
                  <a:pt x="45" y="291"/>
                </a:cubicBezTo>
                <a:cubicBezTo>
                  <a:pt x="37" y="291"/>
                  <a:pt x="30" y="297"/>
                  <a:pt x="29" y="306"/>
                </a:cubicBezTo>
                <a:cubicBezTo>
                  <a:pt x="29" y="318"/>
                  <a:pt x="29" y="318"/>
                  <a:pt x="29" y="318"/>
                </a:cubicBezTo>
                <a:cubicBezTo>
                  <a:pt x="30" y="327"/>
                  <a:pt x="37" y="333"/>
                  <a:pt x="45" y="333"/>
                </a:cubicBezTo>
                <a:cubicBezTo>
                  <a:pt x="169" y="333"/>
                  <a:pt x="169" y="333"/>
                  <a:pt x="169" y="333"/>
                </a:cubicBezTo>
                <a:cubicBezTo>
                  <a:pt x="177" y="333"/>
                  <a:pt x="184" y="327"/>
                  <a:pt x="185" y="318"/>
                </a:cubicBezTo>
                <a:lnTo>
                  <a:pt x="185" y="306"/>
                </a:lnTo>
                <a:close/>
                <a:moveTo>
                  <a:pt x="169" y="317"/>
                </a:moveTo>
                <a:cubicBezTo>
                  <a:pt x="45" y="317"/>
                  <a:pt x="45" y="317"/>
                  <a:pt x="45" y="317"/>
                </a:cubicBezTo>
                <a:cubicBezTo>
                  <a:pt x="45" y="317"/>
                  <a:pt x="45" y="317"/>
                  <a:pt x="45" y="317"/>
                </a:cubicBezTo>
                <a:cubicBezTo>
                  <a:pt x="45" y="307"/>
                  <a:pt x="45" y="307"/>
                  <a:pt x="45" y="307"/>
                </a:cubicBezTo>
                <a:cubicBezTo>
                  <a:pt x="45" y="307"/>
                  <a:pt x="45" y="307"/>
                  <a:pt x="45" y="307"/>
                </a:cubicBezTo>
                <a:cubicBezTo>
                  <a:pt x="169" y="307"/>
                  <a:pt x="169" y="307"/>
                  <a:pt x="169" y="307"/>
                </a:cubicBezTo>
                <a:lnTo>
                  <a:pt x="169" y="317"/>
                </a:lnTo>
                <a:close/>
                <a:moveTo>
                  <a:pt x="185" y="253"/>
                </a:moveTo>
                <a:cubicBezTo>
                  <a:pt x="184" y="244"/>
                  <a:pt x="177" y="239"/>
                  <a:pt x="169" y="239"/>
                </a:cubicBezTo>
                <a:cubicBezTo>
                  <a:pt x="45" y="239"/>
                  <a:pt x="45" y="239"/>
                  <a:pt x="45" y="239"/>
                </a:cubicBezTo>
                <a:cubicBezTo>
                  <a:pt x="37" y="239"/>
                  <a:pt x="30" y="244"/>
                  <a:pt x="29" y="253"/>
                </a:cubicBezTo>
                <a:cubicBezTo>
                  <a:pt x="29" y="265"/>
                  <a:pt x="29" y="265"/>
                  <a:pt x="29" y="265"/>
                </a:cubicBezTo>
                <a:cubicBezTo>
                  <a:pt x="30" y="275"/>
                  <a:pt x="37" y="280"/>
                  <a:pt x="45" y="280"/>
                </a:cubicBezTo>
                <a:cubicBezTo>
                  <a:pt x="169" y="280"/>
                  <a:pt x="169" y="280"/>
                  <a:pt x="169" y="280"/>
                </a:cubicBezTo>
                <a:cubicBezTo>
                  <a:pt x="177" y="280"/>
                  <a:pt x="185" y="275"/>
                  <a:pt x="185" y="265"/>
                </a:cubicBezTo>
                <a:lnTo>
                  <a:pt x="185" y="253"/>
                </a:lnTo>
                <a:close/>
                <a:moveTo>
                  <a:pt x="169" y="264"/>
                </a:moveTo>
                <a:cubicBezTo>
                  <a:pt x="45" y="264"/>
                  <a:pt x="45" y="264"/>
                  <a:pt x="45" y="264"/>
                </a:cubicBezTo>
                <a:cubicBezTo>
                  <a:pt x="45" y="264"/>
                  <a:pt x="45" y="264"/>
                  <a:pt x="45" y="264"/>
                </a:cubicBezTo>
                <a:cubicBezTo>
                  <a:pt x="45" y="255"/>
                  <a:pt x="45" y="255"/>
                  <a:pt x="45" y="255"/>
                </a:cubicBezTo>
                <a:cubicBezTo>
                  <a:pt x="45" y="255"/>
                  <a:pt x="45" y="255"/>
                  <a:pt x="45" y="255"/>
                </a:cubicBezTo>
                <a:cubicBezTo>
                  <a:pt x="169" y="255"/>
                  <a:pt x="169" y="255"/>
                  <a:pt x="169" y="255"/>
                </a:cubicBezTo>
                <a:lnTo>
                  <a:pt x="169" y="264"/>
                </a:lnTo>
                <a:close/>
                <a:moveTo>
                  <a:pt x="185" y="201"/>
                </a:moveTo>
                <a:cubicBezTo>
                  <a:pt x="185" y="192"/>
                  <a:pt x="177" y="186"/>
                  <a:pt x="169" y="186"/>
                </a:cubicBezTo>
                <a:cubicBezTo>
                  <a:pt x="45" y="186"/>
                  <a:pt x="45" y="186"/>
                  <a:pt x="45" y="186"/>
                </a:cubicBezTo>
                <a:cubicBezTo>
                  <a:pt x="37" y="186"/>
                  <a:pt x="30" y="192"/>
                  <a:pt x="29" y="201"/>
                </a:cubicBezTo>
                <a:cubicBezTo>
                  <a:pt x="29" y="213"/>
                  <a:pt x="29" y="213"/>
                  <a:pt x="29" y="213"/>
                </a:cubicBezTo>
                <a:cubicBezTo>
                  <a:pt x="30" y="222"/>
                  <a:pt x="37" y="228"/>
                  <a:pt x="45" y="228"/>
                </a:cubicBezTo>
                <a:cubicBezTo>
                  <a:pt x="169" y="228"/>
                  <a:pt x="169" y="228"/>
                  <a:pt x="169" y="228"/>
                </a:cubicBezTo>
                <a:cubicBezTo>
                  <a:pt x="177" y="228"/>
                  <a:pt x="184" y="222"/>
                  <a:pt x="185" y="213"/>
                </a:cubicBezTo>
                <a:lnTo>
                  <a:pt x="185" y="201"/>
                </a:lnTo>
                <a:close/>
                <a:moveTo>
                  <a:pt x="169" y="212"/>
                </a:moveTo>
                <a:cubicBezTo>
                  <a:pt x="45" y="212"/>
                  <a:pt x="45" y="212"/>
                  <a:pt x="45" y="212"/>
                </a:cubicBezTo>
                <a:cubicBezTo>
                  <a:pt x="45" y="212"/>
                  <a:pt x="45" y="212"/>
                  <a:pt x="45" y="212"/>
                </a:cubicBezTo>
                <a:cubicBezTo>
                  <a:pt x="45" y="202"/>
                  <a:pt x="45" y="202"/>
                  <a:pt x="45" y="202"/>
                </a:cubicBezTo>
                <a:cubicBezTo>
                  <a:pt x="45" y="202"/>
                  <a:pt x="45" y="202"/>
                  <a:pt x="45" y="202"/>
                </a:cubicBezTo>
                <a:cubicBezTo>
                  <a:pt x="169" y="202"/>
                  <a:pt x="169" y="202"/>
                  <a:pt x="169" y="202"/>
                </a:cubicBezTo>
                <a:lnTo>
                  <a:pt x="169" y="212"/>
                </a:lnTo>
                <a:close/>
                <a:moveTo>
                  <a:pt x="185" y="148"/>
                </a:moveTo>
                <a:cubicBezTo>
                  <a:pt x="184" y="139"/>
                  <a:pt x="177" y="134"/>
                  <a:pt x="169" y="134"/>
                </a:cubicBezTo>
                <a:cubicBezTo>
                  <a:pt x="45" y="134"/>
                  <a:pt x="45" y="134"/>
                  <a:pt x="45" y="134"/>
                </a:cubicBezTo>
                <a:cubicBezTo>
                  <a:pt x="37" y="134"/>
                  <a:pt x="30" y="139"/>
                  <a:pt x="29" y="148"/>
                </a:cubicBezTo>
                <a:cubicBezTo>
                  <a:pt x="29" y="161"/>
                  <a:pt x="29" y="161"/>
                  <a:pt x="29" y="161"/>
                </a:cubicBezTo>
                <a:cubicBezTo>
                  <a:pt x="30" y="170"/>
                  <a:pt x="37" y="175"/>
                  <a:pt x="45" y="175"/>
                </a:cubicBezTo>
                <a:cubicBezTo>
                  <a:pt x="169" y="175"/>
                  <a:pt x="169" y="175"/>
                  <a:pt x="169" y="175"/>
                </a:cubicBezTo>
                <a:cubicBezTo>
                  <a:pt x="177" y="175"/>
                  <a:pt x="185" y="170"/>
                  <a:pt x="185" y="161"/>
                </a:cubicBezTo>
                <a:lnTo>
                  <a:pt x="185" y="148"/>
                </a:lnTo>
                <a:close/>
                <a:moveTo>
                  <a:pt x="169" y="159"/>
                </a:moveTo>
                <a:cubicBezTo>
                  <a:pt x="45" y="159"/>
                  <a:pt x="45" y="159"/>
                  <a:pt x="45" y="159"/>
                </a:cubicBezTo>
                <a:cubicBezTo>
                  <a:pt x="45" y="159"/>
                  <a:pt x="45" y="159"/>
                  <a:pt x="45" y="159"/>
                </a:cubicBezTo>
                <a:cubicBezTo>
                  <a:pt x="45" y="150"/>
                  <a:pt x="45" y="150"/>
                  <a:pt x="45" y="150"/>
                </a:cubicBezTo>
                <a:cubicBezTo>
                  <a:pt x="45" y="150"/>
                  <a:pt x="45" y="150"/>
                  <a:pt x="45" y="150"/>
                </a:cubicBezTo>
                <a:cubicBezTo>
                  <a:pt x="169" y="150"/>
                  <a:pt x="169" y="150"/>
                  <a:pt x="169" y="150"/>
                </a:cubicBezTo>
                <a:lnTo>
                  <a:pt x="169" y="159"/>
                </a:lnTo>
                <a:close/>
                <a:moveTo>
                  <a:pt x="185" y="96"/>
                </a:moveTo>
                <a:cubicBezTo>
                  <a:pt x="185" y="87"/>
                  <a:pt x="177" y="81"/>
                  <a:pt x="169" y="81"/>
                </a:cubicBezTo>
                <a:cubicBezTo>
                  <a:pt x="45" y="81"/>
                  <a:pt x="45" y="81"/>
                  <a:pt x="45" y="81"/>
                </a:cubicBezTo>
                <a:cubicBezTo>
                  <a:pt x="37" y="81"/>
                  <a:pt x="30" y="87"/>
                  <a:pt x="29" y="96"/>
                </a:cubicBezTo>
                <a:cubicBezTo>
                  <a:pt x="29" y="108"/>
                  <a:pt x="29" y="108"/>
                  <a:pt x="29" y="108"/>
                </a:cubicBezTo>
                <a:cubicBezTo>
                  <a:pt x="30" y="117"/>
                  <a:pt x="37" y="123"/>
                  <a:pt x="45" y="123"/>
                </a:cubicBezTo>
                <a:cubicBezTo>
                  <a:pt x="169" y="123"/>
                  <a:pt x="169" y="123"/>
                  <a:pt x="169" y="123"/>
                </a:cubicBezTo>
                <a:cubicBezTo>
                  <a:pt x="177" y="123"/>
                  <a:pt x="184" y="117"/>
                  <a:pt x="185" y="108"/>
                </a:cubicBezTo>
                <a:lnTo>
                  <a:pt x="185" y="96"/>
                </a:lnTo>
                <a:close/>
                <a:moveTo>
                  <a:pt x="169" y="107"/>
                </a:moveTo>
                <a:cubicBezTo>
                  <a:pt x="45" y="107"/>
                  <a:pt x="45" y="107"/>
                  <a:pt x="45" y="107"/>
                </a:cubicBezTo>
                <a:cubicBezTo>
                  <a:pt x="45" y="107"/>
                  <a:pt x="45" y="107"/>
                  <a:pt x="45" y="107"/>
                </a:cubicBezTo>
                <a:cubicBezTo>
                  <a:pt x="45" y="97"/>
                  <a:pt x="45" y="97"/>
                  <a:pt x="45" y="97"/>
                </a:cubicBezTo>
                <a:cubicBezTo>
                  <a:pt x="45" y="97"/>
                  <a:pt x="45" y="97"/>
                  <a:pt x="45" y="97"/>
                </a:cubicBezTo>
                <a:cubicBezTo>
                  <a:pt x="169" y="97"/>
                  <a:pt x="169" y="97"/>
                  <a:pt x="169" y="97"/>
                </a:cubicBezTo>
                <a:lnTo>
                  <a:pt x="169" y="107"/>
                </a:lnTo>
                <a:close/>
                <a:moveTo>
                  <a:pt x="185" y="44"/>
                </a:moveTo>
                <a:cubicBezTo>
                  <a:pt x="184" y="34"/>
                  <a:pt x="177" y="29"/>
                  <a:pt x="169" y="29"/>
                </a:cubicBezTo>
                <a:cubicBezTo>
                  <a:pt x="45" y="29"/>
                  <a:pt x="45" y="29"/>
                  <a:pt x="45" y="29"/>
                </a:cubicBezTo>
                <a:cubicBezTo>
                  <a:pt x="37" y="29"/>
                  <a:pt x="30" y="34"/>
                  <a:pt x="29" y="44"/>
                </a:cubicBezTo>
                <a:cubicBezTo>
                  <a:pt x="29" y="56"/>
                  <a:pt x="29" y="56"/>
                  <a:pt x="29" y="56"/>
                </a:cubicBezTo>
                <a:cubicBezTo>
                  <a:pt x="30" y="65"/>
                  <a:pt x="37" y="70"/>
                  <a:pt x="45" y="70"/>
                </a:cubicBezTo>
                <a:cubicBezTo>
                  <a:pt x="169" y="70"/>
                  <a:pt x="169" y="70"/>
                  <a:pt x="169" y="70"/>
                </a:cubicBezTo>
                <a:cubicBezTo>
                  <a:pt x="177" y="70"/>
                  <a:pt x="185" y="65"/>
                  <a:pt x="185" y="56"/>
                </a:cubicBezTo>
                <a:lnTo>
                  <a:pt x="185" y="44"/>
                </a:lnTo>
                <a:close/>
                <a:moveTo>
                  <a:pt x="169" y="54"/>
                </a:moveTo>
                <a:cubicBezTo>
                  <a:pt x="45" y="54"/>
                  <a:pt x="45" y="54"/>
                  <a:pt x="45" y="54"/>
                </a:cubicBezTo>
                <a:cubicBezTo>
                  <a:pt x="45" y="54"/>
                  <a:pt x="45" y="54"/>
                  <a:pt x="45" y="54"/>
                </a:cubicBezTo>
                <a:cubicBezTo>
                  <a:pt x="45" y="45"/>
                  <a:pt x="45" y="45"/>
                  <a:pt x="45" y="45"/>
                </a:cubicBezTo>
                <a:cubicBezTo>
                  <a:pt x="45" y="45"/>
                  <a:pt x="45" y="45"/>
                  <a:pt x="45" y="45"/>
                </a:cubicBezTo>
                <a:cubicBezTo>
                  <a:pt x="169" y="45"/>
                  <a:pt x="169" y="45"/>
                  <a:pt x="169" y="45"/>
                </a:cubicBezTo>
                <a:lnTo>
                  <a:pt x="169" y="54"/>
                </a:lnTo>
                <a:close/>
                <a:moveTo>
                  <a:pt x="212" y="88"/>
                </a:moveTo>
                <a:cubicBezTo>
                  <a:pt x="204" y="88"/>
                  <a:pt x="198" y="94"/>
                  <a:pt x="198" y="102"/>
                </a:cubicBezTo>
                <a:cubicBezTo>
                  <a:pt x="198" y="110"/>
                  <a:pt x="204" y="116"/>
                  <a:pt x="212" y="116"/>
                </a:cubicBezTo>
                <a:cubicBezTo>
                  <a:pt x="220" y="116"/>
                  <a:pt x="226" y="110"/>
                  <a:pt x="226" y="102"/>
                </a:cubicBezTo>
                <a:cubicBezTo>
                  <a:pt x="226" y="94"/>
                  <a:pt x="220" y="88"/>
                  <a:pt x="212" y="88"/>
                </a:cubicBezTo>
                <a:close/>
                <a:moveTo>
                  <a:pt x="212" y="35"/>
                </a:moveTo>
                <a:cubicBezTo>
                  <a:pt x="204" y="35"/>
                  <a:pt x="198" y="42"/>
                  <a:pt x="198" y="50"/>
                </a:cubicBezTo>
                <a:cubicBezTo>
                  <a:pt x="198" y="57"/>
                  <a:pt x="204" y="64"/>
                  <a:pt x="212" y="64"/>
                </a:cubicBezTo>
                <a:cubicBezTo>
                  <a:pt x="220" y="64"/>
                  <a:pt x="226" y="57"/>
                  <a:pt x="226" y="50"/>
                </a:cubicBezTo>
                <a:cubicBezTo>
                  <a:pt x="226" y="42"/>
                  <a:pt x="220" y="35"/>
                  <a:pt x="212" y="35"/>
                </a:cubicBezTo>
                <a:close/>
                <a:moveTo>
                  <a:pt x="212" y="140"/>
                </a:moveTo>
                <a:cubicBezTo>
                  <a:pt x="204" y="140"/>
                  <a:pt x="198" y="147"/>
                  <a:pt x="198" y="155"/>
                </a:cubicBezTo>
                <a:cubicBezTo>
                  <a:pt x="198" y="162"/>
                  <a:pt x="204" y="169"/>
                  <a:pt x="212" y="169"/>
                </a:cubicBezTo>
                <a:cubicBezTo>
                  <a:pt x="220" y="169"/>
                  <a:pt x="226" y="162"/>
                  <a:pt x="226" y="155"/>
                </a:cubicBezTo>
                <a:cubicBezTo>
                  <a:pt x="226" y="147"/>
                  <a:pt x="220" y="140"/>
                  <a:pt x="212" y="140"/>
                </a:cubicBezTo>
                <a:close/>
                <a:moveTo>
                  <a:pt x="212" y="193"/>
                </a:moveTo>
                <a:cubicBezTo>
                  <a:pt x="204" y="193"/>
                  <a:pt x="198" y="199"/>
                  <a:pt x="198" y="207"/>
                </a:cubicBezTo>
                <a:cubicBezTo>
                  <a:pt x="198" y="215"/>
                  <a:pt x="204" y="221"/>
                  <a:pt x="212" y="221"/>
                </a:cubicBezTo>
                <a:cubicBezTo>
                  <a:pt x="220" y="221"/>
                  <a:pt x="226" y="215"/>
                  <a:pt x="226" y="207"/>
                </a:cubicBezTo>
                <a:cubicBezTo>
                  <a:pt x="226" y="199"/>
                  <a:pt x="220" y="193"/>
                  <a:pt x="212" y="193"/>
                </a:cubicBezTo>
                <a:close/>
                <a:moveTo>
                  <a:pt x="212" y="245"/>
                </a:moveTo>
                <a:cubicBezTo>
                  <a:pt x="204" y="245"/>
                  <a:pt x="198" y="252"/>
                  <a:pt x="198" y="259"/>
                </a:cubicBezTo>
                <a:cubicBezTo>
                  <a:pt x="198" y="267"/>
                  <a:pt x="204" y="274"/>
                  <a:pt x="212" y="274"/>
                </a:cubicBezTo>
                <a:cubicBezTo>
                  <a:pt x="220" y="274"/>
                  <a:pt x="226" y="267"/>
                  <a:pt x="226" y="259"/>
                </a:cubicBezTo>
                <a:cubicBezTo>
                  <a:pt x="226" y="252"/>
                  <a:pt x="220" y="245"/>
                  <a:pt x="212" y="245"/>
                </a:cubicBezTo>
                <a:close/>
                <a:moveTo>
                  <a:pt x="212" y="298"/>
                </a:moveTo>
                <a:cubicBezTo>
                  <a:pt x="204" y="298"/>
                  <a:pt x="198" y="304"/>
                  <a:pt x="198" y="312"/>
                </a:cubicBezTo>
                <a:cubicBezTo>
                  <a:pt x="198" y="320"/>
                  <a:pt x="204" y="326"/>
                  <a:pt x="212" y="326"/>
                </a:cubicBezTo>
                <a:cubicBezTo>
                  <a:pt x="220" y="326"/>
                  <a:pt x="226" y="320"/>
                  <a:pt x="226" y="312"/>
                </a:cubicBezTo>
                <a:cubicBezTo>
                  <a:pt x="226" y="304"/>
                  <a:pt x="220" y="298"/>
                  <a:pt x="212" y="298"/>
                </a:cubicBezTo>
                <a:close/>
                <a:moveTo>
                  <a:pt x="212" y="350"/>
                </a:moveTo>
                <a:cubicBezTo>
                  <a:pt x="204" y="350"/>
                  <a:pt x="198" y="356"/>
                  <a:pt x="198" y="364"/>
                </a:cubicBezTo>
                <a:cubicBezTo>
                  <a:pt x="198" y="372"/>
                  <a:pt x="204" y="379"/>
                  <a:pt x="212" y="379"/>
                </a:cubicBezTo>
                <a:cubicBezTo>
                  <a:pt x="220" y="379"/>
                  <a:pt x="226" y="372"/>
                  <a:pt x="226" y="364"/>
                </a:cubicBezTo>
                <a:cubicBezTo>
                  <a:pt x="226" y="356"/>
                  <a:pt x="220" y="350"/>
                  <a:pt x="212" y="350"/>
                </a:cubicBezTo>
                <a:close/>
                <a:moveTo>
                  <a:pt x="247" y="44"/>
                </a:moveTo>
                <a:cubicBezTo>
                  <a:pt x="251" y="44"/>
                  <a:pt x="255" y="41"/>
                  <a:pt x="255" y="36"/>
                </a:cubicBezTo>
                <a:cubicBezTo>
                  <a:pt x="255" y="16"/>
                  <a:pt x="255" y="16"/>
                  <a:pt x="255" y="16"/>
                </a:cubicBezTo>
                <a:cubicBezTo>
                  <a:pt x="255" y="7"/>
                  <a:pt x="248" y="0"/>
                  <a:pt x="23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7" y="0"/>
                  <a:pt x="0" y="7"/>
                  <a:pt x="0" y="16"/>
                </a:cubicBezTo>
                <a:cubicBezTo>
                  <a:pt x="0" y="396"/>
                  <a:pt x="0" y="396"/>
                  <a:pt x="0" y="396"/>
                </a:cubicBezTo>
                <a:cubicBezTo>
                  <a:pt x="0" y="405"/>
                  <a:pt x="7" y="412"/>
                  <a:pt x="16" y="412"/>
                </a:cubicBezTo>
                <a:cubicBezTo>
                  <a:pt x="239" y="412"/>
                  <a:pt x="239" y="412"/>
                  <a:pt x="239" y="412"/>
                </a:cubicBezTo>
                <a:cubicBezTo>
                  <a:pt x="248" y="412"/>
                  <a:pt x="255" y="405"/>
                  <a:pt x="255" y="396"/>
                </a:cubicBezTo>
                <a:cubicBezTo>
                  <a:pt x="255" y="60"/>
                  <a:pt x="255" y="60"/>
                  <a:pt x="255" y="60"/>
                </a:cubicBezTo>
                <a:cubicBezTo>
                  <a:pt x="255" y="56"/>
                  <a:pt x="251" y="52"/>
                  <a:pt x="247" y="52"/>
                </a:cubicBezTo>
                <a:cubicBezTo>
                  <a:pt x="242" y="52"/>
                  <a:pt x="239" y="56"/>
                  <a:pt x="239" y="60"/>
                </a:cubicBezTo>
                <a:cubicBezTo>
                  <a:pt x="239" y="396"/>
                  <a:pt x="239" y="396"/>
                  <a:pt x="239" y="396"/>
                </a:cubicBezTo>
                <a:cubicBezTo>
                  <a:pt x="16" y="396"/>
                  <a:pt x="16" y="396"/>
                  <a:pt x="16" y="396"/>
                </a:cubicBezTo>
                <a:cubicBezTo>
                  <a:pt x="16" y="396"/>
                  <a:pt x="16" y="396"/>
                  <a:pt x="16" y="396"/>
                </a:cubicBezTo>
                <a:cubicBezTo>
                  <a:pt x="16" y="16"/>
                  <a:pt x="16" y="16"/>
                  <a:pt x="16" y="16"/>
                </a:cubicBezTo>
                <a:cubicBezTo>
                  <a:pt x="16" y="16"/>
                  <a:pt x="16" y="16"/>
                  <a:pt x="16" y="16"/>
                </a:cubicBezTo>
                <a:cubicBezTo>
                  <a:pt x="239" y="16"/>
                  <a:pt x="239" y="16"/>
                  <a:pt x="239" y="16"/>
                </a:cubicBezTo>
                <a:cubicBezTo>
                  <a:pt x="239" y="36"/>
                  <a:pt x="239" y="36"/>
                  <a:pt x="239" y="36"/>
                </a:cubicBezTo>
                <a:cubicBezTo>
                  <a:pt x="239" y="41"/>
                  <a:pt x="242" y="44"/>
                  <a:pt x="247" y="44"/>
                </a:cubicBezTo>
                <a:close/>
              </a:path>
            </a:pathLst>
          </a:custGeom>
          <a:blipFill dpi="0" rotWithShape="0">
            <a:blip r:embed="rId6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endParaRPr lang="en-US" smtClean="0">
              <a:solidFill>
                <a:srgbClr val="58585A"/>
              </a:solidFill>
              <a:latin typeface="Arial" pitchFamily="34" charset="0"/>
            </a:endParaRPr>
          </a:p>
        </p:txBody>
      </p:sp>
      <p:sp>
        <p:nvSpPr>
          <p:cNvPr id="8231" name="Freeform 8" descr="bpct-blend2"/>
          <p:cNvSpPr>
            <a:spLocks noChangeAspect="1" noEditPoints="1"/>
          </p:cNvSpPr>
          <p:nvPr/>
        </p:nvSpPr>
        <p:spPr bwMode="auto">
          <a:xfrm>
            <a:off x="3687233" y="4191308"/>
            <a:ext cx="298451" cy="481012"/>
          </a:xfrm>
          <a:custGeom>
            <a:avLst/>
            <a:gdLst>
              <a:gd name="T0" fmla="*/ 2147483647 w 255"/>
              <a:gd name="T1" fmla="*/ 2147483647 h 412"/>
              <a:gd name="T2" fmla="*/ 2147483647 w 255"/>
              <a:gd name="T3" fmla="*/ 2147483647 h 412"/>
              <a:gd name="T4" fmla="*/ 2147483647 w 255"/>
              <a:gd name="T5" fmla="*/ 2147483647 h 412"/>
              <a:gd name="T6" fmla="*/ 2147483647 w 255"/>
              <a:gd name="T7" fmla="*/ 2147483647 h 412"/>
              <a:gd name="T8" fmla="*/ 2147483647 w 255"/>
              <a:gd name="T9" fmla="*/ 2147483647 h 412"/>
              <a:gd name="T10" fmla="*/ 2147483647 w 255"/>
              <a:gd name="T11" fmla="*/ 2147483647 h 412"/>
              <a:gd name="T12" fmla="*/ 2147483647 w 255"/>
              <a:gd name="T13" fmla="*/ 2147483647 h 412"/>
              <a:gd name="T14" fmla="*/ 2147483647 w 255"/>
              <a:gd name="T15" fmla="*/ 2147483647 h 412"/>
              <a:gd name="T16" fmla="*/ 2147483647 w 255"/>
              <a:gd name="T17" fmla="*/ 2147483647 h 412"/>
              <a:gd name="T18" fmla="*/ 2147483647 w 255"/>
              <a:gd name="T19" fmla="*/ 2147483647 h 412"/>
              <a:gd name="T20" fmla="*/ 2147483647 w 255"/>
              <a:gd name="T21" fmla="*/ 2147483647 h 412"/>
              <a:gd name="T22" fmla="*/ 2147483647 w 255"/>
              <a:gd name="T23" fmla="*/ 2147483647 h 412"/>
              <a:gd name="T24" fmla="*/ 2147483647 w 255"/>
              <a:gd name="T25" fmla="*/ 2147483647 h 412"/>
              <a:gd name="T26" fmla="*/ 2147483647 w 255"/>
              <a:gd name="T27" fmla="*/ 2147483647 h 412"/>
              <a:gd name="T28" fmla="*/ 2147483647 w 255"/>
              <a:gd name="T29" fmla="*/ 2147483647 h 412"/>
              <a:gd name="T30" fmla="*/ 2147483647 w 255"/>
              <a:gd name="T31" fmla="*/ 2147483647 h 412"/>
              <a:gd name="T32" fmla="*/ 2147483647 w 255"/>
              <a:gd name="T33" fmla="*/ 2147483647 h 412"/>
              <a:gd name="T34" fmla="*/ 2147483647 w 255"/>
              <a:gd name="T35" fmla="*/ 2147483647 h 412"/>
              <a:gd name="T36" fmla="*/ 2147483647 w 255"/>
              <a:gd name="T37" fmla="*/ 2147483647 h 412"/>
              <a:gd name="T38" fmla="*/ 2147483647 w 255"/>
              <a:gd name="T39" fmla="*/ 2147483647 h 412"/>
              <a:gd name="T40" fmla="*/ 2147483647 w 255"/>
              <a:gd name="T41" fmla="*/ 2147483647 h 412"/>
              <a:gd name="T42" fmla="*/ 2147483647 w 255"/>
              <a:gd name="T43" fmla="*/ 2147483647 h 412"/>
              <a:gd name="T44" fmla="*/ 2147483647 w 255"/>
              <a:gd name="T45" fmla="*/ 2147483647 h 412"/>
              <a:gd name="T46" fmla="*/ 2147483647 w 255"/>
              <a:gd name="T47" fmla="*/ 2147483647 h 412"/>
              <a:gd name="T48" fmla="*/ 2147483647 w 255"/>
              <a:gd name="T49" fmla="*/ 2147483647 h 412"/>
              <a:gd name="T50" fmla="*/ 2147483647 w 255"/>
              <a:gd name="T51" fmla="*/ 2147483647 h 412"/>
              <a:gd name="T52" fmla="*/ 2147483647 w 255"/>
              <a:gd name="T53" fmla="*/ 2147483647 h 412"/>
              <a:gd name="T54" fmla="*/ 2147483647 w 255"/>
              <a:gd name="T55" fmla="*/ 2147483647 h 412"/>
              <a:gd name="T56" fmla="*/ 2147483647 w 255"/>
              <a:gd name="T57" fmla="*/ 2147483647 h 412"/>
              <a:gd name="T58" fmla="*/ 2147483647 w 255"/>
              <a:gd name="T59" fmla="*/ 2147483647 h 412"/>
              <a:gd name="T60" fmla="*/ 2147483647 w 255"/>
              <a:gd name="T61" fmla="*/ 2147483647 h 412"/>
              <a:gd name="T62" fmla="*/ 2147483647 w 255"/>
              <a:gd name="T63" fmla="*/ 2147483647 h 412"/>
              <a:gd name="T64" fmla="*/ 2147483647 w 255"/>
              <a:gd name="T65" fmla="*/ 2147483647 h 412"/>
              <a:gd name="T66" fmla="*/ 2147483647 w 255"/>
              <a:gd name="T67" fmla="*/ 2147483647 h 412"/>
              <a:gd name="T68" fmla="*/ 2147483647 w 255"/>
              <a:gd name="T69" fmla="*/ 2147483647 h 412"/>
              <a:gd name="T70" fmla="*/ 2147483647 w 255"/>
              <a:gd name="T71" fmla="*/ 2147483647 h 412"/>
              <a:gd name="T72" fmla="*/ 2147483647 w 255"/>
              <a:gd name="T73" fmla="*/ 2147483647 h 412"/>
              <a:gd name="T74" fmla="*/ 2147483647 w 255"/>
              <a:gd name="T75" fmla="*/ 2147483647 h 412"/>
              <a:gd name="T76" fmla="*/ 2147483647 w 255"/>
              <a:gd name="T77" fmla="*/ 2147483647 h 412"/>
              <a:gd name="T78" fmla="*/ 2147483647 w 255"/>
              <a:gd name="T79" fmla="*/ 2147483647 h 412"/>
              <a:gd name="T80" fmla="*/ 2147483647 w 255"/>
              <a:gd name="T81" fmla="*/ 2147483647 h 412"/>
              <a:gd name="T82" fmla="*/ 2147483647 w 255"/>
              <a:gd name="T83" fmla="*/ 2147483647 h 412"/>
              <a:gd name="T84" fmla="*/ 2147483647 w 255"/>
              <a:gd name="T85" fmla="*/ 2147483647 h 412"/>
              <a:gd name="T86" fmla="*/ 2147483647 w 255"/>
              <a:gd name="T87" fmla="*/ 2147483647 h 412"/>
              <a:gd name="T88" fmla="*/ 2147483647 w 255"/>
              <a:gd name="T89" fmla="*/ 2147483647 h 412"/>
              <a:gd name="T90" fmla="*/ 2147483647 w 255"/>
              <a:gd name="T91" fmla="*/ 2147483647 h 412"/>
              <a:gd name="T92" fmla="*/ 2147483647 w 255"/>
              <a:gd name="T93" fmla="*/ 2147483647 h 412"/>
              <a:gd name="T94" fmla="*/ 2147483647 w 255"/>
              <a:gd name="T95" fmla="*/ 2147483647 h 412"/>
              <a:gd name="T96" fmla="*/ 2147483647 w 255"/>
              <a:gd name="T97" fmla="*/ 2147483647 h 412"/>
              <a:gd name="T98" fmla="*/ 2147483647 w 255"/>
              <a:gd name="T99" fmla="*/ 2147483647 h 412"/>
              <a:gd name="T100" fmla="*/ 0 w 255"/>
              <a:gd name="T101" fmla="*/ 2147483647 h 412"/>
              <a:gd name="T102" fmla="*/ 2147483647 w 255"/>
              <a:gd name="T103" fmla="*/ 2147483647 h 412"/>
              <a:gd name="T104" fmla="*/ 2147483647 w 255"/>
              <a:gd name="T105" fmla="*/ 2147483647 h 412"/>
              <a:gd name="T106" fmla="*/ 2147483647 w 255"/>
              <a:gd name="T107" fmla="*/ 2147483647 h 412"/>
              <a:gd name="T108" fmla="*/ 2147483647 w 255"/>
              <a:gd name="T109" fmla="*/ 2147483647 h 412"/>
              <a:gd name="T110" fmla="*/ 2147483647 w 255"/>
              <a:gd name="T111" fmla="*/ 2147483647 h 41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55"/>
              <a:gd name="T169" fmla="*/ 0 h 412"/>
              <a:gd name="T170" fmla="*/ 255 w 255"/>
              <a:gd name="T171" fmla="*/ 412 h 412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55" h="412">
                <a:moveTo>
                  <a:pt x="169" y="344"/>
                </a:moveTo>
                <a:cubicBezTo>
                  <a:pt x="45" y="344"/>
                  <a:pt x="45" y="344"/>
                  <a:pt x="45" y="344"/>
                </a:cubicBezTo>
                <a:cubicBezTo>
                  <a:pt x="37" y="344"/>
                  <a:pt x="30" y="349"/>
                  <a:pt x="29" y="358"/>
                </a:cubicBezTo>
                <a:cubicBezTo>
                  <a:pt x="29" y="370"/>
                  <a:pt x="29" y="370"/>
                  <a:pt x="29" y="370"/>
                </a:cubicBezTo>
                <a:cubicBezTo>
                  <a:pt x="30" y="380"/>
                  <a:pt x="37" y="385"/>
                  <a:pt x="45" y="385"/>
                </a:cubicBezTo>
                <a:cubicBezTo>
                  <a:pt x="169" y="385"/>
                  <a:pt x="169" y="385"/>
                  <a:pt x="169" y="385"/>
                </a:cubicBezTo>
                <a:cubicBezTo>
                  <a:pt x="177" y="385"/>
                  <a:pt x="185" y="380"/>
                  <a:pt x="185" y="370"/>
                </a:cubicBezTo>
                <a:cubicBezTo>
                  <a:pt x="185" y="358"/>
                  <a:pt x="185" y="358"/>
                  <a:pt x="185" y="358"/>
                </a:cubicBezTo>
                <a:cubicBezTo>
                  <a:pt x="184" y="349"/>
                  <a:pt x="177" y="344"/>
                  <a:pt x="169" y="344"/>
                </a:cubicBezTo>
                <a:close/>
                <a:moveTo>
                  <a:pt x="169" y="369"/>
                </a:moveTo>
                <a:cubicBezTo>
                  <a:pt x="45" y="369"/>
                  <a:pt x="45" y="369"/>
                  <a:pt x="45" y="369"/>
                </a:cubicBezTo>
                <a:cubicBezTo>
                  <a:pt x="45" y="369"/>
                  <a:pt x="45" y="369"/>
                  <a:pt x="45" y="369"/>
                </a:cubicBezTo>
                <a:cubicBezTo>
                  <a:pt x="45" y="360"/>
                  <a:pt x="45" y="360"/>
                  <a:pt x="45" y="360"/>
                </a:cubicBezTo>
                <a:cubicBezTo>
                  <a:pt x="45" y="360"/>
                  <a:pt x="45" y="360"/>
                  <a:pt x="45" y="360"/>
                </a:cubicBezTo>
                <a:cubicBezTo>
                  <a:pt x="169" y="360"/>
                  <a:pt x="169" y="360"/>
                  <a:pt x="169" y="360"/>
                </a:cubicBezTo>
                <a:lnTo>
                  <a:pt x="169" y="369"/>
                </a:lnTo>
                <a:close/>
                <a:moveTo>
                  <a:pt x="185" y="306"/>
                </a:moveTo>
                <a:cubicBezTo>
                  <a:pt x="185" y="297"/>
                  <a:pt x="177" y="291"/>
                  <a:pt x="169" y="291"/>
                </a:cubicBezTo>
                <a:cubicBezTo>
                  <a:pt x="45" y="291"/>
                  <a:pt x="45" y="291"/>
                  <a:pt x="45" y="291"/>
                </a:cubicBezTo>
                <a:cubicBezTo>
                  <a:pt x="37" y="291"/>
                  <a:pt x="30" y="297"/>
                  <a:pt x="29" y="306"/>
                </a:cubicBezTo>
                <a:cubicBezTo>
                  <a:pt x="29" y="318"/>
                  <a:pt x="29" y="318"/>
                  <a:pt x="29" y="318"/>
                </a:cubicBezTo>
                <a:cubicBezTo>
                  <a:pt x="30" y="327"/>
                  <a:pt x="37" y="333"/>
                  <a:pt x="45" y="333"/>
                </a:cubicBezTo>
                <a:cubicBezTo>
                  <a:pt x="169" y="333"/>
                  <a:pt x="169" y="333"/>
                  <a:pt x="169" y="333"/>
                </a:cubicBezTo>
                <a:cubicBezTo>
                  <a:pt x="177" y="333"/>
                  <a:pt x="184" y="327"/>
                  <a:pt x="185" y="318"/>
                </a:cubicBezTo>
                <a:lnTo>
                  <a:pt x="185" y="306"/>
                </a:lnTo>
                <a:close/>
                <a:moveTo>
                  <a:pt x="169" y="317"/>
                </a:moveTo>
                <a:cubicBezTo>
                  <a:pt x="45" y="317"/>
                  <a:pt x="45" y="317"/>
                  <a:pt x="45" y="317"/>
                </a:cubicBezTo>
                <a:cubicBezTo>
                  <a:pt x="45" y="317"/>
                  <a:pt x="45" y="317"/>
                  <a:pt x="45" y="317"/>
                </a:cubicBezTo>
                <a:cubicBezTo>
                  <a:pt x="45" y="307"/>
                  <a:pt x="45" y="307"/>
                  <a:pt x="45" y="307"/>
                </a:cubicBezTo>
                <a:cubicBezTo>
                  <a:pt x="45" y="307"/>
                  <a:pt x="45" y="307"/>
                  <a:pt x="45" y="307"/>
                </a:cubicBezTo>
                <a:cubicBezTo>
                  <a:pt x="169" y="307"/>
                  <a:pt x="169" y="307"/>
                  <a:pt x="169" y="307"/>
                </a:cubicBezTo>
                <a:lnTo>
                  <a:pt x="169" y="317"/>
                </a:lnTo>
                <a:close/>
                <a:moveTo>
                  <a:pt x="185" y="253"/>
                </a:moveTo>
                <a:cubicBezTo>
                  <a:pt x="184" y="244"/>
                  <a:pt x="177" y="239"/>
                  <a:pt x="169" y="239"/>
                </a:cubicBezTo>
                <a:cubicBezTo>
                  <a:pt x="45" y="239"/>
                  <a:pt x="45" y="239"/>
                  <a:pt x="45" y="239"/>
                </a:cubicBezTo>
                <a:cubicBezTo>
                  <a:pt x="37" y="239"/>
                  <a:pt x="30" y="244"/>
                  <a:pt x="29" y="253"/>
                </a:cubicBezTo>
                <a:cubicBezTo>
                  <a:pt x="29" y="265"/>
                  <a:pt x="29" y="265"/>
                  <a:pt x="29" y="265"/>
                </a:cubicBezTo>
                <a:cubicBezTo>
                  <a:pt x="30" y="275"/>
                  <a:pt x="37" y="280"/>
                  <a:pt x="45" y="280"/>
                </a:cubicBezTo>
                <a:cubicBezTo>
                  <a:pt x="169" y="280"/>
                  <a:pt x="169" y="280"/>
                  <a:pt x="169" y="280"/>
                </a:cubicBezTo>
                <a:cubicBezTo>
                  <a:pt x="177" y="280"/>
                  <a:pt x="185" y="275"/>
                  <a:pt x="185" y="265"/>
                </a:cubicBezTo>
                <a:lnTo>
                  <a:pt x="185" y="253"/>
                </a:lnTo>
                <a:close/>
                <a:moveTo>
                  <a:pt x="169" y="264"/>
                </a:moveTo>
                <a:cubicBezTo>
                  <a:pt x="45" y="264"/>
                  <a:pt x="45" y="264"/>
                  <a:pt x="45" y="264"/>
                </a:cubicBezTo>
                <a:cubicBezTo>
                  <a:pt x="45" y="264"/>
                  <a:pt x="45" y="264"/>
                  <a:pt x="45" y="264"/>
                </a:cubicBezTo>
                <a:cubicBezTo>
                  <a:pt x="45" y="255"/>
                  <a:pt x="45" y="255"/>
                  <a:pt x="45" y="255"/>
                </a:cubicBezTo>
                <a:cubicBezTo>
                  <a:pt x="45" y="255"/>
                  <a:pt x="45" y="255"/>
                  <a:pt x="45" y="255"/>
                </a:cubicBezTo>
                <a:cubicBezTo>
                  <a:pt x="169" y="255"/>
                  <a:pt x="169" y="255"/>
                  <a:pt x="169" y="255"/>
                </a:cubicBezTo>
                <a:lnTo>
                  <a:pt x="169" y="264"/>
                </a:lnTo>
                <a:close/>
                <a:moveTo>
                  <a:pt x="185" y="201"/>
                </a:moveTo>
                <a:cubicBezTo>
                  <a:pt x="185" y="192"/>
                  <a:pt x="177" y="186"/>
                  <a:pt x="169" y="186"/>
                </a:cubicBezTo>
                <a:cubicBezTo>
                  <a:pt x="45" y="186"/>
                  <a:pt x="45" y="186"/>
                  <a:pt x="45" y="186"/>
                </a:cubicBezTo>
                <a:cubicBezTo>
                  <a:pt x="37" y="186"/>
                  <a:pt x="30" y="192"/>
                  <a:pt x="29" y="201"/>
                </a:cubicBezTo>
                <a:cubicBezTo>
                  <a:pt x="29" y="213"/>
                  <a:pt x="29" y="213"/>
                  <a:pt x="29" y="213"/>
                </a:cubicBezTo>
                <a:cubicBezTo>
                  <a:pt x="30" y="222"/>
                  <a:pt x="37" y="228"/>
                  <a:pt x="45" y="228"/>
                </a:cubicBezTo>
                <a:cubicBezTo>
                  <a:pt x="169" y="228"/>
                  <a:pt x="169" y="228"/>
                  <a:pt x="169" y="228"/>
                </a:cubicBezTo>
                <a:cubicBezTo>
                  <a:pt x="177" y="228"/>
                  <a:pt x="184" y="222"/>
                  <a:pt x="185" y="213"/>
                </a:cubicBezTo>
                <a:lnTo>
                  <a:pt x="185" y="201"/>
                </a:lnTo>
                <a:close/>
                <a:moveTo>
                  <a:pt x="169" y="212"/>
                </a:moveTo>
                <a:cubicBezTo>
                  <a:pt x="45" y="212"/>
                  <a:pt x="45" y="212"/>
                  <a:pt x="45" y="212"/>
                </a:cubicBezTo>
                <a:cubicBezTo>
                  <a:pt x="45" y="212"/>
                  <a:pt x="45" y="212"/>
                  <a:pt x="45" y="212"/>
                </a:cubicBezTo>
                <a:cubicBezTo>
                  <a:pt x="45" y="202"/>
                  <a:pt x="45" y="202"/>
                  <a:pt x="45" y="202"/>
                </a:cubicBezTo>
                <a:cubicBezTo>
                  <a:pt x="45" y="202"/>
                  <a:pt x="45" y="202"/>
                  <a:pt x="45" y="202"/>
                </a:cubicBezTo>
                <a:cubicBezTo>
                  <a:pt x="169" y="202"/>
                  <a:pt x="169" y="202"/>
                  <a:pt x="169" y="202"/>
                </a:cubicBezTo>
                <a:lnTo>
                  <a:pt x="169" y="212"/>
                </a:lnTo>
                <a:close/>
                <a:moveTo>
                  <a:pt x="185" y="148"/>
                </a:moveTo>
                <a:cubicBezTo>
                  <a:pt x="184" y="139"/>
                  <a:pt x="177" y="134"/>
                  <a:pt x="169" y="134"/>
                </a:cubicBezTo>
                <a:cubicBezTo>
                  <a:pt x="45" y="134"/>
                  <a:pt x="45" y="134"/>
                  <a:pt x="45" y="134"/>
                </a:cubicBezTo>
                <a:cubicBezTo>
                  <a:pt x="37" y="134"/>
                  <a:pt x="30" y="139"/>
                  <a:pt x="29" y="148"/>
                </a:cubicBezTo>
                <a:cubicBezTo>
                  <a:pt x="29" y="161"/>
                  <a:pt x="29" y="161"/>
                  <a:pt x="29" y="161"/>
                </a:cubicBezTo>
                <a:cubicBezTo>
                  <a:pt x="30" y="170"/>
                  <a:pt x="37" y="175"/>
                  <a:pt x="45" y="175"/>
                </a:cubicBezTo>
                <a:cubicBezTo>
                  <a:pt x="169" y="175"/>
                  <a:pt x="169" y="175"/>
                  <a:pt x="169" y="175"/>
                </a:cubicBezTo>
                <a:cubicBezTo>
                  <a:pt x="177" y="175"/>
                  <a:pt x="185" y="170"/>
                  <a:pt x="185" y="161"/>
                </a:cubicBezTo>
                <a:lnTo>
                  <a:pt x="185" y="148"/>
                </a:lnTo>
                <a:close/>
                <a:moveTo>
                  <a:pt x="169" y="159"/>
                </a:moveTo>
                <a:cubicBezTo>
                  <a:pt x="45" y="159"/>
                  <a:pt x="45" y="159"/>
                  <a:pt x="45" y="159"/>
                </a:cubicBezTo>
                <a:cubicBezTo>
                  <a:pt x="45" y="159"/>
                  <a:pt x="45" y="159"/>
                  <a:pt x="45" y="159"/>
                </a:cubicBezTo>
                <a:cubicBezTo>
                  <a:pt x="45" y="150"/>
                  <a:pt x="45" y="150"/>
                  <a:pt x="45" y="150"/>
                </a:cubicBezTo>
                <a:cubicBezTo>
                  <a:pt x="45" y="150"/>
                  <a:pt x="45" y="150"/>
                  <a:pt x="45" y="150"/>
                </a:cubicBezTo>
                <a:cubicBezTo>
                  <a:pt x="169" y="150"/>
                  <a:pt x="169" y="150"/>
                  <a:pt x="169" y="150"/>
                </a:cubicBezTo>
                <a:lnTo>
                  <a:pt x="169" y="159"/>
                </a:lnTo>
                <a:close/>
                <a:moveTo>
                  <a:pt x="185" y="96"/>
                </a:moveTo>
                <a:cubicBezTo>
                  <a:pt x="185" y="87"/>
                  <a:pt x="177" y="81"/>
                  <a:pt x="169" y="81"/>
                </a:cubicBezTo>
                <a:cubicBezTo>
                  <a:pt x="45" y="81"/>
                  <a:pt x="45" y="81"/>
                  <a:pt x="45" y="81"/>
                </a:cubicBezTo>
                <a:cubicBezTo>
                  <a:pt x="37" y="81"/>
                  <a:pt x="30" y="87"/>
                  <a:pt x="29" y="96"/>
                </a:cubicBezTo>
                <a:cubicBezTo>
                  <a:pt x="29" y="108"/>
                  <a:pt x="29" y="108"/>
                  <a:pt x="29" y="108"/>
                </a:cubicBezTo>
                <a:cubicBezTo>
                  <a:pt x="30" y="117"/>
                  <a:pt x="37" y="123"/>
                  <a:pt x="45" y="123"/>
                </a:cubicBezTo>
                <a:cubicBezTo>
                  <a:pt x="169" y="123"/>
                  <a:pt x="169" y="123"/>
                  <a:pt x="169" y="123"/>
                </a:cubicBezTo>
                <a:cubicBezTo>
                  <a:pt x="177" y="123"/>
                  <a:pt x="184" y="117"/>
                  <a:pt x="185" y="108"/>
                </a:cubicBezTo>
                <a:lnTo>
                  <a:pt x="185" y="96"/>
                </a:lnTo>
                <a:close/>
                <a:moveTo>
                  <a:pt x="169" y="107"/>
                </a:moveTo>
                <a:cubicBezTo>
                  <a:pt x="45" y="107"/>
                  <a:pt x="45" y="107"/>
                  <a:pt x="45" y="107"/>
                </a:cubicBezTo>
                <a:cubicBezTo>
                  <a:pt x="45" y="107"/>
                  <a:pt x="45" y="107"/>
                  <a:pt x="45" y="107"/>
                </a:cubicBezTo>
                <a:cubicBezTo>
                  <a:pt x="45" y="97"/>
                  <a:pt x="45" y="97"/>
                  <a:pt x="45" y="97"/>
                </a:cubicBezTo>
                <a:cubicBezTo>
                  <a:pt x="45" y="97"/>
                  <a:pt x="45" y="97"/>
                  <a:pt x="45" y="97"/>
                </a:cubicBezTo>
                <a:cubicBezTo>
                  <a:pt x="169" y="97"/>
                  <a:pt x="169" y="97"/>
                  <a:pt x="169" y="97"/>
                </a:cubicBezTo>
                <a:lnTo>
                  <a:pt x="169" y="107"/>
                </a:lnTo>
                <a:close/>
                <a:moveTo>
                  <a:pt x="185" y="44"/>
                </a:moveTo>
                <a:cubicBezTo>
                  <a:pt x="184" y="34"/>
                  <a:pt x="177" y="29"/>
                  <a:pt x="169" y="29"/>
                </a:cubicBezTo>
                <a:cubicBezTo>
                  <a:pt x="45" y="29"/>
                  <a:pt x="45" y="29"/>
                  <a:pt x="45" y="29"/>
                </a:cubicBezTo>
                <a:cubicBezTo>
                  <a:pt x="37" y="29"/>
                  <a:pt x="30" y="34"/>
                  <a:pt x="29" y="44"/>
                </a:cubicBezTo>
                <a:cubicBezTo>
                  <a:pt x="29" y="56"/>
                  <a:pt x="29" y="56"/>
                  <a:pt x="29" y="56"/>
                </a:cubicBezTo>
                <a:cubicBezTo>
                  <a:pt x="30" y="65"/>
                  <a:pt x="37" y="70"/>
                  <a:pt x="45" y="70"/>
                </a:cubicBezTo>
                <a:cubicBezTo>
                  <a:pt x="169" y="70"/>
                  <a:pt x="169" y="70"/>
                  <a:pt x="169" y="70"/>
                </a:cubicBezTo>
                <a:cubicBezTo>
                  <a:pt x="177" y="70"/>
                  <a:pt x="185" y="65"/>
                  <a:pt x="185" y="56"/>
                </a:cubicBezTo>
                <a:lnTo>
                  <a:pt x="185" y="44"/>
                </a:lnTo>
                <a:close/>
                <a:moveTo>
                  <a:pt x="169" y="54"/>
                </a:moveTo>
                <a:cubicBezTo>
                  <a:pt x="45" y="54"/>
                  <a:pt x="45" y="54"/>
                  <a:pt x="45" y="54"/>
                </a:cubicBezTo>
                <a:cubicBezTo>
                  <a:pt x="45" y="54"/>
                  <a:pt x="45" y="54"/>
                  <a:pt x="45" y="54"/>
                </a:cubicBezTo>
                <a:cubicBezTo>
                  <a:pt x="45" y="45"/>
                  <a:pt x="45" y="45"/>
                  <a:pt x="45" y="45"/>
                </a:cubicBezTo>
                <a:cubicBezTo>
                  <a:pt x="45" y="45"/>
                  <a:pt x="45" y="45"/>
                  <a:pt x="45" y="45"/>
                </a:cubicBezTo>
                <a:cubicBezTo>
                  <a:pt x="169" y="45"/>
                  <a:pt x="169" y="45"/>
                  <a:pt x="169" y="45"/>
                </a:cubicBezTo>
                <a:lnTo>
                  <a:pt x="169" y="54"/>
                </a:lnTo>
                <a:close/>
                <a:moveTo>
                  <a:pt x="212" y="88"/>
                </a:moveTo>
                <a:cubicBezTo>
                  <a:pt x="204" y="88"/>
                  <a:pt x="198" y="94"/>
                  <a:pt x="198" y="102"/>
                </a:cubicBezTo>
                <a:cubicBezTo>
                  <a:pt x="198" y="110"/>
                  <a:pt x="204" y="116"/>
                  <a:pt x="212" y="116"/>
                </a:cubicBezTo>
                <a:cubicBezTo>
                  <a:pt x="220" y="116"/>
                  <a:pt x="226" y="110"/>
                  <a:pt x="226" y="102"/>
                </a:cubicBezTo>
                <a:cubicBezTo>
                  <a:pt x="226" y="94"/>
                  <a:pt x="220" y="88"/>
                  <a:pt x="212" y="88"/>
                </a:cubicBezTo>
                <a:close/>
                <a:moveTo>
                  <a:pt x="212" y="35"/>
                </a:moveTo>
                <a:cubicBezTo>
                  <a:pt x="204" y="35"/>
                  <a:pt x="198" y="42"/>
                  <a:pt x="198" y="50"/>
                </a:cubicBezTo>
                <a:cubicBezTo>
                  <a:pt x="198" y="57"/>
                  <a:pt x="204" y="64"/>
                  <a:pt x="212" y="64"/>
                </a:cubicBezTo>
                <a:cubicBezTo>
                  <a:pt x="220" y="64"/>
                  <a:pt x="226" y="57"/>
                  <a:pt x="226" y="50"/>
                </a:cubicBezTo>
                <a:cubicBezTo>
                  <a:pt x="226" y="42"/>
                  <a:pt x="220" y="35"/>
                  <a:pt x="212" y="35"/>
                </a:cubicBezTo>
                <a:close/>
                <a:moveTo>
                  <a:pt x="212" y="140"/>
                </a:moveTo>
                <a:cubicBezTo>
                  <a:pt x="204" y="140"/>
                  <a:pt x="198" y="147"/>
                  <a:pt x="198" y="155"/>
                </a:cubicBezTo>
                <a:cubicBezTo>
                  <a:pt x="198" y="162"/>
                  <a:pt x="204" y="169"/>
                  <a:pt x="212" y="169"/>
                </a:cubicBezTo>
                <a:cubicBezTo>
                  <a:pt x="220" y="169"/>
                  <a:pt x="226" y="162"/>
                  <a:pt x="226" y="155"/>
                </a:cubicBezTo>
                <a:cubicBezTo>
                  <a:pt x="226" y="147"/>
                  <a:pt x="220" y="140"/>
                  <a:pt x="212" y="140"/>
                </a:cubicBezTo>
                <a:close/>
                <a:moveTo>
                  <a:pt x="212" y="193"/>
                </a:moveTo>
                <a:cubicBezTo>
                  <a:pt x="204" y="193"/>
                  <a:pt x="198" y="199"/>
                  <a:pt x="198" y="207"/>
                </a:cubicBezTo>
                <a:cubicBezTo>
                  <a:pt x="198" y="215"/>
                  <a:pt x="204" y="221"/>
                  <a:pt x="212" y="221"/>
                </a:cubicBezTo>
                <a:cubicBezTo>
                  <a:pt x="220" y="221"/>
                  <a:pt x="226" y="215"/>
                  <a:pt x="226" y="207"/>
                </a:cubicBezTo>
                <a:cubicBezTo>
                  <a:pt x="226" y="199"/>
                  <a:pt x="220" y="193"/>
                  <a:pt x="212" y="193"/>
                </a:cubicBezTo>
                <a:close/>
                <a:moveTo>
                  <a:pt x="212" y="245"/>
                </a:moveTo>
                <a:cubicBezTo>
                  <a:pt x="204" y="245"/>
                  <a:pt x="198" y="252"/>
                  <a:pt x="198" y="259"/>
                </a:cubicBezTo>
                <a:cubicBezTo>
                  <a:pt x="198" y="267"/>
                  <a:pt x="204" y="274"/>
                  <a:pt x="212" y="274"/>
                </a:cubicBezTo>
                <a:cubicBezTo>
                  <a:pt x="220" y="274"/>
                  <a:pt x="226" y="267"/>
                  <a:pt x="226" y="259"/>
                </a:cubicBezTo>
                <a:cubicBezTo>
                  <a:pt x="226" y="252"/>
                  <a:pt x="220" y="245"/>
                  <a:pt x="212" y="245"/>
                </a:cubicBezTo>
                <a:close/>
                <a:moveTo>
                  <a:pt x="212" y="298"/>
                </a:moveTo>
                <a:cubicBezTo>
                  <a:pt x="204" y="298"/>
                  <a:pt x="198" y="304"/>
                  <a:pt x="198" y="312"/>
                </a:cubicBezTo>
                <a:cubicBezTo>
                  <a:pt x="198" y="320"/>
                  <a:pt x="204" y="326"/>
                  <a:pt x="212" y="326"/>
                </a:cubicBezTo>
                <a:cubicBezTo>
                  <a:pt x="220" y="326"/>
                  <a:pt x="226" y="320"/>
                  <a:pt x="226" y="312"/>
                </a:cubicBezTo>
                <a:cubicBezTo>
                  <a:pt x="226" y="304"/>
                  <a:pt x="220" y="298"/>
                  <a:pt x="212" y="298"/>
                </a:cubicBezTo>
                <a:close/>
                <a:moveTo>
                  <a:pt x="212" y="350"/>
                </a:moveTo>
                <a:cubicBezTo>
                  <a:pt x="204" y="350"/>
                  <a:pt x="198" y="356"/>
                  <a:pt x="198" y="364"/>
                </a:cubicBezTo>
                <a:cubicBezTo>
                  <a:pt x="198" y="372"/>
                  <a:pt x="204" y="379"/>
                  <a:pt x="212" y="379"/>
                </a:cubicBezTo>
                <a:cubicBezTo>
                  <a:pt x="220" y="379"/>
                  <a:pt x="226" y="372"/>
                  <a:pt x="226" y="364"/>
                </a:cubicBezTo>
                <a:cubicBezTo>
                  <a:pt x="226" y="356"/>
                  <a:pt x="220" y="350"/>
                  <a:pt x="212" y="350"/>
                </a:cubicBezTo>
                <a:close/>
                <a:moveTo>
                  <a:pt x="247" y="44"/>
                </a:moveTo>
                <a:cubicBezTo>
                  <a:pt x="251" y="44"/>
                  <a:pt x="255" y="41"/>
                  <a:pt x="255" y="36"/>
                </a:cubicBezTo>
                <a:cubicBezTo>
                  <a:pt x="255" y="16"/>
                  <a:pt x="255" y="16"/>
                  <a:pt x="255" y="16"/>
                </a:cubicBezTo>
                <a:cubicBezTo>
                  <a:pt x="255" y="7"/>
                  <a:pt x="248" y="0"/>
                  <a:pt x="23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7" y="0"/>
                  <a:pt x="0" y="7"/>
                  <a:pt x="0" y="16"/>
                </a:cubicBezTo>
                <a:cubicBezTo>
                  <a:pt x="0" y="396"/>
                  <a:pt x="0" y="396"/>
                  <a:pt x="0" y="396"/>
                </a:cubicBezTo>
                <a:cubicBezTo>
                  <a:pt x="0" y="405"/>
                  <a:pt x="7" y="412"/>
                  <a:pt x="16" y="412"/>
                </a:cubicBezTo>
                <a:cubicBezTo>
                  <a:pt x="239" y="412"/>
                  <a:pt x="239" y="412"/>
                  <a:pt x="239" y="412"/>
                </a:cubicBezTo>
                <a:cubicBezTo>
                  <a:pt x="248" y="412"/>
                  <a:pt x="255" y="405"/>
                  <a:pt x="255" y="396"/>
                </a:cubicBezTo>
                <a:cubicBezTo>
                  <a:pt x="255" y="60"/>
                  <a:pt x="255" y="60"/>
                  <a:pt x="255" y="60"/>
                </a:cubicBezTo>
                <a:cubicBezTo>
                  <a:pt x="255" y="56"/>
                  <a:pt x="251" y="52"/>
                  <a:pt x="247" y="52"/>
                </a:cubicBezTo>
                <a:cubicBezTo>
                  <a:pt x="242" y="52"/>
                  <a:pt x="239" y="56"/>
                  <a:pt x="239" y="60"/>
                </a:cubicBezTo>
                <a:cubicBezTo>
                  <a:pt x="239" y="396"/>
                  <a:pt x="239" y="396"/>
                  <a:pt x="239" y="396"/>
                </a:cubicBezTo>
                <a:cubicBezTo>
                  <a:pt x="16" y="396"/>
                  <a:pt x="16" y="396"/>
                  <a:pt x="16" y="396"/>
                </a:cubicBezTo>
                <a:cubicBezTo>
                  <a:pt x="16" y="396"/>
                  <a:pt x="16" y="396"/>
                  <a:pt x="16" y="396"/>
                </a:cubicBezTo>
                <a:cubicBezTo>
                  <a:pt x="16" y="16"/>
                  <a:pt x="16" y="16"/>
                  <a:pt x="16" y="16"/>
                </a:cubicBezTo>
                <a:cubicBezTo>
                  <a:pt x="16" y="16"/>
                  <a:pt x="16" y="16"/>
                  <a:pt x="16" y="16"/>
                </a:cubicBezTo>
                <a:cubicBezTo>
                  <a:pt x="239" y="16"/>
                  <a:pt x="239" y="16"/>
                  <a:pt x="239" y="16"/>
                </a:cubicBezTo>
                <a:cubicBezTo>
                  <a:pt x="239" y="36"/>
                  <a:pt x="239" y="36"/>
                  <a:pt x="239" y="36"/>
                </a:cubicBezTo>
                <a:cubicBezTo>
                  <a:pt x="239" y="41"/>
                  <a:pt x="242" y="44"/>
                  <a:pt x="247" y="44"/>
                </a:cubicBezTo>
                <a:close/>
              </a:path>
            </a:pathLst>
          </a:custGeom>
          <a:blipFill dpi="0" rotWithShape="0">
            <a:blip r:embed="rId6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endParaRPr lang="en-US" smtClean="0">
              <a:solidFill>
                <a:srgbClr val="58585A"/>
              </a:solidFill>
              <a:latin typeface="Arial" pitchFamily="34" charset="0"/>
            </a:endParaRPr>
          </a:p>
        </p:txBody>
      </p:sp>
      <p:sp>
        <p:nvSpPr>
          <p:cNvPr id="8232" name="Freeform 8" descr="bpct-blend6"/>
          <p:cNvSpPr>
            <a:spLocks noChangeAspect="1" noEditPoints="1"/>
          </p:cNvSpPr>
          <p:nvPr/>
        </p:nvSpPr>
        <p:spPr bwMode="auto">
          <a:xfrm>
            <a:off x="3687233" y="3638858"/>
            <a:ext cx="298451" cy="481012"/>
          </a:xfrm>
          <a:custGeom>
            <a:avLst/>
            <a:gdLst>
              <a:gd name="T0" fmla="*/ 2147483647 w 255"/>
              <a:gd name="T1" fmla="*/ 2147483647 h 412"/>
              <a:gd name="T2" fmla="*/ 2147483647 w 255"/>
              <a:gd name="T3" fmla="*/ 2147483647 h 412"/>
              <a:gd name="T4" fmla="*/ 2147483647 w 255"/>
              <a:gd name="T5" fmla="*/ 2147483647 h 412"/>
              <a:gd name="T6" fmla="*/ 2147483647 w 255"/>
              <a:gd name="T7" fmla="*/ 2147483647 h 412"/>
              <a:gd name="T8" fmla="*/ 2147483647 w 255"/>
              <a:gd name="T9" fmla="*/ 2147483647 h 412"/>
              <a:gd name="T10" fmla="*/ 2147483647 w 255"/>
              <a:gd name="T11" fmla="*/ 2147483647 h 412"/>
              <a:gd name="T12" fmla="*/ 2147483647 w 255"/>
              <a:gd name="T13" fmla="*/ 2147483647 h 412"/>
              <a:gd name="T14" fmla="*/ 2147483647 w 255"/>
              <a:gd name="T15" fmla="*/ 2147483647 h 412"/>
              <a:gd name="T16" fmla="*/ 2147483647 w 255"/>
              <a:gd name="T17" fmla="*/ 2147483647 h 412"/>
              <a:gd name="T18" fmla="*/ 2147483647 w 255"/>
              <a:gd name="T19" fmla="*/ 2147483647 h 412"/>
              <a:gd name="T20" fmla="*/ 2147483647 w 255"/>
              <a:gd name="T21" fmla="*/ 2147483647 h 412"/>
              <a:gd name="T22" fmla="*/ 2147483647 w 255"/>
              <a:gd name="T23" fmla="*/ 2147483647 h 412"/>
              <a:gd name="T24" fmla="*/ 2147483647 w 255"/>
              <a:gd name="T25" fmla="*/ 2147483647 h 412"/>
              <a:gd name="T26" fmla="*/ 2147483647 w 255"/>
              <a:gd name="T27" fmla="*/ 2147483647 h 412"/>
              <a:gd name="T28" fmla="*/ 2147483647 w 255"/>
              <a:gd name="T29" fmla="*/ 2147483647 h 412"/>
              <a:gd name="T30" fmla="*/ 2147483647 w 255"/>
              <a:gd name="T31" fmla="*/ 2147483647 h 412"/>
              <a:gd name="T32" fmla="*/ 2147483647 w 255"/>
              <a:gd name="T33" fmla="*/ 2147483647 h 412"/>
              <a:gd name="T34" fmla="*/ 2147483647 w 255"/>
              <a:gd name="T35" fmla="*/ 2147483647 h 412"/>
              <a:gd name="T36" fmla="*/ 2147483647 w 255"/>
              <a:gd name="T37" fmla="*/ 2147483647 h 412"/>
              <a:gd name="T38" fmla="*/ 2147483647 w 255"/>
              <a:gd name="T39" fmla="*/ 2147483647 h 412"/>
              <a:gd name="T40" fmla="*/ 2147483647 w 255"/>
              <a:gd name="T41" fmla="*/ 2147483647 h 412"/>
              <a:gd name="T42" fmla="*/ 2147483647 w 255"/>
              <a:gd name="T43" fmla="*/ 2147483647 h 412"/>
              <a:gd name="T44" fmla="*/ 2147483647 w 255"/>
              <a:gd name="T45" fmla="*/ 2147483647 h 412"/>
              <a:gd name="T46" fmla="*/ 2147483647 w 255"/>
              <a:gd name="T47" fmla="*/ 2147483647 h 412"/>
              <a:gd name="T48" fmla="*/ 2147483647 w 255"/>
              <a:gd name="T49" fmla="*/ 2147483647 h 412"/>
              <a:gd name="T50" fmla="*/ 2147483647 w 255"/>
              <a:gd name="T51" fmla="*/ 2147483647 h 412"/>
              <a:gd name="T52" fmla="*/ 2147483647 w 255"/>
              <a:gd name="T53" fmla="*/ 2147483647 h 412"/>
              <a:gd name="T54" fmla="*/ 2147483647 w 255"/>
              <a:gd name="T55" fmla="*/ 2147483647 h 412"/>
              <a:gd name="T56" fmla="*/ 2147483647 w 255"/>
              <a:gd name="T57" fmla="*/ 2147483647 h 412"/>
              <a:gd name="T58" fmla="*/ 2147483647 w 255"/>
              <a:gd name="T59" fmla="*/ 2147483647 h 412"/>
              <a:gd name="T60" fmla="*/ 2147483647 w 255"/>
              <a:gd name="T61" fmla="*/ 2147483647 h 412"/>
              <a:gd name="T62" fmla="*/ 2147483647 w 255"/>
              <a:gd name="T63" fmla="*/ 2147483647 h 412"/>
              <a:gd name="T64" fmla="*/ 2147483647 w 255"/>
              <a:gd name="T65" fmla="*/ 2147483647 h 412"/>
              <a:gd name="T66" fmla="*/ 2147483647 w 255"/>
              <a:gd name="T67" fmla="*/ 2147483647 h 412"/>
              <a:gd name="T68" fmla="*/ 2147483647 w 255"/>
              <a:gd name="T69" fmla="*/ 2147483647 h 412"/>
              <a:gd name="T70" fmla="*/ 2147483647 w 255"/>
              <a:gd name="T71" fmla="*/ 2147483647 h 412"/>
              <a:gd name="T72" fmla="*/ 2147483647 w 255"/>
              <a:gd name="T73" fmla="*/ 2147483647 h 412"/>
              <a:gd name="T74" fmla="*/ 2147483647 w 255"/>
              <a:gd name="T75" fmla="*/ 2147483647 h 412"/>
              <a:gd name="T76" fmla="*/ 2147483647 w 255"/>
              <a:gd name="T77" fmla="*/ 2147483647 h 412"/>
              <a:gd name="T78" fmla="*/ 2147483647 w 255"/>
              <a:gd name="T79" fmla="*/ 2147483647 h 412"/>
              <a:gd name="T80" fmla="*/ 2147483647 w 255"/>
              <a:gd name="T81" fmla="*/ 2147483647 h 412"/>
              <a:gd name="T82" fmla="*/ 2147483647 w 255"/>
              <a:gd name="T83" fmla="*/ 2147483647 h 412"/>
              <a:gd name="T84" fmla="*/ 2147483647 w 255"/>
              <a:gd name="T85" fmla="*/ 2147483647 h 412"/>
              <a:gd name="T86" fmla="*/ 2147483647 w 255"/>
              <a:gd name="T87" fmla="*/ 2147483647 h 412"/>
              <a:gd name="T88" fmla="*/ 2147483647 w 255"/>
              <a:gd name="T89" fmla="*/ 2147483647 h 412"/>
              <a:gd name="T90" fmla="*/ 2147483647 w 255"/>
              <a:gd name="T91" fmla="*/ 2147483647 h 412"/>
              <a:gd name="T92" fmla="*/ 2147483647 w 255"/>
              <a:gd name="T93" fmla="*/ 2147483647 h 412"/>
              <a:gd name="T94" fmla="*/ 2147483647 w 255"/>
              <a:gd name="T95" fmla="*/ 2147483647 h 412"/>
              <a:gd name="T96" fmla="*/ 2147483647 w 255"/>
              <a:gd name="T97" fmla="*/ 2147483647 h 412"/>
              <a:gd name="T98" fmla="*/ 2147483647 w 255"/>
              <a:gd name="T99" fmla="*/ 2147483647 h 412"/>
              <a:gd name="T100" fmla="*/ 0 w 255"/>
              <a:gd name="T101" fmla="*/ 2147483647 h 412"/>
              <a:gd name="T102" fmla="*/ 2147483647 w 255"/>
              <a:gd name="T103" fmla="*/ 2147483647 h 412"/>
              <a:gd name="T104" fmla="*/ 2147483647 w 255"/>
              <a:gd name="T105" fmla="*/ 2147483647 h 412"/>
              <a:gd name="T106" fmla="*/ 2147483647 w 255"/>
              <a:gd name="T107" fmla="*/ 2147483647 h 412"/>
              <a:gd name="T108" fmla="*/ 2147483647 w 255"/>
              <a:gd name="T109" fmla="*/ 2147483647 h 412"/>
              <a:gd name="T110" fmla="*/ 2147483647 w 255"/>
              <a:gd name="T111" fmla="*/ 2147483647 h 41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55"/>
              <a:gd name="T169" fmla="*/ 0 h 412"/>
              <a:gd name="T170" fmla="*/ 255 w 255"/>
              <a:gd name="T171" fmla="*/ 412 h 412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55" h="412">
                <a:moveTo>
                  <a:pt x="169" y="344"/>
                </a:moveTo>
                <a:cubicBezTo>
                  <a:pt x="45" y="344"/>
                  <a:pt x="45" y="344"/>
                  <a:pt x="45" y="344"/>
                </a:cubicBezTo>
                <a:cubicBezTo>
                  <a:pt x="37" y="344"/>
                  <a:pt x="30" y="349"/>
                  <a:pt x="29" y="358"/>
                </a:cubicBezTo>
                <a:cubicBezTo>
                  <a:pt x="29" y="370"/>
                  <a:pt x="29" y="370"/>
                  <a:pt x="29" y="370"/>
                </a:cubicBezTo>
                <a:cubicBezTo>
                  <a:pt x="30" y="380"/>
                  <a:pt x="37" y="385"/>
                  <a:pt x="45" y="385"/>
                </a:cubicBezTo>
                <a:cubicBezTo>
                  <a:pt x="169" y="385"/>
                  <a:pt x="169" y="385"/>
                  <a:pt x="169" y="385"/>
                </a:cubicBezTo>
                <a:cubicBezTo>
                  <a:pt x="177" y="385"/>
                  <a:pt x="185" y="380"/>
                  <a:pt x="185" y="370"/>
                </a:cubicBezTo>
                <a:cubicBezTo>
                  <a:pt x="185" y="358"/>
                  <a:pt x="185" y="358"/>
                  <a:pt x="185" y="358"/>
                </a:cubicBezTo>
                <a:cubicBezTo>
                  <a:pt x="184" y="349"/>
                  <a:pt x="177" y="344"/>
                  <a:pt x="169" y="344"/>
                </a:cubicBezTo>
                <a:close/>
                <a:moveTo>
                  <a:pt x="169" y="369"/>
                </a:moveTo>
                <a:cubicBezTo>
                  <a:pt x="45" y="369"/>
                  <a:pt x="45" y="369"/>
                  <a:pt x="45" y="369"/>
                </a:cubicBezTo>
                <a:cubicBezTo>
                  <a:pt x="45" y="369"/>
                  <a:pt x="45" y="369"/>
                  <a:pt x="45" y="369"/>
                </a:cubicBezTo>
                <a:cubicBezTo>
                  <a:pt x="45" y="360"/>
                  <a:pt x="45" y="360"/>
                  <a:pt x="45" y="360"/>
                </a:cubicBezTo>
                <a:cubicBezTo>
                  <a:pt x="45" y="360"/>
                  <a:pt x="45" y="360"/>
                  <a:pt x="45" y="360"/>
                </a:cubicBezTo>
                <a:cubicBezTo>
                  <a:pt x="169" y="360"/>
                  <a:pt x="169" y="360"/>
                  <a:pt x="169" y="360"/>
                </a:cubicBezTo>
                <a:lnTo>
                  <a:pt x="169" y="369"/>
                </a:lnTo>
                <a:close/>
                <a:moveTo>
                  <a:pt x="185" y="306"/>
                </a:moveTo>
                <a:cubicBezTo>
                  <a:pt x="185" y="297"/>
                  <a:pt x="177" y="291"/>
                  <a:pt x="169" y="291"/>
                </a:cubicBezTo>
                <a:cubicBezTo>
                  <a:pt x="45" y="291"/>
                  <a:pt x="45" y="291"/>
                  <a:pt x="45" y="291"/>
                </a:cubicBezTo>
                <a:cubicBezTo>
                  <a:pt x="37" y="291"/>
                  <a:pt x="30" y="297"/>
                  <a:pt x="29" y="306"/>
                </a:cubicBezTo>
                <a:cubicBezTo>
                  <a:pt x="29" y="318"/>
                  <a:pt x="29" y="318"/>
                  <a:pt x="29" y="318"/>
                </a:cubicBezTo>
                <a:cubicBezTo>
                  <a:pt x="30" y="327"/>
                  <a:pt x="37" y="333"/>
                  <a:pt x="45" y="333"/>
                </a:cubicBezTo>
                <a:cubicBezTo>
                  <a:pt x="169" y="333"/>
                  <a:pt x="169" y="333"/>
                  <a:pt x="169" y="333"/>
                </a:cubicBezTo>
                <a:cubicBezTo>
                  <a:pt x="177" y="333"/>
                  <a:pt x="184" y="327"/>
                  <a:pt x="185" y="318"/>
                </a:cubicBezTo>
                <a:lnTo>
                  <a:pt x="185" y="306"/>
                </a:lnTo>
                <a:close/>
                <a:moveTo>
                  <a:pt x="169" y="317"/>
                </a:moveTo>
                <a:cubicBezTo>
                  <a:pt x="45" y="317"/>
                  <a:pt x="45" y="317"/>
                  <a:pt x="45" y="317"/>
                </a:cubicBezTo>
                <a:cubicBezTo>
                  <a:pt x="45" y="317"/>
                  <a:pt x="45" y="317"/>
                  <a:pt x="45" y="317"/>
                </a:cubicBezTo>
                <a:cubicBezTo>
                  <a:pt x="45" y="307"/>
                  <a:pt x="45" y="307"/>
                  <a:pt x="45" y="307"/>
                </a:cubicBezTo>
                <a:cubicBezTo>
                  <a:pt x="45" y="307"/>
                  <a:pt x="45" y="307"/>
                  <a:pt x="45" y="307"/>
                </a:cubicBezTo>
                <a:cubicBezTo>
                  <a:pt x="169" y="307"/>
                  <a:pt x="169" y="307"/>
                  <a:pt x="169" y="307"/>
                </a:cubicBezTo>
                <a:lnTo>
                  <a:pt x="169" y="317"/>
                </a:lnTo>
                <a:close/>
                <a:moveTo>
                  <a:pt x="185" y="253"/>
                </a:moveTo>
                <a:cubicBezTo>
                  <a:pt x="184" y="244"/>
                  <a:pt x="177" y="239"/>
                  <a:pt x="169" y="239"/>
                </a:cubicBezTo>
                <a:cubicBezTo>
                  <a:pt x="45" y="239"/>
                  <a:pt x="45" y="239"/>
                  <a:pt x="45" y="239"/>
                </a:cubicBezTo>
                <a:cubicBezTo>
                  <a:pt x="37" y="239"/>
                  <a:pt x="30" y="244"/>
                  <a:pt x="29" y="253"/>
                </a:cubicBezTo>
                <a:cubicBezTo>
                  <a:pt x="29" y="265"/>
                  <a:pt x="29" y="265"/>
                  <a:pt x="29" y="265"/>
                </a:cubicBezTo>
                <a:cubicBezTo>
                  <a:pt x="30" y="275"/>
                  <a:pt x="37" y="280"/>
                  <a:pt x="45" y="280"/>
                </a:cubicBezTo>
                <a:cubicBezTo>
                  <a:pt x="169" y="280"/>
                  <a:pt x="169" y="280"/>
                  <a:pt x="169" y="280"/>
                </a:cubicBezTo>
                <a:cubicBezTo>
                  <a:pt x="177" y="280"/>
                  <a:pt x="185" y="275"/>
                  <a:pt x="185" y="265"/>
                </a:cubicBezTo>
                <a:lnTo>
                  <a:pt x="185" y="253"/>
                </a:lnTo>
                <a:close/>
                <a:moveTo>
                  <a:pt x="169" y="264"/>
                </a:moveTo>
                <a:cubicBezTo>
                  <a:pt x="45" y="264"/>
                  <a:pt x="45" y="264"/>
                  <a:pt x="45" y="264"/>
                </a:cubicBezTo>
                <a:cubicBezTo>
                  <a:pt x="45" y="264"/>
                  <a:pt x="45" y="264"/>
                  <a:pt x="45" y="264"/>
                </a:cubicBezTo>
                <a:cubicBezTo>
                  <a:pt x="45" y="255"/>
                  <a:pt x="45" y="255"/>
                  <a:pt x="45" y="255"/>
                </a:cubicBezTo>
                <a:cubicBezTo>
                  <a:pt x="45" y="255"/>
                  <a:pt x="45" y="255"/>
                  <a:pt x="45" y="255"/>
                </a:cubicBezTo>
                <a:cubicBezTo>
                  <a:pt x="169" y="255"/>
                  <a:pt x="169" y="255"/>
                  <a:pt x="169" y="255"/>
                </a:cubicBezTo>
                <a:lnTo>
                  <a:pt x="169" y="264"/>
                </a:lnTo>
                <a:close/>
                <a:moveTo>
                  <a:pt x="185" y="201"/>
                </a:moveTo>
                <a:cubicBezTo>
                  <a:pt x="185" y="192"/>
                  <a:pt x="177" y="186"/>
                  <a:pt x="169" y="186"/>
                </a:cubicBezTo>
                <a:cubicBezTo>
                  <a:pt x="45" y="186"/>
                  <a:pt x="45" y="186"/>
                  <a:pt x="45" y="186"/>
                </a:cubicBezTo>
                <a:cubicBezTo>
                  <a:pt x="37" y="186"/>
                  <a:pt x="30" y="192"/>
                  <a:pt x="29" y="201"/>
                </a:cubicBezTo>
                <a:cubicBezTo>
                  <a:pt x="29" y="213"/>
                  <a:pt x="29" y="213"/>
                  <a:pt x="29" y="213"/>
                </a:cubicBezTo>
                <a:cubicBezTo>
                  <a:pt x="30" y="222"/>
                  <a:pt x="37" y="228"/>
                  <a:pt x="45" y="228"/>
                </a:cubicBezTo>
                <a:cubicBezTo>
                  <a:pt x="169" y="228"/>
                  <a:pt x="169" y="228"/>
                  <a:pt x="169" y="228"/>
                </a:cubicBezTo>
                <a:cubicBezTo>
                  <a:pt x="177" y="228"/>
                  <a:pt x="184" y="222"/>
                  <a:pt x="185" y="213"/>
                </a:cubicBezTo>
                <a:lnTo>
                  <a:pt x="185" y="201"/>
                </a:lnTo>
                <a:close/>
                <a:moveTo>
                  <a:pt x="169" y="212"/>
                </a:moveTo>
                <a:cubicBezTo>
                  <a:pt x="45" y="212"/>
                  <a:pt x="45" y="212"/>
                  <a:pt x="45" y="212"/>
                </a:cubicBezTo>
                <a:cubicBezTo>
                  <a:pt x="45" y="212"/>
                  <a:pt x="45" y="212"/>
                  <a:pt x="45" y="212"/>
                </a:cubicBezTo>
                <a:cubicBezTo>
                  <a:pt x="45" y="202"/>
                  <a:pt x="45" y="202"/>
                  <a:pt x="45" y="202"/>
                </a:cubicBezTo>
                <a:cubicBezTo>
                  <a:pt x="45" y="202"/>
                  <a:pt x="45" y="202"/>
                  <a:pt x="45" y="202"/>
                </a:cubicBezTo>
                <a:cubicBezTo>
                  <a:pt x="169" y="202"/>
                  <a:pt x="169" y="202"/>
                  <a:pt x="169" y="202"/>
                </a:cubicBezTo>
                <a:lnTo>
                  <a:pt x="169" y="212"/>
                </a:lnTo>
                <a:close/>
                <a:moveTo>
                  <a:pt x="185" y="148"/>
                </a:moveTo>
                <a:cubicBezTo>
                  <a:pt x="184" y="139"/>
                  <a:pt x="177" y="134"/>
                  <a:pt x="169" y="134"/>
                </a:cubicBezTo>
                <a:cubicBezTo>
                  <a:pt x="45" y="134"/>
                  <a:pt x="45" y="134"/>
                  <a:pt x="45" y="134"/>
                </a:cubicBezTo>
                <a:cubicBezTo>
                  <a:pt x="37" y="134"/>
                  <a:pt x="30" y="139"/>
                  <a:pt x="29" y="148"/>
                </a:cubicBezTo>
                <a:cubicBezTo>
                  <a:pt x="29" y="161"/>
                  <a:pt x="29" y="161"/>
                  <a:pt x="29" y="161"/>
                </a:cubicBezTo>
                <a:cubicBezTo>
                  <a:pt x="30" y="170"/>
                  <a:pt x="37" y="175"/>
                  <a:pt x="45" y="175"/>
                </a:cubicBezTo>
                <a:cubicBezTo>
                  <a:pt x="169" y="175"/>
                  <a:pt x="169" y="175"/>
                  <a:pt x="169" y="175"/>
                </a:cubicBezTo>
                <a:cubicBezTo>
                  <a:pt x="177" y="175"/>
                  <a:pt x="185" y="170"/>
                  <a:pt x="185" y="161"/>
                </a:cubicBezTo>
                <a:lnTo>
                  <a:pt x="185" y="148"/>
                </a:lnTo>
                <a:close/>
                <a:moveTo>
                  <a:pt x="169" y="159"/>
                </a:moveTo>
                <a:cubicBezTo>
                  <a:pt x="45" y="159"/>
                  <a:pt x="45" y="159"/>
                  <a:pt x="45" y="159"/>
                </a:cubicBezTo>
                <a:cubicBezTo>
                  <a:pt x="45" y="159"/>
                  <a:pt x="45" y="159"/>
                  <a:pt x="45" y="159"/>
                </a:cubicBezTo>
                <a:cubicBezTo>
                  <a:pt x="45" y="150"/>
                  <a:pt x="45" y="150"/>
                  <a:pt x="45" y="150"/>
                </a:cubicBezTo>
                <a:cubicBezTo>
                  <a:pt x="45" y="150"/>
                  <a:pt x="45" y="150"/>
                  <a:pt x="45" y="150"/>
                </a:cubicBezTo>
                <a:cubicBezTo>
                  <a:pt x="169" y="150"/>
                  <a:pt x="169" y="150"/>
                  <a:pt x="169" y="150"/>
                </a:cubicBezTo>
                <a:lnTo>
                  <a:pt x="169" y="159"/>
                </a:lnTo>
                <a:close/>
                <a:moveTo>
                  <a:pt x="185" y="96"/>
                </a:moveTo>
                <a:cubicBezTo>
                  <a:pt x="185" y="87"/>
                  <a:pt x="177" y="81"/>
                  <a:pt x="169" y="81"/>
                </a:cubicBezTo>
                <a:cubicBezTo>
                  <a:pt x="45" y="81"/>
                  <a:pt x="45" y="81"/>
                  <a:pt x="45" y="81"/>
                </a:cubicBezTo>
                <a:cubicBezTo>
                  <a:pt x="37" y="81"/>
                  <a:pt x="30" y="87"/>
                  <a:pt x="29" y="96"/>
                </a:cubicBezTo>
                <a:cubicBezTo>
                  <a:pt x="29" y="108"/>
                  <a:pt x="29" y="108"/>
                  <a:pt x="29" y="108"/>
                </a:cubicBezTo>
                <a:cubicBezTo>
                  <a:pt x="30" y="117"/>
                  <a:pt x="37" y="123"/>
                  <a:pt x="45" y="123"/>
                </a:cubicBezTo>
                <a:cubicBezTo>
                  <a:pt x="169" y="123"/>
                  <a:pt x="169" y="123"/>
                  <a:pt x="169" y="123"/>
                </a:cubicBezTo>
                <a:cubicBezTo>
                  <a:pt x="177" y="123"/>
                  <a:pt x="184" y="117"/>
                  <a:pt x="185" y="108"/>
                </a:cubicBezTo>
                <a:lnTo>
                  <a:pt x="185" y="96"/>
                </a:lnTo>
                <a:close/>
                <a:moveTo>
                  <a:pt x="169" y="107"/>
                </a:moveTo>
                <a:cubicBezTo>
                  <a:pt x="45" y="107"/>
                  <a:pt x="45" y="107"/>
                  <a:pt x="45" y="107"/>
                </a:cubicBezTo>
                <a:cubicBezTo>
                  <a:pt x="45" y="107"/>
                  <a:pt x="45" y="107"/>
                  <a:pt x="45" y="107"/>
                </a:cubicBezTo>
                <a:cubicBezTo>
                  <a:pt x="45" y="97"/>
                  <a:pt x="45" y="97"/>
                  <a:pt x="45" y="97"/>
                </a:cubicBezTo>
                <a:cubicBezTo>
                  <a:pt x="45" y="97"/>
                  <a:pt x="45" y="97"/>
                  <a:pt x="45" y="97"/>
                </a:cubicBezTo>
                <a:cubicBezTo>
                  <a:pt x="169" y="97"/>
                  <a:pt x="169" y="97"/>
                  <a:pt x="169" y="97"/>
                </a:cubicBezTo>
                <a:lnTo>
                  <a:pt x="169" y="107"/>
                </a:lnTo>
                <a:close/>
                <a:moveTo>
                  <a:pt x="185" y="44"/>
                </a:moveTo>
                <a:cubicBezTo>
                  <a:pt x="184" y="34"/>
                  <a:pt x="177" y="29"/>
                  <a:pt x="169" y="29"/>
                </a:cubicBezTo>
                <a:cubicBezTo>
                  <a:pt x="45" y="29"/>
                  <a:pt x="45" y="29"/>
                  <a:pt x="45" y="29"/>
                </a:cubicBezTo>
                <a:cubicBezTo>
                  <a:pt x="37" y="29"/>
                  <a:pt x="30" y="34"/>
                  <a:pt x="29" y="44"/>
                </a:cubicBezTo>
                <a:cubicBezTo>
                  <a:pt x="29" y="56"/>
                  <a:pt x="29" y="56"/>
                  <a:pt x="29" y="56"/>
                </a:cubicBezTo>
                <a:cubicBezTo>
                  <a:pt x="30" y="65"/>
                  <a:pt x="37" y="70"/>
                  <a:pt x="45" y="70"/>
                </a:cubicBezTo>
                <a:cubicBezTo>
                  <a:pt x="169" y="70"/>
                  <a:pt x="169" y="70"/>
                  <a:pt x="169" y="70"/>
                </a:cubicBezTo>
                <a:cubicBezTo>
                  <a:pt x="177" y="70"/>
                  <a:pt x="185" y="65"/>
                  <a:pt x="185" y="56"/>
                </a:cubicBezTo>
                <a:lnTo>
                  <a:pt x="185" y="44"/>
                </a:lnTo>
                <a:close/>
                <a:moveTo>
                  <a:pt x="169" y="54"/>
                </a:moveTo>
                <a:cubicBezTo>
                  <a:pt x="45" y="54"/>
                  <a:pt x="45" y="54"/>
                  <a:pt x="45" y="54"/>
                </a:cubicBezTo>
                <a:cubicBezTo>
                  <a:pt x="45" y="54"/>
                  <a:pt x="45" y="54"/>
                  <a:pt x="45" y="54"/>
                </a:cubicBezTo>
                <a:cubicBezTo>
                  <a:pt x="45" y="45"/>
                  <a:pt x="45" y="45"/>
                  <a:pt x="45" y="45"/>
                </a:cubicBezTo>
                <a:cubicBezTo>
                  <a:pt x="45" y="45"/>
                  <a:pt x="45" y="45"/>
                  <a:pt x="45" y="45"/>
                </a:cubicBezTo>
                <a:cubicBezTo>
                  <a:pt x="169" y="45"/>
                  <a:pt x="169" y="45"/>
                  <a:pt x="169" y="45"/>
                </a:cubicBezTo>
                <a:lnTo>
                  <a:pt x="169" y="54"/>
                </a:lnTo>
                <a:close/>
                <a:moveTo>
                  <a:pt x="212" y="88"/>
                </a:moveTo>
                <a:cubicBezTo>
                  <a:pt x="204" y="88"/>
                  <a:pt x="198" y="94"/>
                  <a:pt x="198" y="102"/>
                </a:cubicBezTo>
                <a:cubicBezTo>
                  <a:pt x="198" y="110"/>
                  <a:pt x="204" y="116"/>
                  <a:pt x="212" y="116"/>
                </a:cubicBezTo>
                <a:cubicBezTo>
                  <a:pt x="220" y="116"/>
                  <a:pt x="226" y="110"/>
                  <a:pt x="226" y="102"/>
                </a:cubicBezTo>
                <a:cubicBezTo>
                  <a:pt x="226" y="94"/>
                  <a:pt x="220" y="88"/>
                  <a:pt x="212" y="88"/>
                </a:cubicBezTo>
                <a:close/>
                <a:moveTo>
                  <a:pt x="212" y="35"/>
                </a:moveTo>
                <a:cubicBezTo>
                  <a:pt x="204" y="35"/>
                  <a:pt x="198" y="42"/>
                  <a:pt x="198" y="50"/>
                </a:cubicBezTo>
                <a:cubicBezTo>
                  <a:pt x="198" y="57"/>
                  <a:pt x="204" y="64"/>
                  <a:pt x="212" y="64"/>
                </a:cubicBezTo>
                <a:cubicBezTo>
                  <a:pt x="220" y="64"/>
                  <a:pt x="226" y="57"/>
                  <a:pt x="226" y="50"/>
                </a:cubicBezTo>
                <a:cubicBezTo>
                  <a:pt x="226" y="42"/>
                  <a:pt x="220" y="35"/>
                  <a:pt x="212" y="35"/>
                </a:cubicBezTo>
                <a:close/>
                <a:moveTo>
                  <a:pt x="212" y="140"/>
                </a:moveTo>
                <a:cubicBezTo>
                  <a:pt x="204" y="140"/>
                  <a:pt x="198" y="147"/>
                  <a:pt x="198" y="155"/>
                </a:cubicBezTo>
                <a:cubicBezTo>
                  <a:pt x="198" y="162"/>
                  <a:pt x="204" y="169"/>
                  <a:pt x="212" y="169"/>
                </a:cubicBezTo>
                <a:cubicBezTo>
                  <a:pt x="220" y="169"/>
                  <a:pt x="226" y="162"/>
                  <a:pt x="226" y="155"/>
                </a:cubicBezTo>
                <a:cubicBezTo>
                  <a:pt x="226" y="147"/>
                  <a:pt x="220" y="140"/>
                  <a:pt x="212" y="140"/>
                </a:cubicBezTo>
                <a:close/>
                <a:moveTo>
                  <a:pt x="212" y="193"/>
                </a:moveTo>
                <a:cubicBezTo>
                  <a:pt x="204" y="193"/>
                  <a:pt x="198" y="199"/>
                  <a:pt x="198" y="207"/>
                </a:cubicBezTo>
                <a:cubicBezTo>
                  <a:pt x="198" y="215"/>
                  <a:pt x="204" y="221"/>
                  <a:pt x="212" y="221"/>
                </a:cubicBezTo>
                <a:cubicBezTo>
                  <a:pt x="220" y="221"/>
                  <a:pt x="226" y="215"/>
                  <a:pt x="226" y="207"/>
                </a:cubicBezTo>
                <a:cubicBezTo>
                  <a:pt x="226" y="199"/>
                  <a:pt x="220" y="193"/>
                  <a:pt x="212" y="193"/>
                </a:cubicBezTo>
                <a:close/>
                <a:moveTo>
                  <a:pt x="212" y="245"/>
                </a:moveTo>
                <a:cubicBezTo>
                  <a:pt x="204" y="245"/>
                  <a:pt x="198" y="252"/>
                  <a:pt x="198" y="259"/>
                </a:cubicBezTo>
                <a:cubicBezTo>
                  <a:pt x="198" y="267"/>
                  <a:pt x="204" y="274"/>
                  <a:pt x="212" y="274"/>
                </a:cubicBezTo>
                <a:cubicBezTo>
                  <a:pt x="220" y="274"/>
                  <a:pt x="226" y="267"/>
                  <a:pt x="226" y="259"/>
                </a:cubicBezTo>
                <a:cubicBezTo>
                  <a:pt x="226" y="252"/>
                  <a:pt x="220" y="245"/>
                  <a:pt x="212" y="245"/>
                </a:cubicBezTo>
                <a:close/>
                <a:moveTo>
                  <a:pt x="212" y="298"/>
                </a:moveTo>
                <a:cubicBezTo>
                  <a:pt x="204" y="298"/>
                  <a:pt x="198" y="304"/>
                  <a:pt x="198" y="312"/>
                </a:cubicBezTo>
                <a:cubicBezTo>
                  <a:pt x="198" y="320"/>
                  <a:pt x="204" y="326"/>
                  <a:pt x="212" y="326"/>
                </a:cubicBezTo>
                <a:cubicBezTo>
                  <a:pt x="220" y="326"/>
                  <a:pt x="226" y="320"/>
                  <a:pt x="226" y="312"/>
                </a:cubicBezTo>
                <a:cubicBezTo>
                  <a:pt x="226" y="304"/>
                  <a:pt x="220" y="298"/>
                  <a:pt x="212" y="298"/>
                </a:cubicBezTo>
                <a:close/>
                <a:moveTo>
                  <a:pt x="212" y="350"/>
                </a:moveTo>
                <a:cubicBezTo>
                  <a:pt x="204" y="350"/>
                  <a:pt x="198" y="356"/>
                  <a:pt x="198" y="364"/>
                </a:cubicBezTo>
                <a:cubicBezTo>
                  <a:pt x="198" y="372"/>
                  <a:pt x="204" y="379"/>
                  <a:pt x="212" y="379"/>
                </a:cubicBezTo>
                <a:cubicBezTo>
                  <a:pt x="220" y="379"/>
                  <a:pt x="226" y="372"/>
                  <a:pt x="226" y="364"/>
                </a:cubicBezTo>
                <a:cubicBezTo>
                  <a:pt x="226" y="356"/>
                  <a:pt x="220" y="350"/>
                  <a:pt x="212" y="350"/>
                </a:cubicBezTo>
                <a:close/>
                <a:moveTo>
                  <a:pt x="247" y="44"/>
                </a:moveTo>
                <a:cubicBezTo>
                  <a:pt x="251" y="44"/>
                  <a:pt x="255" y="41"/>
                  <a:pt x="255" y="36"/>
                </a:cubicBezTo>
                <a:cubicBezTo>
                  <a:pt x="255" y="16"/>
                  <a:pt x="255" y="16"/>
                  <a:pt x="255" y="16"/>
                </a:cubicBezTo>
                <a:cubicBezTo>
                  <a:pt x="255" y="7"/>
                  <a:pt x="248" y="0"/>
                  <a:pt x="23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7" y="0"/>
                  <a:pt x="0" y="7"/>
                  <a:pt x="0" y="16"/>
                </a:cubicBezTo>
                <a:cubicBezTo>
                  <a:pt x="0" y="396"/>
                  <a:pt x="0" y="396"/>
                  <a:pt x="0" y="396"/>
                </a:cubicBezTo>
                <a:cubicBezTo>
                  <a:pt x="0" y="405"/>
                  <a:pt x="7" y="412"/>
                  <a:pt x="16" y="412"/>
                </a:cubicBezTo>
                <a:cubicBezTo>
                  <a:pt x="239" y="412"/>
                  <a:pt x="239" y="412"/>
                  <a:pt x="239" y="412"/>
                </a:cubicBezTo>
                <a:cubicBezTo>
                  <a:pt x="248" y="412"/>
                  <a:pt x="255" y="405"/>
                  <a:pt x="255" y="396"/>
                </a:cubicBezTo>
                <a:cubicBezTo>
                  <a:pt x="255" y="60"/>
                  <a:pt x="255" y="60"/>
                  <a:pt x="255" y="60"/>
                </a:cubicBezTo>
                <a:cubicBezTo>
                  <a:pt x="255" y="56"/>
                  <a:pt x="251" y="52"/>
                  <a:pt x="247" y="52"/>
                </a:cubicBezTo>
                <a:cubicBezTo>
                  <a:pt x="242" y="52"/>
                  <a:pt x="239" y="56"/>
                  <a:pt x="239" y="60"/>
                </a:cubicBezTo>
                <a:cubicBezTo>
                  <a:pt x="239" y="396"/>
                  <a:pt x="239" y="396"/>
                  <a:pt x="239" y="396"/>
                </a:cubicBezTo>
                <a:cubicBezTo>
                  <a:pt x="16" y="396"/>
                  <a:pt x="16" y="396"/>
                  <a:pt x="16" y="396"/>
                </a:cubicBezTo>
                <a:cubicBezTo>
                  <a:pt x="16" y="396"/>
                  <a:pt x="16" y="396"/>
                  <a:pt x="16" y="396"/>
                </a:cubicBezTo>
                <a:cubicBezTo>
                  <a:pt x="16" y="16"/>
                  <a:pt x="16" y="16"/>
                  <a:pt x="16" y="16"/>
                </a:cubicBezTo>
                <a:cubicBezTo>
                  <a:pt x="16" y="16"/>
                  <a:pt x="16" y="16"/>
                  <a:pt x="16" y="16"/>
                </a:cubicBezTo>
                <a:cubicBezTo>
                  <a:pt x="239" y="16"/>
                  <a:pt x="239" y="16"/>
                  <a:pt x="239" y="16"/>
                </a:cubicBezTo>
                <a:cubicBezTo>
                  <a:pt x="239" y="36"/>
                  <a:pt x="239" y="36"/>
                  <a:pt x="239" y="36"/>
                </a:cubicBezTo>
                <a:cubicBezTo>
                  <a:pt x="239" y="41"/>
                  <a:pt x="242" y="44"/>
                  <a:pt x="247" y="44"/>
                </a:cubicBezTo>
                <a:close/>
              </a:path>
            </a:pathLst>
          </a:custGeom>
          <a:blipFill dpi="0" rotWithShape="0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endParaRPr lang="en-US" smtClean="0">
              <a:solidFill>
                <a:srgbClr val="58585A"/>
              </a:solidFill>
              <a:latin typeface="Arial" pitchFamily="34" charset="0"/>
            </a:endParaRPr>
          </a:p>
        </p:txBody>
      </p:sp>
      <p:grpSp>
        <p:nvGrpSpPr>
          <p:cNvPr id="8233" name="Group 43"/>
          <p:cNvGrpSpPr>
            <a:grpSpLocks/>
          </p:cNvGrpSpPr>
          <p:nvPr/>
        </p:nvGrpSpPr>
        <p:grpSpPr bwMode="auto">
          <a:xfrm>
            <a:off x="6830484" y="1357318"/>
            <a:ext cx="2514600" cy="1571625"/>
            <a:chOff x="2056" y="3353"/>
            <a:chExt cx="1063" cy="664"/>
          </a:xfrm>
        </p:grpSpPr>
        <p:sp>
          <p:nvSpPr>
            <p:cNvPr id="8251" name="Freeform 44"/>
            <p:cNvSpPr>
              <a:spLocks/>
            </p:cNvSpPr>
            <p:nvPr/>
          </p:nvSpPr>
          <p:spPr bwMode="auto">
            <a:xfrm>
              <a:off x="2071" y="3452"/>
              <a:ext cx="573" cy="565"/>
            </a:xfrm>
            <a:custGeom>
              <a:avLst/>
              <a:gdLst>
                <a:gd name="T0" fmla="*/ 37 w 610"/>
                <a:gd name="T1" fmla="*/ 8 h 602"/>
                <a:gd name="T2" fmla="*/ 31 w 610"/>
                <a:gd name="T3" fmla="*/ 9 h 602"/>
                <a:gd name="T4" fmla="*/ 25 w 610"/>
                <a:gd name="T5" fmla="*/ 20 h 602"/>
                <a:gd name="T6" fmla="*/ 23 w 610"/>
                <a:gd name="T7" fmla="*/ 28 h 602"/>
                <a:gd name="T8" fmla="*/ 16 w 610"/>
                <a:gd name="T9" fmla="*/ 30 h 602"/>
                <a:gd name="T10" fmla="*/ 8 w 610"/>
                <a:gd name="T11" fmla="*/ 44 h 602"/>
                <a:gd name="T12" fmla="*/ 0 w 610"/>
                <a:gd name="T13" fmla="*/ 56 h 602"/>
                <a:gd name="T14" fmla="*/ 8 w 610"/>
                <a:gd name="T15" fmla="*/ 70 h 602"/>
                <a:gd name="T16" fmla="*/ 15 w 610"/>
                <a:gd name="T17" fmla="*/ 79 h 602"/>
                <a:gd name="T18" fmla="*/ 39 w 610"/>
                <a:gd name="T19" fmla="*/ 88 h 602"/>
                <a:gd name="T20" fmla="*/ 74 w 610"/>
                <a:gd name="T21" fmla="*/ 86 h 602"/>
                <a:gd name="T22" fmla="*/ 89 w 610"/>
                <a:gd name="T23" fmla="*/ 84 h 602"/>
                <a:gd name="T24" fmla="*/ 82 w 610"/>
                <a:gd name="T25" fmla="*/ 53 h 602"/>
                <a:gd name="T26" fmla="*/ 75 w 610"/>
                <a:gd name="T27" fmla="*/ 21 h 602"/>
                <a:gd name="T28" fmla="*/ 66 w 610"/>
                <a:gd name="T29" fmla="*/ 8 h 602"/>
                <a:gd name="T30" fmla="*/ 37 w 610"/>
                <a:gd name="T31" fmla="*/ 8 h 6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610" h="602">
                  <a:moveTo>
                    <a:pt x="240" y="13"/>
                  </a:moveTo>
                  <a:cubicBezTo>
                    <a:pt x="229" y="30"/>
                    <a:pt x="213" y="46"/>
                    <a:pt x="206" y="65"/>
                  </a:cubicBezTo>
                  <a:cubicBezTo>
                    <a:pt x="196" y="93"/>
                    <a:pt x="193" y="112"/>
                    <a:pt x="171" y="133"/>
                  </a:cubicBezTo>
                  <a:cubicBezTo>
                    <a:pt x="170" y="135"/>
                    <a:pt x="156" y="184"/>
                    <a:pt x="154" y="185"/>
                  </a:cubicBezTo>
                  <a:cubicBezTo>
                    <a:pt x="139" y="195"/>
                    <a:pt x="103" y="202"/>
                    <a:pt x="103" y="202"/>
                  </a:cubicBezTo>
                  <a:cubicBezTo>
                    <a:pt x="71" y="232"/>
                    <a:pt x="57" y="267"/>
                    <a:pt x="25" y="297"/>
                  </a:cubicBezTo>
                  <a:cubicBezTo>
                    <a:pt x="17" y="323"/>
                    <a:pt x="8" y="348"/>
                    <a:pt x="0" y="374"/>
                  </a:cubicBezTo>
                  <a:cubicBezTo>
                    <a:pt x="10" y="406"/>
                    <a:pt x="10" y="447"/>
                    <a:pt x="25" y="477"/>
                  </a:cubicBezTo>
                  <a:cubicBezTo>
                    <a:pt x="38" y="503"/>
                    <a:pt x="70" y="513"/>
                    <a:pt x="94" y="529"/>
                  </a:cubicBezTo>
                  <a:cubicBezTo>
                    <a:pt x="154" y="569"/>
                    <a:pt x="187" y="570"/>
                    <a:pt x="257" y="589"/>
                  </a:cubicBezTo>
                  <a:cubicBezTo>
                    <a:pt x="353" y="569"/>
                    <a:pt x="346" y="573"/>
                    <a:pt x="481" y="580"/>
                  </a:cubicBezTo>
                  <a:cubicBezTo>
                    <a:pt x="515" y="577"/>
                    <a:pt x="568" y="602"/>
                    <a:pt x="584" y="572"/>
                  </a:cubicBezTo>
                  <a:cubicBezTo>
                    <a:pt x="610" y="522"/>
                    <a:pt x="577" y="403"/>
                    <a:pt x="533" y="357"/>
                  </a:cubicBezTo>
                  <a:cubicBezTo>
                    <a:pt x="508" y="286"/>
                    <a:pt x="531" y="204"/>
                    <a:pt x="490" y="142"/>
                  </a:cubicBezTo>
                  <a:cubicBezTo>
                    <a:pt x="482" y="113"/>
                    <a:pt x="459" y="62"/>
                    <a:pt x="429" y="47"/>
                  </a:cubicBezTo>
                  <a:cubicBezTo>
                    <a:pt x="373" y="18"/>
                    <a:pt x="301" y="0"/>
                    <a:pt x="240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cap="flat" cmpd="sng">
                  <a:solidFill>
                    <a:srgbClr val="00285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rIns="72000"/>
            <a:lstStyle/>
            <a:p>
              <a:pPr algn="ctr"/>
              <a:endParaRPr lang="en-US" smtClean="0">
                <a:solidFill>
                  <a:srgbClr val="58585A"/>
                </a:solidFill>
                <a:latin typeface="Arial" pitchFamily="34" charset="0"/>
              </a:endParaRPr>
            </a:p>
          </p:txBody>
        </p:sp>
        <p:sp>
          <p:nvSpPr>
            <p:cNvPr id="8252" name="Freeform 45"/>
            <p:cNvSpPr>
              <a:spLocks/>
            </p:cNvSpPr>
            <p:nvPr/>
          </p:nvSpPr>
          <p:spPr bwMode="auto">
            <a:xfrm>
              <a:off x="2409" y="3472"/>
              <a:ext cx="710" cy="536"/>
            </a:xfrm>
            <a:custGeom>
              <a:avLst/>
              <a:gdLst>
                <a:gd name="T0" fmla="*/ 32 w 755"/>
                <a:gd name="T1" fmla="*/ 86 h 570"/>
                <a:gd name="T2" fmla="*/ 83 w 755"/>
                <a:gd name="T3" fmla="*/ 87 h 570"/>
                <a:gd name="T4" fmla="*/ 104 w 755"/>
                <a:gd name="T5" fmla="*/ 83 h 570"/>
                <a:gd name="T6" fmla="*/ 113 w 755"/>
                <a:gd name="T7" fmla="*/ 73 h 570"/>
                <a:gd name="T8" fmla="*/ 108 w 755"/>
                <a:gd name="T9" fmla="*/ 50 h 570"/>
                <a:gd name="T10" fmla="*/ 63 w 755"/>
                <a:gd name="T11" fmla="*/ 0 h 570"/>
                <a:gd name="T12" fmla="*/ 36 w 755"/>
                <a:gd name="T13" fmla="*/ 8 h 570"/>
                <a:gd name="T14" fmla="*/ 25 w 755"/>
                <a:gd name="T15" fmla="*/ 8 h 570"/>
                <a:gd name="T16" fmla="*/ 19 w 755"/>
                <a:gd name="T17" fmla="*/ 14 h 570"/>
                <a:gd name="T18" fmla="*/ 11 w 755"/>
                <a:gd name="T19" fmla="*/ 25 h 570"/>
                <a:gd name="T20" fmla="*/ 18 w 755"/>
                <a:gd name="T21" fmla="*/ 70 h 570"/>
                <a:gd name="T22" fmla="*/ 25 w 755"/>
                <a:gd name="T23" fmla="*/ 80 h 570"/>
                <a:gd name="T24" fmla="*/ 32 w 755"/>
                <a:gd name="T25" fmla="*/ 86 h 57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55" h="570">
                  <a:moveTo>
                    <a:pt x="198" y="542"/>
                  </a:moveTo>
                  <a:cubicBezTo>
                    <a:pt x="310" y="552"/>
                    <a:pt x="413" y="558"/>
                    <a:pt x="525" y="550"/>
                  </a:cubicBezTo>
                  <a:cubicBezTo>
                    <a:pt x="570" y="536"/>
                    <a:pt x="617" y="534"/>
                    <a:pt x="663" y="525"/>
                  </a:cubicBezTo>
                  <a:cubicBezTo>
                    <a:pt x="688" y="498"/>
                    <a:pt x="703" y="501"/>
                    <a:pt x="714" y="464"/>
                  </a:cubicBezTo>
                  <a:cubicBezTo>
                    <a:pt x="708" y="393"/>
                    <a:pt x="714" y="370"/>
                    <a:pt x="680" y="318"/>
                  </a:cubicBezTo>
                  <a:cubicBezTo>
                    <a:pt x="712" y="117"/>
                    <a:pt x="755" y="288"/>
                    <a:pt x="396" y="0"/>
                  </a:cubicBezTo>
                  <a:cubicBezTo>
                    <a:pt x="338" y="15"/>
                    <a:pt x="284" y="27"/>
                    <a:pt x="224" y="34"/>
                  </a:cubicBezTo>
                  <a:cubicBezTo>
                    <a:pt x="215" y="36"/>
                    <a:pt x="175" y="46"/>
                    <a:pt x="164" y="52"/>
                  </a:cubicBezTo>
                  <a:cubicBezTo>
                    <a:pt x="146" y="62"/>
                    <a:pt x="112" y="86"/>
                    <a:pt x="112" y="86"/>
                  </a:cubicBezTo>
                  <a:cubicBezTo>
                    <a:pt x="102" y="118"/>
                    <a:pt x="80" y="132"/>
                    <a:pt x="69" y="163"/>
                  </a:cubicBezTo>
                  <a:cubicBezTo>
                    <a:pt x="56" y="249"/>
                    <a:pt x="0" y="403"/>
                    <a:pt x="104" y="439"/>
                  </a:cubicBezTo>
                  <a:cubicBezTo>
                    <a:pt x="123" y="467"/>
                    <a:pt x="136" y="481"/>
                    <a:pt x="164" y="499"/>
                  </a:cubicBezTo>
                  <a:cubicBezTo>
                    <a:pt x="199" y="552"/>
                    <a:pt x="198" y="570"/>
                    <a:pt x="198" y="5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cap="flat" cmpd="sng">
                  <a:solidFill>
                    <a:srgbClr val="00285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rIns="72000"/>
            <a:lstStyle/>
            <a:p>
              <a:pPr algn="ctr"/>
              <a:endParaRPr lang="en-US" smtClean="0">
                <a:solidFill>
                  <a:srgbClr val="58585A"/>
                </a:solidFill>
                <a:latin typeface="Arial" pitchFamily="34" charset="0"/>
              </a:endParaRPr>
            </a:p>
          </p:txBody>
        </p:sp>
        <p:sp>
          <p:nvSpPr>
            <p:cNvPr id="8253" name="Freeform 46"/>
            <p:cNvSpPr>
              <a:spLocks/>
            </p:cNvSpPr>
            <p:nvPr/>
          </p:nvSpPr>
          <p:spPr bwMode="auto">
            <a:xfrm>
              <a:off x="2731" y="3456"/>
              <a:ext cx="347" cy="258"/>
            </a:xfrm>
            <a:custGeom>
              <a:avLst/>
              <a:gdLst>
                <a:gd name="T0" fmla="*/ 13 w 369"/>
                <a:gd name="T1" fmla="*/ 0 h 274"/>
                <a:gd name="T2" fmla="*/ 33 w 369"/>
                <a:gd name="T3" fmla="*/ 8 h 274"/>
                <a:gd name="T4" fmla="*/ 48 w 369"/>
                <a:gd name="T5" fmla="*/ 9 h 274"/>
                <a:gd name="T6" fmla="*/ 55 w 369"/>
                <a:gd name="T7" fmla="*/ 21 h 274"/>
                <a:gd name="T8" fmla="*/ 46 w 369"/>
                <a:gd name="T9" fmla="*/ 43 h 274"/>
                <a:gd name="T10" fmla="*/ 9 w 369"/>
                <a:gd name="T11" fmla="*/ 38 h 274"/>
                <a:gd name="T12" fmla="*/ 8 w 369"/>
                <a:gd name="T13" fmla="*/ 30 h 274"/>
                <a:gd name="T14" fmla="*/ 8 w 369"/>
                <a:gd name="T15" fmla="*/ 24 h 274"/>
                <a:gd name="T16" fmla="*/ 8 w 369"/>
                <a:gd name="T17" fmla="*/ 21 h 274"/>
                <a:gd name="T18" fmla="*/ 13 w 369"/>
                <a:gd name="T19" fmla="*/ 0 h 27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69" h="274">
                  <a:moveTo>
                    <a:pt x="80" y="0"/>
                  </a:moveTo>
                  <a:cubicBezTo>
                    <a:pt x="123" y="3"/>
                    <a:pt x="166" y="3"/>
                    <a:pt x="209" y="8"/>
                  </a:cubicBezTo>
                  <a:cubicBezTo>
                    <a:pt x="246" y="12"/>
                    <a:pt x="269" y="48"/>
                    <a:pt x="303" y="60"/>
                  </a:cubicBezTo>
                  <a:cubicBezTo>
                    <a:pt x="324" y="122"/>
                    <a:pt x="306" y="102"/>
                    <a:pt x="346" y="129"/>
                  </a:cubicBezTo>
                  <a:cubicBezTo>
                    <a:pt x="369" y="196"/>
                    <a:pt x="361" y="246"/>
                    <a:pt x="295" y="266"/>
                  </a:cubicBezTo>
                  <a:cubicBezTo>
                    <a:pt x="0" y="254"/>
                    <a:pt x="180" y="274"/>
                    <a:pt x="63" y="232"/>
                  </a:cubicBezTo>
                  <a:cubicBezTo>
                    <a:pt x="57" y="215"/>
                    <a:pt x="51" y="197"/>
                    <a:pt x="45" y="180"/>
                  </a:cubicBezTo>
                  <a:cubicBezTo>
                    <a:pt x="42" y="172"/>
                    <a:pt x="40" y="163"/>
                    <a:pt x="37" y="155"/>
                  </a:cubicBezTo>
                  <a:cubicBezTo>
                    <a:pt x="34" y="146"/>
                    <a:pt x="28" y="129"/>
                    <a:pt x="28" y="129"/>
                  </a:cubicBezTo>
                  <a:cubicBezTo>
                    <a:pt x="41" y="80"/>
                    <a:pt x="54" y="43"/>
                    <a:pt x="8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cap="flat" cmpd="sng">
                  <a:solidFill>
                    <a:srgbClr val="00285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rIns="72000"/>
            <a:lstStyle/>
            <a:p>
              <a:pPr algn="ctr"/>
              <a:endParaRPr lang="en-US" smtClean="0">
                <a:solidFill>
                  <a:srgbClr val="58585A"/>
                </a:solidFill>
                <a:latin typeface="Arial" pitchFamily="34" charset="0"/>
              </a:endParaRPr>
            </a:p>
          </p:txBody>
        </p:sp>
        <p:sp>
          <p:nvSpPr>
            <p:cNvPr id="8254" name="Freeform 47"/>
            <p:cNvSpPr>
              <a:spLocks/>
            </p:cNvSpPr>
            <p:nvPr/>
          </p:nvSpPr>
          <p:spPr bwMode="auto">
            <a:xfrm>
              <a:off x="2305" y="3367"/>
              <a:ext cx="426" cy="238"/>
            </a:xfrm>
            <a:custGeom>
              <a:avLst/>
              <a:gdLst>
                <a:gd name="T0" fmla="*/ 13 w 453"/>
                <a:gd name="T1" fmla="*/ 33 h 253"/>
                <a:gd name="T2" fmla="*/ 35 w 453"/>
                <a:gd name="T3" fmla="*/ 37 h 253"/>
                <a:gd name="T4" fmla="*/ 53 w 453"/>
                <a:gd name="T5" fmla="*/ 35 h 253"/>
                <a:gd name="T6" fmla="*/ 65 w 453"/>
                <a:gd name="T7" fmla="*/ 31 h 253"/>
                <a:gd name="T8" fmla="*/ 63 w 453"/>
                <a:gd name="T9" fmla="*/ 8 h 253"/>
                <a:gd name="T10" fmla="*/ 49 w 453"/>
                <a:gd name="T11" fmla="*/ 8 h 253"/>
                <a:gd name="T12" fmla="*/ 32 w 453"/>
                <a:gd name="T13" fmla="*/ 0 h 253"/>
                <a:gd name="T14" fmla="*/ 11 w 453"/>
                <a:gd name="T15" fmla="*/ 9 h 253"/>
                <a:gd name="T16" fmla="*/ 0 w 453"/>
                <a:gd name="T17" fmla="*/ 18 h 253"/>
                <a:gd name="T18" fmla="*/ 8 w 453"/>
                <a:gd name="T19" fmla="*/ 31 h 253"/>
                <a:gd name="T20" fmla="*/ 13 w 453"/>
                <a:gd name="T21" fmla="*/ 33 h 25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53" h="253">
                  <a:moveTo>
                    <a:pt x="77" y="207"/>
                  </a:moveTo>
                  <a:cubicBezTo>
                    <a:pt x="124" y="253"/>
                    <a:pt x="157" y="240"/>
                    <a:pt x="223" y="232"/>
                  </a:cubicBezTo>
                  <a:cubicBezTo>
                    <a:pt x="286" y="213"/>
                    <a:pt x="211" y="234"/>
                    <a:pt x="335" y="215"/>
                  </a:cubicBezTo>
                  <a:cubicBezTo>
                    <a:pt x="362" y="211"/>
                    <a:pt x="412" y="189"/>
                    <a:pt x="412" y="189"/>
                  </a:cubicBezTo>
                  <a:cubicBezTo>
                    <a:pt x="453" y="150"/>
                    <a:pt x="437" y="87"/>
                    <a:pt x="395" y="52"/>
                  </a:cubicBezTo>
                  <a:cubicBezTo>
                    <a:pt x="381" y="40"/>
                    <a:pt x="310" y="35"/>
                    <a:pt x="309" y="35"/>
                  </a:cubicBezTo>
                  <a:cubicBezTo>
                    <a:pt x="270" y="9"/>
                    <a:pt x="247" y="7"/>
                    <a:pt x="198" y="0"/>
                  </a:cubicBezTo>
                  <a:cubicBezTo>
                    <a:pt x="149" y="17"/>
                    <a:pt x="116" y="44"/>
                    <a:pt x="69" y="61"/>
                  </a:cubicBezTo>
                  <a:cubicBezTo>
                    <a:pt x="48" y="81"/>
                    <a:pt x="25" y="87"/>
                    <a:pt x="0" y="103"/>
                  </a:cubicBezTo>
                  <a:cubicBezTo>
                    <a:pt x="13" y="158"/>
                    <a:pt x="1" y="128"/>
                    <a:pt x="43" y="189"/>
                  </a:cubicBezTo>
                  <a:cubicBezTo>
                    <a:pt x="50" y="200"/>
                    <a:pt x="68" y="197"/>
                    <a:pt x="77" y="207"/>
                  </a:cubicBezTo>
                  <a:close/>
                </a:path>
              </a:pathLst>
            </a:custGeom>
            <a:solidFill>
              <a:srgbClr val="FFFFFF"/>
            </a:solidFill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rIns="72000"/>
            <a:lstStyle/>
            <a:p>
              <a:pPr algn="ctr"/>
              <a:endParaRPr lang="en-US" smtClean="0">
                <a:solidFill>
                  <a:srgbClr val="58585A"/>
                </a:solidFill>
                <a:latin typeface="Arial" pitchFamily="34" charset="0"/>
              </a:endParaRPr>
            </a:p>
          </p:txBody>
        </p:sp>
        <p:sp>
          <p:nvSpPr>
            <p:cNvPr id="8255" name="Freeform 48" descr="bpct-blend3"/>
            <p:cNvSpPr>
              <a:spLocks noChangeAspect="1"/>
            </p:cNvSpPr>
            <p:nvPr/>
          </p:nvSpPr>
          <p:spPr bwMode="auto">
            <a:xfrm>
              <a:off x="2056" y="3353"/>
              <a:ext cx="1053" cy="656"/>
            </a:xfrm>
            <a:custGeom>
              <a:avLst/>
              <a:gdLst>
                <a:gd name="T0" fmla="*/ 2147483647 w 474"/>
                <a:gd name="T1" fmla="*/ 2147483647 h 295"/>
                <a:gd name="T2" fmla="*/ 2147483647 w 474"/>
                <a:gd name="T3" fmla="*/ 2147483647 h 295"/>
                <a:gd name="T4" fmla="*/ 2147483647 w 474"/>
                <a:gd name="T5" fmla="*/ 2147483647 h 295"/>
                <a:gd name="T6" fmla="*/ 2147483647 w 474"/>
                <a:gd name="T7" fmla="*/ 2147483647 h 295"/>
                <a:gd name="T8" fmla="*/ 2147483647 w 474"/>
                <a:gd name="T9" fmla="*/ 2147483647 h 295"/>
                <a:gd name="T10" fmla="*/ 2147483647 w 474"/>
                <a:gd name="T11" fmla="*/ 2147483647 h 295"/>
                <a:gd name="T12" fmla="*/ 2147483647 w 474"/>
                <a:gd name="T13" fmla="*/ 2147483647 h 295"/>
                <a:gd name="T14" fmla="*/ 2147483647 w 474"/>
                <a:gd name="T15" fmla="*/ 2147483647 h 295"/>
                <a:gd name="T16" fmla="*/ 2147483647 w 474"/>
                <a:gd name="T17" fmla="*/ 2147483647 h 295"/>
                <a:gd name="T18" fmla="*/ 2147483647 w 474"/>
                <a:gd name="T19" fmla="*/ 2147483647 h 295"/>
                <a:gd name="T20" fmla="*/ 2147483647 w 474"/>
                <a:gd name="T21" fmla="*/ 2147483647 h 295"/>
                <a:gd name="T22" fmla="*/ 2147483647 w 474"/>
                <a:gd name="T23" fmla="*/ 2147483647 h 295"/>
                <a:gd name="T24" fmla="*/ 2147483647 w 474"/>
                <a:gd name="T25" fmla="*/ 2147483647 h 295"/>
                <a:gd name="T26" fmla="*/ 2147483647 w 474"/>
                <a:gd name="T27" fmla="*/ 2147483647 h 295"/>
                <a:gd name="T28" fmla="*/ 2147483647 w 474"/>
                <a:gd name="T29" fmla="*/ 2147483647 h 295"/>
                <a:gd name="T30" fmla="*/ 2147483647 w 474"/>
                <a:gd name="T31" fmla="*/ 2147483647 h 295"/>
                <a:gd name="T32" fmla="*/ 2147483647 w 474"/>
                <a:gd name="T33" fmla="*/ 2147483647 h 295"/>
                <a:gd name="T34" fmla="*/ 2147483647 w 474"/>
                <a:gd name="T35" fmla="*/ 2147483647 h 295"/>
                <a:gd name="T36" fmla="*/ 2147483647 w 474"/>
                <a:gd name="T37" fmla="*/ 2147483647 h 295"/>
                <a:gd name="T38" fmla="*/ 2147483647 w 474"/>
                <a:gd name="T39" fmla="*/ 2147483647 h 295"/>
                <a:gd name="T40" fmla="*/ 2147483647 w 474"/>
                <a:gd name="T41" fmla="*/ 2147483647 h 295"/>
                <a:gd name="T42" fmla="*/ 2147483647 w 474"/>
                <a:gd name="T43" fmla="*/ 2147483647 h 295"/>
                <a:gd name="T44" fmla="*/ 2147483647 w 474"/>
                <a:gd name="T45" fmla="*/ 2147483647 h 295"/>
                <a:gd name="T46" fmla="*/ 2147483647 w 474"/>
                <a:gd name="T47" fmla="*/ 2147483647 h 295"/>
                <a:gd name="T48" fmla="*/ 2147483647 w 474"/>
                <a:gd name="T49" fmla="*/ 2147483647 h 295"/>
                <a:gd name="T50" fmla="*/ 2147483647 w 474"/>
                <a:gd name="T51" fmla="*/ 2147483647 h 295"/>
                <a:gd name="T52" fmla="*/ 2147483647 w 474"/>
                <a:gd name="T53" fmla="*/ 2147483647 h 295"/>
                <a:gd name="T54" fmla="*/ 2147483647 w 474"/>
                <a:gd name="T55" fmla="*/ 2147483647 h 295"/>
                <a:gd name="T56" fmla="*/ 2147483647 w 474"/>
                <a:gd name="T57" fmla="*/ 2147483647 h 295"/>
                <a:gd name="T58" fmla="*/ 2147483647 w 474"/>
                <a:gd name="T59" fmla="*/ 0 h 295"/>
                <a:gd name="T60" fmla="*/ 2147483647 w 474"/>
                <a:gd name="T61" fmla="*/ 2147483647 h 295"/>
                <a:gd name="T62" fmla="*/ 0 w 474"/>
                <a:gd name="T63" fmla="*/ 2147483647 h 295"/>
                <a:gd name="T64" fmla="*/ 2147483647 w 474"/>
                <a:gd name="T65" fmla="*/ 2147483647 h 295"/>
                <a:gd name="T66" fmla="*/ 2147483647 w 474"/>
                <a:gd name="T67" fmla="*/ 2147483647 h 295"/>
                <a:gd name="T68" fmla="*/ 2147483647 w 474"/>
                <a:gd name="T69" fmla="*/ 2147483647 h 295"/>
                <a:gd name="T70" fmla="*/ 2147483647 w 474"/>
                <a:gd name="T71" fmla="*/ 2147483647 h 295"/>
                <a:gd name="T72" fmla="*/ 2147483647 w 474"/>
                <a:gd name="T73" fmla="*/ 2147483647 h 295"/>
                <a:gd name="T74" fmla="*/ 2147483647 w 474"/>
                <a:gd name="T75" fmla="*/ 2147483647 h 295"/>
                <a:gd name="T76" fmla="*/ 2147483647 w 474"/>
                <a:gd name="T77" fmla="*/ 2147483647 h 295"/>
                <a:gd name="T78" fmla="*/ 2147483647 w 474"/>
                <a:gd name="T79" fmla="*/ 2147483647 h 295"/>
                <a:gd name="T80" fmla="*/ 2147483647 w 474"/>
                <a:gd name="T81" fmla="*/ 2147483647 h 295"/>
                <a:gd name="T82" fmla="*/ 2147483647 w 474"/>
                <a:gd name="T83" fmla="*/ 2147483647 h 295"/>
                <a:gd name="T84" fmla="*/ 2147483647 w 474"/>
                <a:gd name="T85" fmla="*/ 2147483647 h 29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474" h="295">
                  <a:moveTo>
                    <a:pt x="454" y="182"/>
                  </a:moveTo>
                  <a:cubicBezTo>
                    <a:pt x="461" y="168"/>
                    <a:pt x="466" y="153"/>
                    <a:pt x="466" y="136"/>
                  </a:cubicBezTo>
                  <a:cubicBezTo>
                    <a:pt x="466" y="106"/>
                    <a:pt x="452" y="80"/>
                    <a:pt x="432" y="61"/>
                  </a:cubicBezTo>
                  <a:cubicBezTo>
                    <a:pt x="428" y="58"/>
                    <a:pt x="423" y="59"/>
                    <a:pt x="420" y="63"/>
                  </a:cubicBezTo>
                  <a:cubicBezTo>
                    <a:pt x="418" y="66"/>
                    <a:pt x="418" y="71"/>
                    <a:pt x="422" y="74"/>
                  </a:cubicBezTo>
                  <a:cubicBezTo>
                    <a:pt x="422" y="74"/>
                    <a:pt x="422" y="74"/>
                    <a:pt x="422" y="74"/>
                  </a:cubicBezTo>
                  <a:cubicBezTo>
                    <a:pt x="439" y="90"/>
                    <a:pt x="450" y="112"/>
                    <a:pt x="450" y="136"/>
                  </a:cubicBezTo>
                  <a:cubicBezTo>
                    <a:pt x="450" y="152"/>
                    <a:pt x="445" y="167"/>
                    <a:pt x="437" y="179"/>
                  </a:cubicBezTo>
                  <a:cubicBezTo>
                    <a:pt x="435" y="183"/>
                    <a:pt x="436" y="187"/>
                    <a:pt x="439" y="189"/>
                  </a:cubicBezTo>
                  <a:cubicBezTo>
                    <a:pt x="450" y="200"/>
                    <a:pt x="458" y="214"/>
                    <a:pt x="458" y="230"/>
                  </a:cubicBezTo>
                  <a:cubicBezTo>
                    <a:pt x="458" y="240"/>
                    <a:pt x="453" y="253"/>
                    <a:pt x="445" y="262"/>
                  </a:cubicBezTo>
                  <a:cubicBezTo>
                    <a:pt x="436" y="272"/>
                    <a:pt x="424" y="279"/>
                    <a:pt x="410" y="279"/>
                  </a:cubicBezTo>
                  <a:cubicBezTo>
                    <a:pt x="350" y="279"/>
                    <a:pt x="350" y="279"/>
                    <a:pt x="350" y="279"/>
                  </a:cubicBezTo>
                  <a:cubicBezTo>
                    <a:pt x="74" y="279"/>
                    <a:pt x="74" y="279"/>
                    <a:pt x="74" y="279"/>
                  </a:cubicBezTo>
                  <a:cubicBezTo>
                    <a:pt x="58" y="279"/>
                    <a:pt x="44" y="270"/>
                    <a:pt x="33" y="256"/>
                  </a:cubicBezTo>
                  <a:cubicBezTo>
                    <a:pt x="22" y="243"/>
                    <a:pt x="16" y="225"/>
                    <a:pt x="16" y="209"/>
                  </a:cubicBezTo>
                  <a:cubicBezTo>
                    <a:pt x="16" y="172"/>
                    <a:pt x="42" y="141"/>
                    <a:pt x="77" y="134"/>
                  </a:cubicBezTo>
                  <a:cubicBezTo>
                    <a:pt x="81" y="133"/>
                    <a:pt x="83" y="130"/>
                    <a:pt x="84" y="127"/>
                  </a:cubicBezTo>
                  <a:cubicBezTo>
                    <a:pt x="90" y="65"/>
                    <a:pt x="142" y="16"/>
                    <a:pt x="206" y="16"/>
                  </a:cubicBezTo>
                  <a:cubicBezTo>
                    <a:pt x="247" y="16"/>
                    <a:pt x="282" y="36"/>
                    <a:pt x="305" y="66"/>
                  </a:cubicBezTo>
                  <a:cubicBezTo>
                    <a:pt x="308" y="70"/>
                    <a:pt x="313" y="70"/>
                    <a:pt x="316" y="68"/>
                  </a:cubicBezTo>
                  <a:cubicBezTo>
                    <a:pt x="330" y="58"/>
                    <a:pt x="347" y="52"/>
                    <a:pt x="365" y="52"/>
                  </a:cubicBezTo>
                  <a:cubicBezTo>
                    <a:pt x="376" y="52"/>
                    <a:pt x="386" y="54"/>
                    <a:pt x="395" y="57"/>
                  </a:cubicBezTo>
                  <a:cubicBezTo>
                    <a:pt x="395" y="57"/>
                    <a:pt x="396" y="58"/>
                    <a:pt x="396" y="58"/>
                  </a:cubicBezTo>
                  <a:cubicBezTo>
                    <a:pt x="400" y="59"/>
                    <a:pt x="405" y="58"/>
                    <a:pt x="406" y="54"/>
                  </a:cubicBezTo>
                  <a:cubicBezTo>
                    <a:pt x="407" y="52"/>
                    <a:pt x="407" y="51"/>
                    <a:pt x="407" y="49"/>
                  </a:cubicBezTo>
                  <a:cubicBezTo>
                    <a:pt x="407" y="47"/>
                    <a:pt x="405" y="44"/>
                    <a:pt x="403" y="43"/>
                  </a:cubicBezTo>
                  <a:cubicBezTo>
                    <a:pt x="391" y="38"/>
                    <a:pt x="378" y="36"/>
                    <a:pt x="365" y="36"/>
                  </a:cubicBezTo>
                  <a:cubicBezTo>
                    <a:pt x="346" y="36"/>
                    <a:pt x="328" y="41"/>
                    <a:pt x="313" y="51"/>
                  </a:cubicBezTo>
                  <a:cubicBezTo>
                    <a:pt x="288" y="20"/>
                    <a:pt x="249" y="0"/>
                    <a:pt x="206" y="0"/>
                  </a:cubicBezTo>
                  <a:cubicBezTo>
                    <a:pt x="136" y="0"/>
                    <a:pt x="78" y="52"/>
                    <a:pt x="68" y="120"/>
                  </a:cubicBezTo>
                  <a:cubicBezTo>
                    <a:pt x="29" y="130"/>
                    <a:pt x="0" y="166"/>
                    <a:pt x="0" y="209"/>
                  </a:cubicBezTo>
                  <a:cubicBezTo>
                    <a:pt x="0" y="229"/>
                    <a:pt x="7" y="250"/>
                    <a:pt x="20" y="266"/>
                  </a:cubicBezTo>
                  <a:cubicBezTo>
                    <a:pt x="33" y="283"/>
                    <a:pt x="52" y="295"/>
                    <a:pt x="74" y="295"/>
                  </a:cubicBezTo>
                  <a:cubicBezTo>
                    <a:pt x="350" y="295"/>
                    <a:pt x="350" y="295"/>
                    <a:pt x="350" y="295"/>
                  </a:cubicBezTo>
                  <a:cubicBezTo>
                    <a:pt x="350" y="295"/>
                    <a:pt x="351" y="295"/>
                    <a:pt x="351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410" y="295"/>
                    <a:pt x="410" y="295"/>
                    <a:pt x="410" y="295"/>
                  </a:cubicBezTo>
                  <a:cubicBezTo>
                    <a:pt x="430" y="295"/>
                    <a:pt x="446" y="286"/>
                    <a:pt x="457" y="273"/>
                  </a:cubicBezTo>
                  <a:cubicBezTo>
                    <a:pt x="468" y="260"/>
                    <a:pt x="474" y="244"/>
                    <a:pt x="474" y="230"/>
                  </a:cubicBezTo>
                  <a:cubicBezTo>
                    <a:pt x="474" y="211"/>
                    <a:pt x="466" y="194"/>
                    <a:pt x="454" y="182"/>
                  </a:cubicBezTo>
                  <a:close/>
                </a:path>
              </a:pathLst>
            </a:custGeom>
            <a:blipFill dpi="0" rotWithShape="0">
              <a:blip r:embed="rId7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/>
              <a:endParaRPr lang="en-US" smtClean="0">
                <a:solidFill>
                  <a:srgbClr val="58585A"/>
                </a:solidFill>
                <a:latin typeface="Arial" pitchFamily="34" charset="0"/>
              </a:endParaRPr>
            </a:p>
          </p:txBody>
        </p:sp>
      </p:grpSp>
      <p:grpSp>
        <p:nvGrpSpPr>
          <p:cNvPr id="8234" name="Group 49"/>
          <p:cNvGrpSpPr>
            <a:grpSpLocks/>
          </p:cNvGrpSpPr>
          <p:nvPr/>
        </p:nvGrpSpPr>
        <p:grpSpPr bwMode="auto">
          <a:xfrm>
            <a:off x="9625656" y="1357318"/>
            <a:ext cx="2514600" cy="1571625"/>
            <a:chOff x="4462" y="2902"/>
            <a:chExt cx="1584" cy="990"/>
          </a:xfrm>
        </p:grpSpPr>
        <p:sp>
          <p:nvSpPr>
            <p:cNvPr id="8246" name="Freeform 50"/>
            <p:cNvSpPr>
              <a:spLocks/>
            </p:cNvSpPr>
            <p:nvPr/>
          </p:nvSpPr>
          <p:spPr bwMode="auto">
            <a:xfrm>
              <a:off x="4484" y="3050"/>
              <a:ext cx="854" cy="842"/>
            </a:xfrm>
            <a:custGeom>
              <a:avLst/>
              <a:gdLst>
                <a:gd name="T0" fmla="*/ 5801614 w 610"/>
                <a:gd name="T1" fmla="*/ 305064 h 602"/>
                <a:gd name="T2" fmla="*/ 4975475 w 610"/>
                <a:gd name="T3" fmla="*/ 1529532 h 602"/>
                <a:gd name="T4" fmla="*/ 4139796 w 610"/>
                <a:gd name="T5" fmla="*/ 3128394 h 602"/>
                <a:gd name="T6" fmla="*/ 3730868 w 610"/>
                <a:gd name="T7" fmla="*/ 4350755 h 602"/>
                <a:gd name="T8" fmla="*/ 2492669 w 610"/>
                <a:gd name="T9" fmla="*/ 4761296 h 602"/>
                <a:gd name="T10" fmla="*/ 609972 w 610"/>
                <a:gd name="T11" fmla="*/ 6968542 h 602"/>
                <a:gd name="T12" fmla="*/ 0 w 610"/>
                <a:gd name="T13" fmla="*/ 8802714 h 602"/>
                <a:gd name="T14" fmla="*/ 609972 w 610"/>
                <a:gd name="T15" fmla="*/ 11218574 h 602"/>
                <a:gd name="T16" fmla="*/ 2284080 w 610"/>
                <a:gd name="T17" fmla="*/ 12444687 h 602"/>
                <a:gd name="T18" fmla="*/ 6222672 w 610"/>
                <a:gd name="T19" fmla="*/ 13864757 h 602"/>
                <a:gd name="T20" fmla="*/ 11634601 w 610"/>
                <a:gd name="T21" fmla="*/ 13632425 h 602"/>
                <a:gd name="T22" fmla="*/ 14140356 w 610"/>
                <a:gd name="T23" fmla="*/ 13456326 h 602"/>
                <a:gd name="T24" fmla="*/ 12896874 w 610"/>
                <a:gd name="T25" fmla="*/ 8387407 h 602"/>
                <a:gd name="T26" fmla="*/ 11857364 w 610"/>
                <a:gd name="T27" fmla="*/ 3342353 h 602"/>
                <a:gd name="T28" fmla="*/ 10381364 w 610"/>
                <a:gd name="T29" fmla="*/ 1105331 h 602"/>
                <a:gd name="T30" fmla="*/ 5801614 w 610"/>
                <a:gd name="T31" fmla="*/ 305064 h 6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610" h="602">
                  <a:moveTo>
                    <a:pt x="240" y="13"/>
                  </a:moveTo>
                  <a:cubicBezTo>
                    <a:pt x="229" y="30"/>
                    <a:pt x="213" y="46"/>
                    <a:pt x="206" y="65"/>
                  </a:cubicBezTo>
                  <a:cubicBezTo>
                    <a:pt x="196" y="93"/>
                    <a:pt x="193" y="112"/>
                    <a:pt x="171" y="133"/>
                  </a:cubicBezTo>
                  <a:cubicBezTo>
                    <a:pt x="170" y="135"/>
                    <a:pt x="156" y="184"/>
                    <a:pt x="154" y="185"/>
                  </a:cubicBezTo>
                  <a:cubicBezTo>
                    <a:pt x="139" y="195"/>
                    <a:pt x="103" y="202"/>
                    <a:pt x="103" y="202"/>
                  </a:cubicBezTo>
                  <a:cubicBezTo>
                    <a:pt x="71" y="232"/>
                    <a:pt x="57" y="267"/>
                    <a:pt x="25" y="297"/>
                  </a:cubicBezTo>
                  <a:cubicBezTo>
                    <a:pt x="17" y="323"/>
                    <a:pt x="8" y="348"/>
                    <a:pt x="0" y="374"/>
                  </a:cubicBezTo>
                  <a:cubicBezTo>
                    <a:pt x="10" y="406"/>
                    <a:pt x="10" y="447"/>
                    <a:pt x="25" y="477"/>
                  </a:cubicBezTo>
                  <a:cubicBezTo>
                    <a:pt x="38" y="503"/>
                    <a:pt x="70" y="513"/>
                    <a:pt x="94" y="529"/>
                  </a:cubicBezTo>
                  <a:cubicBezTo>
                    <a:pt x="154" y="569"/>
                    <a:pt x="187" y="570"/>
                    <a:pt x="257" y="589"/>
                  </a:cubicBezTo>
                  <a:cubicBezTo>
                    <a:pt x="353" y="569"/>
                    <a:pt x="346" y="573"/>
                    <a:pt x="481" y="580"/>
                  </a:cubicBezTo>
                  <a:cubicBezTo>
                    <a:pt x="515" y="577"/>
                    <a:pt x="568" y="602"/>
                    <a:pt x="584" y="572"/>
                  </a:cubicBezTo>
                  <a:cubicBezTo>
                    <a:pt x="610" y="522"/>
                    <a:pt x="577" y="403"/>
                    <a:pt x="533" y="357"/>
                  </a:cubicBezTo>
                  <a:cubicBezTo>
                    <a:pt x="508" y="286"/>
                    <a:pt x="531" y="204"/>
                    <a:pt x="490" y="142"/>
                  </a:cubicBezTo>
                  <a:cubicBezTo>
                    <a:pt x="482" y="113"/>
                    <a:pt x="459" y="62"/>
                    <a:pt x="429" y="47"/>
                  </a:cubicBezTo>
                  <a:cubicBezTo>
                    <a:pt x="373" y="18"/>
                    <a:pt x="301" y="0"/>
                    <a:pt x="240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cap="flat" cmpd="sng">
                  <a:solidFill>
                    <a:srgbClr val="00285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rIns="72000"/>
            <a:lstStyle/>
            <a:p>
              <a:pPr algn="ctr"/>
              <a:endParaRPr lang="en-US" smtClean="0">
                <a:solidFill>
                  <a:srgbClr val="58585A"/>
                </a:solidFill>
                <a:latin typeface="Arial" pitchFamily="34" charset="0"/>
              </a:endParaRPr>
            </a:p>
          </p:txBody>
        </p:sp>
        <p:sp>
          <p:nvSpPr>
            <p:cNvPr id="8247" name="Freeform 51"/>
            <p:cNvSpPr>
              <a:spLocks/>
            </p:cNvSpPr>
            <p:nvPr/>
          </p:nvSpPr>
          <p:spPr bwMode="auto">
            <a:xfrm>
              <a:off x="4988" y="3079"/>
              <a:ext cx="1058" cy="800"/>
            </a:xfrm>
            <a:custGeom>
              <a:avLst/>
              <a:gdLst>
                <a:gd name="T0" fmla="*/ 4922842 w 755"/>
                <a:gd name="T1" fmla="*/ 14149869 h 570"/>
                <a:gd name="T2" fmla="*/ 13076603 w 755"/>
                <a:gd name="T3" fmla="*/ 14354755 h 570"/>
                <a:gd name="T4" fmla="*/ 16509133 w 755"/>
                <a:gd name="T5" fmla="*/ 13688550 h 570"/>
                <a:gd name="T6" fmla="*/ 17791611 w 755"/>
                <a:gd name="T7" fmla="*/ 12109928 h 570"/>
                <a:gd name="T8" fmla="*/ 16926184 w 755"/>
                <a:gd name="T9" fmla="*/ 8297482 h 570"/>
                <a:gd name="T10" fmla="*/ 9862676 w 755"/>
                <a:gd name="T11" fmla="*/ 0 h 570"/>
                <a:gd name="T12" fmla="*/ 5581986 w 755"/>
                <a:gd name="T13" fmla="*/ 887208 h 570"/>
                <a:gd name="T14" fmla="*/ 4081459 w 755"/>
                <a:gd name="T15" fmla="*/ 1351610 h 570"/>
                <a:gd name="T16" fmla="*/ 2787267 w 755"/>
                <a:gd name="T17" fmla="*/ 2252320 h 570"/>
                <a:gd name="T18" fmla="*/ 1731669 w 755"/>
                <a:gd name="T19" fmla="*/ 4253938 h 570"/>
                <a:gd name="T20" fmla="*/ 2595692 w 755"/>
                <a:gd name="T21" fmla="*/ 11458216 h 570"/>
                <a:gd name="T22" fmla="*/ 4081459 w 755"/>
                <a:gd name="T23" fmla="*/ 13000929 h 570"/>
                <a:gd name="T24" fmla="*/ 4922842 w 755"/>
                <a:gd name="T25" fmla="*/ 14149869 h 57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55" h="570">
                  <a:moveTo>
                    <a:pt x="198" y="542"/>
                  </a:moveTo>
                  <a:cubicBezTo>
                    <a:pt x="310" y="552"/>
                    <a:pt x="413" y="558"/>
                    <a:pt x="525" y="550"/>
                  </a:cubicBezTo>
                  <a:cubicBezTo>
                    <a:pt x="570" y="536"/>
                    <a:pt x="617" y="534"/>
                    <a:pt x="663" y="525"/>
                  </a:cubicBezTo>
                  <a:cubicBezTo>
                    <a:pt x="688" y="498"/>
                    <a:pt x="703" y="501"/>
                    <a:pt x="714" y="464"/>
                  </a:cubicBezTo>
                  <a:cubicBezTo>
                    <a:pt x="708" y="393"/>
                    <a:pt x="714" y="370"/>
                    <a:pt x="680" y="318"/>
                  </a:cubicBezTo>
                  <a:cubicBezTo>
                    <a:pt x="712" y="117"/>
                    <a:pt x="755" y="288"/>
                    <a:pt x="396" y="0"/>
                  </a:cubicBezTo>
                  <a:cubicBezTo>
                    <a:pt x="338" y="15"/>
                    <a:pt x="284" y="27"/>
                    <a:pt x="224" y="34"/>
                  </a:cubicBezTo>
                  <a:cubicBezTo>
                    <a:pt x="215" y="36"/>
                    <a:pt x="175" y="46"/>
                    <a:pt x="164" y="52"/>
                  </a:cubicBezTo>
                  <a:cubicBezTo>
                    <a:pt x="146" y="62"/>
                    <a:pt x="112" y="86"/>
                    <a:pt x="112" y="86"/>
                  </a:cubicBezTo>
                  <a:cubicBezTo>
                    <a:pt x="102" y="118"/>
                    <a:pt x="80" y="132"/>
                    <a:pt x="69" y="163"/>
                  </a:cubicBezTo>
                  <a:cubicBezTo>
                    <a:pt x="56" y="249"/>
                    <a:pt x="0" y="403"/>
                    <a:pt x="104" y="439"/>
                  </a:cubicBezTo>
                  <a:cubicBezTo>
                    <a:pt x="123" y="467"/>
                    <a:pt x="136" y="481"/>
                    <a:pt x="164" y="499"/>
                  </a:cubicBezTo>
                  <a:cubicBezTo>
                    <a:pt x="199" y="552"/>
                    <a:pt x="198" y="570"/>
                    <a:pt x="198" y="5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cap="flat" cmpd="sng">
                  <a:solidFill>
                    <a:srgbClr val="00285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rIns="72000"/>
            <a:lstStyle/>
            <a:p>
              <a:pPr algn="ctr"/>
              <a:endParaRPr lang="en-US" smtClean="0">
                <a:solidFill>
                  <a:srgbClr val="58585A"/>
                </a:solidFill>
                <a:latin typeface="Arial" pitchFamily="34" charset="0"/>
              </a:endParaRPr>
            </a:p>
          </p:txBody>
        </p:sp>
        <p:sp>
          <p:nvSpPr>
            <p:cNvPr id="8248" name="Freeform 52"/>
            <p:cNvSpPr>
              <a:spLocks/>
            </p:cNvSpPr>
            <p:nvPr/>
          </p:nvSpPr>
          <p:spPr bwMode="auto">
            <a:xfrm>
              <a:off x="5468" y="3056"/>
              <a:ext cx="517" cy="384"/>
            </a:xfrm>
            <a:custGeom>
              <a:avLst/>
              <a:gdLst>
                <a:gd name="T0" fmla="*/ 1980714 w 369"/>
                <a:gd name="T1" fmla="*/ 0 h 274"/>
                <a:gd name="T2" fmla="*/ 5191046 w 369"/>
                <a:gd name="T3" fmla="*/ 187744 h 274"/>
                <a:gd name="T4" fmla="*/ 7512590 w 369"/>
                <a:gd name="T5" fmla="*/ 1495332 h 274"/>
                <a:gd name="T6" fmla="*/ 8578679 w 369"/>
                <a:gd name="T7" fmla="*/ 3227687 h 274"/>
                <a:gd name="T8" fmla="*/ 7306446 w 369"/>
                <a:gd name="T9" fmla="*/ 6647809 h 274"/>
                <a:gd name="T10" fmla="*/ 1551277 w 369"/>
                <a:gd name="T11" fmla="*/ 5788098 h 274"/>
                <a:gd name="T12" fmla="*/ 1107198 w 369"/>
                <a:gd name="T13" fmla="*/ 4497069 h 274"/>
                <a:gd name="T14" fmla="*/ 915042 w 369"/>
                <a:gd name="T15" fmla="*/ 3865998 h 274"/>
                <a:gd name="T16" fmla="*/ 694234 w 369"/>
                <a:gd name="T17" fmla="*/ 3227687 h 274"/>
                <a:gd name="T18" fmla="*/ 1980714 w 369"/>
                <a:gd name="T19" fmla="*/ 0 h 27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69" h="274">
                  <a:moveTo>
                    <a:pt x="80" y="0"/>
                  </a:moveTo>
                  <a:cubicBezTo>
                    <a:pt x="123" y="3"/>
                    <a:pt x="166" y="3"/>
                    <a:pt x="209" y="8"/>
                  </a:cubicBezTo>
                  <a:cubicBezTo>
                    <a:pt x="246" y="12"/>
                    <a:pt x="269" y="48"/>
                    <a:pt x="303" y="60"/>
                  </a:cubicBezTo>
                  <a:cubicBezTo>
                    <a:pt x="324" y="122"/>
                    <a:pt x="306" y="102"/>
                    <a:pt x="346" y="129"/>
                  </a:cubicBezTo>
                  <a:cubicBezTo>
                    <a:pt x="369" y="196"/>
                    <a:pt x="361" y="246"/>
                    <a:pt x="295" y="266"/>
                  </a:cubicBezTo>
                  <a:cubicBezTo>
                    <a:pt x="0" y="254"/>
                    <a:pt x="180" y="274"/>
                    <a:pt x="63" y="232"/>
                  </a:cubicBezTo>
                  <a:cubicBezTo>
                    <a:pt x="57" y="215"/>
                    <a:pt x="51" y="197"/>
                    <a:pt x="45" y="180"/>
                  </a:cubicBezTo>
                  <a:cubicBezTo>
                    <a:pt x="42" y="172"/>
                    <a:pt x="40" y="163"/>
                    <a:pt x="37" y="155"/>
                  </a:cubicBezTo>
                  <a:cubicBezTo>
                    <a:pt x="34" y="146"/>
                    <a:pt x="28" y="129"/>
                    <a:pt x="28" y="129"/>
                  </a:cubicBezTo>
                  <a:cubicBezTo>
                    <a:pt x="41" y="80"/>
                    <a:pt x="54" y="43"/>
                    <a:pt x="8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cap="flat" cmpd="sng">
                  <a:solidFill>
                    <a:srgbClr val="00285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rIns="72000"/>
            <a:lstStyle/>
            <a:p>
              <a:pPr algn="ctr"/>
              <a:endParaRPr lang="en-US" smtClean="0">
                <a:solidFill>
                  <a:srgbClr val="58585A"/>
                </a:solidFill>
                <a:latin typeface="Arial" pitchFamily="34" charset="0"/>
              </a:endParaRPr>
            </a:p>
          </p:txBody>
        </p:sp>
        <p:sp>
          <p:nvSpPr>
            <p:cNvPr id="8249" name="Freeform 53"/>
            <p:cNvSpPr>
              <a:spLocks/>
            </p:cNvSpPr>
            <p:nvPr/>
          </p:nvSpPr>
          <p:spPr bwMode="auto">
            <a:xfrm>
              <a:off x="4833" y="2923"/>
              <a:ext cx="635" cy="355"/>
            </a:xfrm>
            <a:custGeom>
              <a:avLst/>
              <a:gdLst>
                <a:gd name="T0" fmla="*/ 1930491 w 453"/>
                <a:gd name="T1" fmla="*/ 5351712 h 253"/>
                <a:gd name="T2" fmla="*/ 5607614 w 453"/>
                <a:gd name="T3" fmla="*/ 6001682 h 253"/>
                <a:gd name="T4" fmla="*/ 8427656 w 453"/>
                <a:gd name="T5" fmla="*/ 5579796 h 253"/>
                <a:gd name="T6" fmla="*/ 10357463 w 453"/>
                <a:gd name="T7" fmla="*/ 4889463 h 253"/>
                <a:gd name="T8" fmla="*/ 9937163 w 453"/>
                <a:gd name="T9" fmla="*/ 1343233 h 253"/>
                <a:gd name="T10" fmla="*/ 7766084 w 453"/>
                <a:gd name="T11" fmla="*/ 910042 h 253"/>
                <a:gd name="T12" fmla="*/ 4993239 w 453"/>
                <a:gd name="T13" fmla="*/ 0 h 253"/>
                <a:gd name="T14" fmla="*/ 1746200 w 453"/>
                <a:gd name="T15" fmla="*/ 1593820 h 253"/>
                <a:gd name="T16" fmla="*/ 0 w 453"/>
                <a:gd name="T17" fmla="*/ 2668747 h 253"/>
                <a:gd name="T18" fmla="*/ 1072558 w 453"/>
                <a:gd name="T19" fmla="*/ 4889463 h 253"/>
                <a:gd name="T20" fmla="*/ 1930491 w 453"/>
                <a:gd name="T21" fmla="*/ 5351712 h 25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53" h="253">
                  <a:moveTo>
                    <a:pt x="77" y="207"/>
                  </a:moveTo>
                  <a:cubicBezTo>
                    <a:pt x="124" y="253"/>
                    <a:pt x="157" y="240"/>
                    <a:pt x="223" y="232"/>
                  </a:cubicBezTo>
                  <a:cubicBezTo>
                    <a:pt x="286" y="213"/>
                    <a:pt x="211" y="234"/>
                    <a:pt x="335" y="215"/>
                  </a:cubicBezTo>
                  <a:cubicBezTo>
                    <a:pt x="362" y="211"/>
                    <a:pt x="412" y="189"/>
                    <a:pt x="412" y="189"/>
                  </a:cubicBezTo>
                  <a:cubicBezTo>
                    <a:pt x="453" y="150"/>
                    <a:pt x="437" y="87"/>
                    <a:pt x="395" y="52"/>
                  </a:cubicBezTo>
                  <a:cubicBezTo>
                    <a:pt x="381" y="40"/>
                    <a:pt x="310" y="35"/>
                    <a:pt x="309" y="35"/>
                  </a:cubicBezTo>
                  <a:cubicBezTo>
                    <a:pt x="270" y="9"/>
                    <a:pt x="247" y="7"/>
                    <a:pt x="198" y="0"/>
                  </a:cubicBezTo>
                  <a:cubicBezTo>
                    <a:pt x="149" y="17"/>
                    <a:pt x="116" y="44"/>
                    <a:pt x="69" y="61"/>
                  </a:cubicBezTo>
                  <a:cubicBezTo>
                    <a:pt x="48" y="81"/>
                    <a:pt x="25" y="87"/>
                    <a:pt x="0" y="103"/>
                  </a:cubicBezTo>
                  <a:cubicBezTo>
                    <a:pt x="13" y="158"/>
                    <a:pt x="1" y="128"/>
                    <a:pt x="43" y="189"/>
                  </a:cubicBezTo>
                  <a:cubicBezTo>
                    <a:pt x="50" y="200"/>
                    <a:pt x="68" y="197"/>
                    <a:pt x="77" y="207"/>
                  </a:cubicBezTo>
                  <a:close/>
                </a:path>
              </a:pathLst>
            </a:custGeom>
            <a:solidFill>
              <a:srgbClr val="FFFFFF"/>
            </a:solidFill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rIns="72000"/>
            <a:lstStyle/>
            <a:p>
              <a:pPr algn="ctr"/>
              <a:endParaRPr lang="en-US" smtClean="0">
                <a:solidFill>
                  <a:srgbClr val="58585A"/>
                </a:solidFill>
                <a:latin typeface="Arial" pitchFamily="34" charset="0"/>
              </a:endParaRPr>
            </a:p>
          </p:txBody>
        </p:sp>
        <p:sp>
          <p:nvSpPr>
            <p:cNvPr id="8250" name="Freeform 54" descr="bpct-blend6"/>
            <p:cNvSpPr>
              <a:spLocks noChangeAspect="1"/>
            </p:cNvSpPr>
            <p:nvPr/>
          </p:nvSpPr>
          <p:spPr bwMode="auto">
            <a:xfrm>
              <a:off x="4462" y="2902"/>
              <a:ext cx="1569" cy="978"/>
            </a:xfrm>
            <a:custGeom>
              <a:avLst/>
              <a:gdLst>
                <a:gd name="T0" fmla="*/ 2147483647 w 474"/>
                <a:gd name="T1" fmla="*/ 2147483647 h 295"/>
                <a:gd name="T2" fmla="*/ 2147483647 w 474"/>
                <a:gd name="T3" fmla="*/ 2147483647 h 295"/>
                <a:gd name="T4" fmla="*/ 2147483647 w 474"/>
                <a:gd name="T5" fmla="*/ 2147483647 h 295"/>
                <a:gd name="T6" fmla="*/ 2147483647 w 474"/>
                <a:gd name="T7" fmla="*/ 2147483647 h 295"/>
                <a:gd name="T8" fmla="*/ 2147483647 w 474"/>
                <a:gd name="T9" fmla="*/ 2147483647 h 295"/>
                <a:gd name="T10" fmla="*/ 2147483647 w 474"/>
                <a:gd name="T11" fmla="*/ 2147483647 h 295"/>
                <a:gd name="T12" fmla="*/ 2147483647 w 474"/>
                <a:gd name="T13" fmla="*/ 2147483647 h 295"/>
                <a:gd name="T14" fmla="*/ 2147483647 w 474"/>
                <a:gd name="T15" fmla="*/ 2147483647 h 295"/>
                <a:gd name="T16" fmla="*/ 2147483647 w 474"/>
                <a:gd name="T17" fmla="*/ 2147483647 h 295"/>
                <a:gd name="T18" fmla="*/ 2147483647 w 474"/>
                <a:gd name="T19" fmla="*/ 2147483647 h 295"/>
                <a:gd name="T20" fmla="*/ 2147483647 w 474"/>
                <a:gd name="T21" fmla="*/ 2147483647 h 295"/>
                <a:gd name="T22" fmla="*/ 2147483647 w 474"/>
                <a:gd name="T23" fmla="*/ 2147483647 h 295"/>
                <a:gd name="T24" fmla="*/ 2147483647 w 474"/>
                <a:gd name="T25" fmla="*/ 2147483647 h 295"/>
                <a:gd name="T26" fmla="*/ 2147483647 w 474"/>
                <a:gd name="T27" fmla="*/ 2147483647 h 295"/>
                <a:gd name="T28" fmla="*/ 2147483647 w 474"/>
                <a:gd name="T29" fmla="*/ 2147483647 h 295"/>
                <a:gd name="T30" fmla="*/ 2147483647 w 474"/>
                <a:gd name="T31" fmla="*/ 2147483647 h 295"/>
                <a:gd name="T32" fmla="*/ 2147483647 w 474"/>
                <a:gd name="T33" fmla="*/ 2147483647 h 295"/>
                <a:gd name="T34" fmla="*/ 2147483647 w 474"/>
                <a:gd name="T35" fmla="*/ 2147483647 h 295"/>
                <a:gd name="T36" fmla="*/ 2147483647 w 474"/>
                <a:gd name="T37" fmla="*/ 2147483647 h 295"/>
                <a:gd name="T38" fmla="*/ 2147483647 w 474"/>
                <a:gd name="T39" fmla="*/ 2147483647 h 295"/>
                <a:gd name="T40" fmla="*/ 2147483647 w 474"/>
                <a:gd name="T41" fmla="*/ 2147483647 h 295"/>
                <a:gd name="T42" fmla="*/ 2147483647 w 474"/>
                <a:gd name="T43" fmla="*/ 2147483647 h 295"/>
                <a:gd name="T44" fmla="*/ 2147483647 w 474"/>
                <a:gd name="T45" fmla="*/ 2147483647 h 295"/>
                <a:gd name="T46" fmla="*/ 2147483647 w 474"/>
                <a:gd name="T47" fmla="*/ 2147483647 h 295"/>
                <a:gd name="T48" fmla="*/ 2147483647 w 474"/>
                <a:gd name="T49" fmla="*/ 2147483647 h 295"/>
                <a:gd name="T50" fmla="*/ 2147483647 w 474"/>
                <a:gd name="T51" fmla="*/ 2147483647 h 295"/>
                <a:gd name="T52" fmla="*/ 2147483647 w 474"/>
                <a:gd name="T53" fmla="*/ 2147483647 h 295"/>
                <a:gd name="T54" fmla="*/ 2147483647 w 474"/>
                <a:gd name="T55" fmla="*/ 2147483647 h 295"/>
                <a:gd name="T56" fmla="*/ 2147483647 w 474"/>
                <a:gd name="T57" fmla="*/ 2147483647 h 295"/>
                <a:gd name="T58" fmla="*/ 2147483647 w 474"/>
                <a:gd name="T59" fmla="*/ 0 h 295"/>
                <a:gd name="T60" fmla="*/ 2147483647 w 474"/>
                <a:gd name="T61" fmla="*/ 2147483647 h 295"/>
                <a:gd name="T62" fmla="*/ 0 w 474"/>
                <a:gd name="T63" fmla="*/ 2147483647 h 295"/>
                <a:gd name="T64" fmla="*/ 2147483647 w 474"/>
                <a:gd name="T65" fmla="*/ 2147483647 h 295"/>
                <a:gd name="T66" fmla="*/ 2147483647 w 474"/>
                <a:gd name="T67" fmla="*/ 2147483647 h 295"/>
                <a:gd name="T68" fmla="*/ 2147483647 w 474"/>
                <a:gd name="T69" fmla="*/ 2147483647 h 295"/>
                <a:gd name="T70" fmla="*/ 2147483647 w 474"/>
                <a:gd name="T71" fmla="*/ 2147483647 h 295"/>
                <a:gd name="T72" fmla="*/ 2147483647 w 474"/>
                <a:gd name="T73" fmla="*/ 2147483647 h 295"/>
                <a:gd name="T74" fmla="*/ 2147483647 w 474"/>
                <a:gd name="T75" fmla="*/ 2147483647 h 295"/>
                <a:gd name="T76" fmla="*/ 2147483647 w 474"/>
                <a:gd name="T77" fmla="*/ 2147483647 h 295"/>
                <a:gd name="T78" fmla="*/ 2147483647 w 474"/>
                <a:gd name="T79" fmla="*/ 2147483647 h 295"/>
                <a:gd name="T80" fmla="*/ 2147483647 w 474"/>
                <a:gd name="T81" fmla="*/ 2147483647 h 295"/>
                <a:gd name="T82" fmla="*/ 2147483647 w 474"/>
                <a:gd name="T83" fmla="*/ 2147483647 h 295"/>
                <a:gd name="T84" fmla="*/ 2147483647 w 474"/>
                <a:gd name="T85" fmla="*/ 2147483647 h 29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474" h="295">
                  <a:moveTo>
                    <a:pt x="454" y="182"/>
                  </a:moveTo>
                  <a:cubicBezTo>
                    <a:pt x="461" y="168"/>
                    <a:pt x="466" y="153"/>
                    <a:pt x="466" y="136"/>
                  </a:cubicBezTo>
                  <a:cubicBezTo>
                    <a:pt x="466" y="106"/>
                    <a:pt x="452" y="80"/>
                    <a:pt x="432" y="61"/>
                  </a:cubicBezTo>
                  <a:cubicBezTo>
                    <a:pt x="428" y="58"/>
                    <a:pt x="423" y="59"/>
                    <a:pt x="420" y="63"/>
                  </a:cubicBezTo>
                  <a:cubicBezTo>
                    <a:pt x="418" y="66"/>
                    <a:pt x="418" y="71"/>
                    <a:pt x="422" y="74"/>
                  </a:cubicBezTo>
                  <a:cubicBezTo>
                    <a:pt x="422" y="74"/>
                    <a:pt x="422" y="74"/>
                    <a:pt x="422" y="74"/>
                  </a:cubicBezTo>
                  <a:cubicBezTo>
                    <a:pt x="439" y="90"/>
                    <a:pt x="450" y="112"/>
                    <a:pt x="450" y="136"/>
                  </a:cubicBezTo>
                  <a:cubicBezTo>
                    <a:pt x="450" y="152"/>
                    <a:pt x="445" y="167"/>
                    <a:pt x="437" y="179"/>
                  </a:cubicBezTo>
                  <a:cubicBezTo>
                    <a:pt x="435" y="183"/>
                    <a:pt x="436" y="187"/>
                    <a:pt x="439" y="189"/>
                  </a:cubicBezTo>
                  <a:cubicBezTo>
                    <a:pt x="450" y="200"/>
                    <a:pt x="458" y="214"/>
                    <a:pt x="458" y="230"/>
                  </a:cubicBezTo>
                  <a:cubicBezTo>
                    <a:pt x="458" y="240"/>
                    <a:pt x="453" y="253"/>
                    <a:pt x="445" y="262"/>
                  </a:cubicBezTo>
                  <a:cubicBezTo>
                    <a:pt x="436" y="272"/>
                    <a:pt x="424" y="279"/>
                    <a:pt x="410" y="279"/>
                  </a:cubicBezTo>
                  <a:cubicBezTo>
                    <a:pt x="350" y="279"/>
                    <a:pt x="350" y="279"/>
                    <a:pt x="350" y="279"/>
                  </a:cubicBezTo>
                  <a:cubicBezTo>
                    <a:pt x="74" y="279"/>
                    <a:pt x="74" y="279"/>
                    <a:pt x="74" y="279"/>
                  </a:cubicBezTo>
                  <a:cubicBezTo>
                    <a:pt x="58" y="279"/>
                    <a:pt x="44" y="270"/>
                    <a:pt x="33" y="256"/>
                  </a:cubicBezTo>
                  <a:cubicBezTo>
                    <a:pt x="22" y="243"/>
                    <a:pt x="16" y="225"/>
                    <a:pt x="16" y="209"/>
                  </a:cubicBezTo>
                  <a:cubicBezTo>
                    <a:pt x="16" y="172"/>
                    <a:pt x="42" y="141"/>
                    <a:pt x="77" y="134"/>
                  </a:cubicBezTo>
                  <a:cubicBezTo>
                    <a:pt x="81" y="133"/>
                    <a:pt x="83" y="130"/>
                    <a:pt x="84" y="127"/>
                  </a:cubicBezTo>
                  <a:cubicBezTo>
                    <a:pt x="90" y="65"/>
                    <a:pt x="142" y="16"/>
                    <a:pt x="206" y="16"/>
                  </a:cubicBezTo>
                  <a:cubicBezTo>
                    <a:pt x="247" y="16"/>
                    <a:pt x="282" y="36"/>
                    <a:pt x="305" y="66"/>
                  </a:cubicBezTo>
                  <a:cubicBezTo>
                    <a:pt x="308" y="70"/>
                    <a:pt x="313" y="70"/>
                    <a:pt x="316" y="68"/>
                  </a:cubicBezTo>
                  <a:cubicBezTo>
                    <a:pt x="330" y="58"/>
                    <a:pt x="347" y="52"/>
                    <a:pt x="365" y="52"/>
                  </a:cubicBezTo>
                  <a:cubicBezTo>
                    <a:pt x="376" y="52"/>
                    <a:pt x="386" y="54"/>
                    <a:pt x="395" y="57"/>
                  </a:cubicBezTo>
                  <a:cubicBezTo>
                    <a:pt x="395" y="57"/>
                    <a:pt x="396" y="58"/>
                    <a:pt x="396" y="58"/>
                  </a:cubicBezTo>
                  <a:cubicBezTo>
                    <a:pt x="400" y="59"/>
                    <a:pt x="405" y="58"/>
                    <a:pt x="406" y="54"/>
                  </a:cubicBezTo>
                  <a:cubicBezTo>
                    <a:pt x="407" y="52"/>
                    <a:pt x="407" y="51"/>
                    <a:pt x="407" y="49"/>
                  </a:cubicBezTo>
                  <a:cubicBezTo>
                    <a:pt x="407" y="47"/>
                    <a:pt x="405" y="44"/>
                    <a:pt x="403" y="43"/>
                  </a:cubicBezTo>
                  <a:cubicBezTo>
                    <a:pt x="391" y="38"/>
                    <a:pt x="378" y="36"/>
                    <a:pt x="365" y="36"/>
                  </a:cubicBezTo>
                  <a:cubicBezTo>
                    <a:pt x="346" y="36"/>
                    <a:pt x="328" y="41"/>
                    <a:pt x="313" y="51"/>
                  </a:cubicBezTo>
                  <a:cubicBezTo>
                    <a:pt x="288" y="20"/>
                    <a:pt x="249" y="0"/>
                    <a:pt x="206" y="0"/>
                  </a:cubicBezTo>
                  <a:cubicBezTo>
                    <a:pt x="136" y="0"/>
                    <a:pt x="78" y="52"/>
                    <a:pt x="68" y="120"/>
                  </a:cubicBezTo>
                  <a:cubicBezTo>
                    <a:pt x="29" y="130"/>
                    <a:pt x="0" y="166"/>
                    <a:pt x="0" y="209"/>
                  </a:cubicBezTo>
                  <a:cubicBezTo>
                    <a:pt x="0" y="229"/>
                    <a:pt x="7" y="250"/>
                    <a:pt x="20" y="266"/>
                  </a:cubicBezTo>
                  <a:cubicBezTo>
                    <a:pt x="33" y="283"/>
                    <a:pt x="52" y="295"/>
                    <a:pt x="74" y="295"/>
                  </a:cubicBezTo>
                  <a:cubicBezTo>
                    <a:pt x="350" y="295"/>
                    <a:pt x="350" y="295"/>
                    <a:pt x="350" y="295"/>
                  </a:cubicBezTo>
                  <a:cubicBezTo>
                    <a:pt x="350" y="295"/>
                    <a:pt x="351" y="295"/>
                    <a:pt x="351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410" y="295"/>
                    <a:pt x="410" y="295"/>
                    <a:pt x="410" y="295"/>
                  </a:cubicBezTo>
                  <a:cubicBezTo>
                    <a:pt x="430" y="295"/>
                    <a:pt x="446" y="286"/>
                    <a:pt x="457" y="273"/>
                  </a:cubicBezTo>
                  <a:cubicBezTo>
                    <a:pt x="468" y="260"/>
                    <a:pt x="474" y="244"/>
                    <a:pt x="474" y="230"/>
                  </a:cubicBezTo>
                  <a:cubicBezTo>
                    <a:pt x="474" y="211"/>
                    <a:pt x="466" y="194"/>
                    <a:pt x="454" y="182"/>
                  </a:cubicBezTo>
                  <a:close/>
                </a:path>
              </a:pathLst>
            </a:custGeom>
            <a:blipFill dpi="0" rotWithShape="0">
              <a:blip r:embed="rId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/>
              <a:endParaRPr lang="en-US" smtClean="0">
                <a:solidFill>
                  <a:srgbClr val="58585A"/>
                </a:solidFill>
                <a:latin typeface="Arial" pitchFamily="34" charset="0"/>
              </a:endParaRPr>
            </a:p>
          </p:txBody>
        </p:sp>
      </p:grpSp>
      <p:grpSp>
        <p:nvGrpSpPr>
          <p:cNvPr id="8235" name="Group 55"/>
          <p:cNvGrpSpPr>
            <a:grpSpLocks/>
          </p:cNvGrpSpPr>
          <p:nvPr/>
        </p:nvGrpSpPr>
        <p:grpSpPr bwMode="auto">
          <a:xfrm>
            <a:off x="8284914" y="2480688"/>
            <a:ext cx="2516717" cy="1251525"/>
            <a:chOff x="5996" y="1929"/>
            <a:chExt cx="1584" cy="990"/>
          </a:xfrm>
        </p:grpSpPr>
        <p:sp>
          <p:nvSpPr>
            <p:cNvPr id="8241" name="Freeform 56"/>
            <p:cNvSpPr>
              <a:spLocks/>
            </p:cNvSpPr>
            <p:nvPr/>
          </p:nvSpPr>
          <p:spPr bwMode="auto">
            <a:xfrm>
              <a:off x="6018" y="2077"/>
              <a:ext cx="854" cy="842"/>
            </a:xfrm>
            <a:custGeom>
              <a:avLst/>
              <a:gdLst>
                <a:gd name="T0" fmla="*/ 5801614 w 610"/>
                <a:gd name="T1" fmla="*/ 305064 h 602"/>
                <a:gd name="T2" fmla="*/ 4975475 w 610"/>
                <a:gd name="T3" fmla="*/ 1529532 h 602"/>
                <a:gd name="T4" fmla="*/ 4139796 w 610"/>
                <a:gd name="T5" fmla="*/ 3128394 h 602"/>
                <a:gd name="T6" fmla="*/ 3730868 w 610"/>
                <a:gd name="T7" fmla="*/ 4350755 h 602"/>
                <a:gd name="T8" fmla="*/ 2492669 w 610"/>
                <a:gd name="T9" fmla="*/ 4761296 h 602"/>
                <a:gd name="T10" fmla="*/ 609972 w 610"/>
                <a:gd name="T11" fmla="*/ 6968542 h 602"/>
                <a:gd name="T12" fmla="*/ 0 w 610"/>
                <a:gd name="T13" fmla="*/ 8802714 h 602"/>
                <a:gd name="T14" fmla="*/ 609972 w 610"/>
                <a:gd name="T15" fmla="*/ 11218574 h 602"/>
                <a:gd name="T16" fmla="*/ 2284080 w 610"/>
                <a:gd name="T17" fmla="*/ 12444687 h 602"/>
                <a:gd name="T18" fmla="*/ 6222672 w 610"/>
                <a:gd name="T19" fmla="*/ 13864757 h 602"/>
                <a:gd name="T20" fmla="*/ 11634601 w 610"/>
                <a:gd name="T21" fmla="*/ 13632425 h 602"/>
                <a:gd name="T22" fmla="*/ 14140356 w 610"/>
                <a:gd name="T23" fmla="*/ 13456326 h 602"/>
                <a:gd name="T24" fmla="*/ 12896874 w 610"/>
                <a:gd name="T25" fmla="*/ 8387407 h 602"/>
                <a:gd name="T26" fmla="*/ 11857364 w 610"/>
                <a:gd name="T27" fmla="*/ 3342353 h 602"/>
                <a:gd name="T28" fmla="*/ 10381364 w 610"/>
                <a:gd name="T29" fmla="*/ 1105331 h 602"/>
                <a:gd name="T30" fmla="*/ 5801614 w 610"/>
                <a:gd name="T31" fmla="*/ 305064 h 6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610" h="602">
                  <a:moveTo>
                    <a:pt x="240" y="13"/>
                  </a:moveTo>
                  <a:cubicBezTo>
                    <a:pt x="229" y="30"/>
                    <a:pt x="213" y="46"/>
                    <a:pt x="206" y="65"/>
                  </a:cubicBezTo>
                  <a:cubicBezTo>
                    <a:pt x="196" y="93"/>
                    <a:pt x="193" y="112"/>
                    <a:pt x="171" y="133"/>
                  </a:cubicBezTo>
                  <a:cubicBezTo>
                    <a:pt x="170" y="135"/>
                    <a:pt x="156" y="184"/>
                    <a:pt x="154" y="185"/>
                  </a:cubicBezTo>
                  <a:cubicBezTo>
                    <a:pt x="139" y="195"/>
                    <a:pt x="103" y="202"/>
                    <a:pt x="103" y="202"/>
                  </a:cubicBezTo>
                  <a:cubicBezTo>
                    <a:pt x="71" y="232"/>
                    <a:pt x="57" y="267"/>
                    <a:pt x="25" y="297"/>
                  </a:cubicBezTo>
                  <a:cubicBezTo>
                    <a:pt x="17" y="323"/>
                    <a:pt x="8" y="348"/>
                    <a:pt x="0" y="374"/>
                  </a:cubicBezTo>
                  <a:cubicBezTo>
                    <a:pt x="10" y="406"/>
                    <a:pt x="10" y="447"/>
                    <a:pt x="25" y="477"/>
                  </a:cubicBezTo>
                  <a:cubicBezTo>
                    <a:pt x="38" y="503"/>
                    <a:pt x="70" y="513"/>
                    <a:pt x="94" y="529"/>
                  </a:cubicBezTo>
                  <a:cubicBezTo>
                    <a:pt x="154" y="569"/>
                    <a:pt x="187" y="570"/>
                    <a:pt x="257" y="589"/>
                  </a:cubicBezTo>
                  <a:cubicBezTo>
                    <a:pt x="353" y="569"/>
                    <a:pt x="346" y="573"/>
                    <a:pt x="481" y="580"/>
                  </a:cubicBezTo>
                  <a:cubicBezTo>
                    <a:pt x="515" y="577"/>
                    <a:pt x="568" y="602"/>
                    <a:pt x="584" y="572"/>
                  </a:cubicBezTo>
                  <a:cubicBezTo>
                    <a:pt x="610" y="522"/>
                    <a:pt x="577" y="403"/>
                    <a:pt x="533" y="357"/>
                  </a:cubicBezTo>
                  <a:cubicBezTo>
                    <a:pt x="508" y="286"/>
                    <a:pt x="531" y="204"/>
                    <a:pt x="490" y="142"/>
                  </a:cubicBezTo>
                  <a:cubicBezTo>
                    <a:pt x="482" y="113"/>
                    <a:pt x="459" y="62"/>
                    <a:pt x="429" y="47"/>
                  </a:cubicBezTo>
                  <a:cubicBezTo>
                    <a:pt x="373" y="18"/>
                    <a:pt x="301" y="0"/>
                    <a:pt x="240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cap="flat" cmpd="sng">
                  <a:solidFill>
                    <a:srgbClr val="00285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rIns="72000"/>
            <a:lstStyle/>
            <a:p>
              <a:pPr algn="ctr"/>
              <a:endParaRPr lang="en-US" smtClean="0">
                <a:solidFill>
                  <a:srgbClr val="58585A"/>
                </a:solidFill>
                <a:latin typeface="Arial" pitchFamily="34" charset="0"/>
              </a:endParaRPr>
            </a:p>
          </p:txBody>
        </p:sp>
        <p:sp>
          <p:nvSpPr>
            <p:cNvPr id="8242" name="Freeform 57"/>
            <p:cNvSpPr>
              <a:spLocks/>
            </p:cNvSpPr>
            <p:nvPr/>
          </p:nvSpPr>
          <p:spPr bwMode="auto">
            <a:xfrm>
              <a:off x="6522" y="2106"/>
              <a:ext cx="1058" cy="800"/>
            </a:xfrm>
            <a:custGeom>
              <a:avLst/>
              <a:gdLst>
                <a:gd name="T0" fmla="*/ 4922842 w 755"/>
                <a:gd name="T1" fmla="*/ 14149869 h 570"/>
                <a:gd name="T2" fmla="*/ 13076603 w 755"/>
                <a:gd name="T3" fmla="*/ 14354755 h 570"/>
                <a:gd name="T4" fmla="*/ 16509133 w 755"/>
                <a:gd name="T5" fmla="*/ 13688550 h 570"/>
                <a:gd name="T6" fmla="*/ 17791611 w 755"/>
                <a:gd name="T7" fmla="*/ 12109928 h 570"/>
                <a:gd name="T8" fmla="*/ 16926184 w 755"/>
                <a:gd name="T9" fmla="*/ 8297482 h 570"/>
                <a:gd name="T10" fmla="*/ 9862676 w 755"/>
                <a:gd name="T11" fmla="*/ 0 h 570"/>
                <a:gd name="T12" fmla="*/ 5581986 w 755"/>
                <a:gd name="T13" fmla="*/ 887208 h 570"/>
                <a:gd name="T14" fmla="*/ 4081459 w 755"/>
                <a:gd name="T15" fmla="*/ 1351610 h 570"/>
                <a:gd name="T16" fmla="*/ 2787267 w 755"/>
                <a:gd name="T17" fmla="*/ 2252320 h 570"/>
                <a:gd name="T18" fmla="*/ 1731669 w 755"/>
                <a:gd name="T19" fmla="*/ 4253938 h 570"/>
                <a:gd name="T20" fmla="*/ 2595692 w 755"/>
                <a:gd name="T21" fmla="*/ 11458216 h 570"/>
                <a:gd name="T22" fmla="*/ 4081459 w 755"/>
                <a:gd name="T23" fmla="*/ 13000929 h 570"/>
                <a:gd name="T24" fmla="*/ 4922842 w 755"/>
                <a:gd name="T25" fmla="*/ 14149869 h 57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55" h="570">
                  <a:moveTo>
                    <a:pt x="198" y="542"/>
                  </a:moveTo>
                  <a:cubicBezTo>
                    <a:pt x="310" y="552"/>
                    <a:pt x="413" y="558"/>
                    <a:pt x="525" y="550"/>
                  </a:cubicBezTo>
                  <a:cubicBezTo>
                    <a:pt x="570" y="536"/>
                    <a:pt x="617" y="534"/>
                    <a:pt x="663" y="525"/>
                  </a:cubicBezTo>
                  <a:cubicBezTo>
                    <a:pt x="688" y="498"/>
                    <a:pt x="703" y="501"/>
                    <a:pt x="714" y="464"/>
                  </a:cubicBezTo>
                  <a:cubicBezTo>
                    <a:pt x="708" y="393"/>
                    <a:pt x="714" y="370"/>
                    <a:pt x="680" y="318"/>
                  </a:cubicBezTo>
                  <a:cubicBezTo>
                    <a:pt x="712" y="117"/>
                    <a:pt x="755" y="288"/>
                    <a:pt x="396" y="0"/>
                  </a:cubicBezTo>
                  <a:cubicBezTo>
                    <a:pt x="338" y="15"/>
                    <a:pt x="284" y="27"/>
                    <a:pt x="224" y="34"/>
                  </a:cubicBezTo>
                  <a:cubicBezTo>
                    <a:pt x="215" y="36"/>
                    <a:pt x="175" y="46"/>
                    <a:pt x="164" y="52"/>
                  </a:cubicBezTo>
                  <a:cubicBezTo>
                    <a:pt x="146" y="62"/>
                    <a:pt x="112" y="86"/>
                    <a:pt x="112" y="86"/>
                  </a:cubicBezTo>
                  <a:cubicBezTo>
                    <a:pt x="102" y="118"/>
                    <a:pt x="80" y="132"/>
                    <a:pt x="69" y="163"/>
                  </a:cubicBezTo>
                  <a:cubicBezTo>
                    <a:pt x="56" y="249"/>
                    <a:pt x="0" y="403"/>
                    <a:pt x="104" y="439"/>
                  </a:cubicBezTo>
                  <a:cubicBezTo>
                    <a:pt x="123" y="467"/>
                    <a:pt x="136" y="481"/>
                    <a:pt x="164" y="499"/>
                  </a:cubicBezTo>
                  <a:cubicBezTo>
                    <a:pt x="199" y="552"/>
                    <a:pt x="198" y="570"/>
                    <a:pt x="198" y="5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cap="flat" cmpd="sng">
                  <a:solidFill>
                    <a:srgbClr val="00285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rIns="72000"/>
            <a:lstStyle/>
            <a:p>
              <a:pPr algn="ctr"/>
              <a:endParaRPr lang="en-US" smtClean="0">
                <a:solidFill>
                  <a:srgbClr val="58585A"/>
                </a:solidFill>
                <a:latin typeface="Arial" pitchFamily="34" charset="0"/>
              </a:endParaRPr>
            </a:p>
          </p:txBody>
        </p:sp>
        <p:sp>
          <p:nvSpPr>
            <p:cNvPr id="8243" name="Freeform 58"/>
            <p:cNvSpPr>
              <a:spLocks/>
            </p:cNvSpPr>
            <p:nvPr/>
          </p:nvSpPr>
          <p:spPr bwMode="auto">
            <a:xfrm>
              <a:off x="7002" y="2083"/>
              <a:ext cx="517" cy="384"/>
            </a:xfrm>
            <a:custGeom>
              <a:avLst/>
              <a:gdLst>
                <a:gd name="T0" fmla="*/ 1980714 w 369"/>
                <a:gd name="T1" fmla="*/ 0 h 274"/>
                <a:gd name="T2" fmla="*/ 5191046 w 369"/>
                <a:gd name="T3" fmla="*/ 187744 h 274"/>
                <a:gd name="T4" fmla="*/ 7512590 w 369"/>
                <a:gd name="T5" fmla="*/ 1495332 h 274"/>
                <a:gd name="T6" fmla="*/ 8578679 w 369"/>
                <a:gd name="T7" fmla="*/ 3227687 h 274"/>
                <a:gd name="T8" fmla="*/ 7306446 w 369"/>
                <a:gd name="T9" fmla="*/ 6647809 h 274"/>
                <a:gd name="T10" fmla="*/ 1551277 w 369"/>
                <a:gd name="T11" fmla="*/ 5788098 h 274"/>
                <a:gd name="T12" fmla="*/ 1107198 w 369"/>
                <a:gd name="T13" fmla="*/ 4497069 h 274"/>
                <a:gd name="T14" fmla="*/ 915042 w 369"/>
                <a:gd name="T15" fmla="*/ 3865998 h 274"/>
                <a:gd name="T16" fmla="*/ 694234 w 369"/>
                <a:gd name="T17" fmla="*/ 3227687 h 274"/>
                <a:gd name="T18" fmla="*/ 1980714 w 369"/>
                <a:gd name="T19" fmla="*/ 0 h 27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69" h="274">
                  <a:moveTo>
                    <a:pt x="80" y="0"/>
                  </a:moveTo>
                  <a:cubicBezTo>
                    <a:pt x="123" y="3"/>
                    <a:pt x="166" y="3"/>
                    <a:pt x="209" y="8"/>
                  </a:cubicBezTo>
                  <a:cubicBezTo>
                    <a:pt x="246" y="12"/>
                    <a:pt x="269" y="48"/>
                    <a:pt x="303" y="60"/>
                  </a:cubicBezTo>
                  <a:cubicBezTo>
                    <a:pt x="324" y="122"/>
                    <a:pt x="306" y="102"/>
                    <a:pt x="346" y="129"/>
                  </a:cubicBezTo>
                  <a:cubicBezTo>
                    <a:pt x="369" y="196"/>
                    <a:pt x="361" y="246"/>
                    <a:pt x="295" y="266"/>
                  </a:cubicBezTo>
                  <a:cubicBezTo>
                    <a:pt x="0" y="254"/>
                    <a:pt x="180" y="274"/>
                    <a:pt x="63" y="232"/>
                  </a:cubicBezTo>
                  <a:cubicBezTo>
                    <a:pt x="57" y="215"/>
                    <a:pt x="51" y="197"/>
                    <a:pt x="45" y="180"/>
                  </a:cubicBezTo>
                  <a:cubicBezTo>
                    <a:pt x="42" y="172"/>
                    <a:pt x="40" y="163"/>
                    <a:pt x="37" y="155"/>
                  </a:cubicBezTo>
                  <a:cubicBezTo>
                    <a:pt x="34" y="146"/>
                    <a:pt x="28" y="129"/>
                    <a:pt x="28" y="129"/>
                  </a:cubicBezTo>
                  <a:cubicBezTo>
                    <a:pt x="41" y="80"/>
                    <a:pt x="54" y="43"/>
                    <a:pt x="8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cap="flat" cmpd="sng">
                  <a:solidFill>
                    <a:srgbClr val="00285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rIns="72000"/>
            <a:lstStyle/>
            <a:p>
              <a:pPr algn="ctr"/>
              <a:endParaRPr lang="en-US" smtClean="0">
                <a:solidFill>
                  <a:srgbClr val="58585A"/>
                </a:solidFill>
                <a:latin typeface="Arial" pitchFamily="34" charset="0"/>
              </a:endParaRPr>
            </a:p>
          </p:txBody>
        </p:sp>
        <p:sp>
          <p:nvSpPr>
            <p:cNvPr id="8244" name="Freeform 59"/>
            <p:cNvSpPr>
              <a:spLocks/>
            </p:cNvSpPr>
            <p:nvPr/>
          </p:nvSpPr>
          <p:spPr bwMode="auto">
            <a:xfrm>
              <a:off x="6367" y="1950"/>
              <a:ext cx="635" cy="355"/>
            </a:xfrm>
            <a:custGeom>
              <a:avLst/>
              <a:gdLst>
                <a:gd name="T0" fmla="*/ 1930491 w 453"/>
                <a:gd name="T1" fmla="*/ 5351712 h 253"/>
                <a:gd name="T2" fmla="*/ 5607614 w 453"/>
                <a:gd name="T3" fmla="*/ 6001682 h 253"/>
                <a:gd name="T4" fmla="*/ 8427656 w 453"/>
                <a:gd name="T5" fmla="*/ 5579796 h 253"/>
                <a:gd name="T6" fmla="*/ 10357463 w 453"/>
                <a:gd name="T7" fmla="*/ 4889463 h 253"/>
                <a:gd name="T8" fmla="*/ 9937163 w 453"/>
                <a:gd name="T9" fmla="*/ 1343233 h 253"/>
                <a:gd name="T10" fmla="*/ 7766084 w 453"/>
                <a:gd name="T11" fmla="*/ 910042 h 253"/>
                <a:gd name="T12" fmla="*/ 4993239 w 453"/>
                <a:gd name="T13" fmla="*/ 0 h 253"/>
                <a:gd name="T14" fmla="*/ 1746200 w 453"/>
                <a:gd name="T15" fmla="*/ 1593820 h 253"/>
                <a:gd name="T16" fmla="*/ 0 w 453"/>
                <a:gd name="T17" fmla="*/ 2668747 h 253"/>
                <a:gd name="T18" fmla="*/ 1072558 w 453"/>
                <a:gd name="T19" fmla="*/ 4889463 h 253"/>
                <a:gd name="T20" fmla="*/ 1930491 w 453"/>
                <a:gd name="T21" fmla="*/ 5351712 h 25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53" h="253">
                  <a:moveTo>
                    <a:pt x="77" y="207"/>
                  </a:moveTo>
                  <a:cubicBezTo>
                    <a:pt x="124" y="253"/>
                    <a:pt x="157" y="240"/>
                    <a:pt x="223" y="232"/>
                  </a:cubicBezTo>
                  <a:cubicBezTo>
                    <a:pt x="286" y="213"/>
                    <a:pt x="211" y="234"/>
                    <a:pt x="335" y="215"/>
                  </a:cubicBezTo>
                  <a:cubicBezTo>
                    <a:pt x="362" y="211"/>
                    <a:pt x="412" y="189"/>
                    <a:pt x="412" y="189"/>
                  </a:cubicBezTo>
                  <a:cubicBezTo>
                    <a:pt x="453" y="150"/>
                    <a:pt x="437" y="87"/>
                    <a:pt x="395" y="52"/>
                  </a:cubicBezTo>
                  <a:cubicBezTo>
                    <a:pt x="381" y="40"/>
                    <a:pt x="310" y="35"/>
                    <a:pt x="309" y="35"/>
                  </a:cubicBezTo>
                  <a:cubicBezTo>
                    <a:pt x="270" y="9"/>
                    <a:pt x="247" y="7"/>
                    <a:pt x="198" y="0"/>
                  </a:cubicBezTo>
                  <a:cubicBezTo>
                    <a:pt x="149" y="17"/>
                    <a:pt x="116" y="44"/>
                    <a:pt x="69" y="61"/>
                  </a:cubicBezTo>
                  <a:cubicBezTo>
                    <a:pt x="48" y="81"/>
                    <a:pt x="25" y="87"/>
                    <a:pt x="0" y="103"/>
                  </a:cubicBezTo>
                  <a:cubicBezTo>
                    <a:pt x="13" y="158"/>
                    <a:pt x="1" y="128"/>
                    <a:pt x="43" y="189"/>
                  </a:cubicBezTo>
                  <a:cubicBezTo>
                    <a:pt x="50" y="200"/>
                    <a:pt x="68" y="197"/>
                    <a:pt x="77" y="207"/>
                  </a:cubicBezTo>
                  <a:close/>
                </a:path>
              </a:pathLst>
            </a:custGeom>
            <a:solidFill>
              <a:srgbClr val="FFFFFF"/>
            </a:solidFill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rIns="72000"/>
            <a:lstStyle/>
            <a:p>
              <a:pPr algn="ctr"/>
              <a:endParaRPr lang="en-US" smtClean="0">
                <a:solidFill>
                  <a:srgbClr val="58585A"/>
                </a:solidFill>
                <a:latin typeface="Arial" pitchFamily="34" charset="0"/>
              </a:endParaRPr>
            </a:p>
          </p:txBody>
        </p:sp>
        <p:sp>
          <p:nvSpPr>
            <p:cNvPr id="8245" name="Freeform 60" descr="bpct-blend4"/>
            <p:cNvSpPr>
              <a:spLocks noChangeAspect="1"/>
            </p:cNvSpPr>
            <p:nvPr/>
          </p:nvSpPr>
          <p:spPr bwMode="auto">
            <a:xfrm>
              <a:off x="5996" y="1929"/>
              <a:ext cx="1569" cy="978"/>
            </a:xfrm>
            <a:custGeom>
              <a:avLst/>
              <a:gdLst>
                <a:gd name="T0" fmla="*/ 2147483647 w 474"/>
                <a:gd name="T1" fmla="*/ 2147483647 h 295"/>
                <a:gd name="T2" fmla="*/ 2147483647 w 474"/>
                <a:gd name="T3" fmla="*/ 2147483647 h 295"/>
                <a:gd name="T4" fmla="*/ 2147483647 w 474"/>
                <a:gd name="T5" fmla="*/ 2147483647 h 295"/>
                <a:gd name="T6" fmla="*/ 2147483647 w 474"/>
                <a:gd name="T7" fmla="*/ 2147483647 h 295"/>
                <a:gd name="T8" fmla="*/ 2147483647 w 474"/>
                <a:gd name="T9" fmla="*/ 2147483647 h 295"/>
                <a:gd name="T10" fmla="*/ 2147483647 w 474"/>
                <a:gd name="T11" fmla="*/ 2147483647 h 295"/>
                <a:gd name="T12" fmla="*/ 2147483647 w 474"/>
                <a:gd name="T13" fmla="*/ 2147483647 h 295"/>
                <a:gd name="T14" fmla="*/ 2147483647 w 474"/>
                <a:gd name="T15" fmla="*/ 2147483647 h 295"/>
                <a:gd name="T16" fmla="*/ 2147483647 w 474"/>
                <a:gd name="T17" fmla="*/ 2147483647 h 295"/>
                <a:gd name="T18" fmla="*/ 2147483647 w 474"/>
                <a:gd name="T19" fmla="*/ 2147483647 h 295"/>
                <a:gd name="T20" fmla="*/ 2147483647 w 474"/>
                <a:gd name="T21" fmla="*/ 2147483647 h 295"/>
                <a:gd name="T22" fmla="*/ 2147483647 w 474"/>
                <a:gd name="T23" fmla="*/ 2147483647 h 295"/>
                <a:gd name="T24" fmla="*/ 2147483647 w 474"/>
                <a:gd name="T25" fmla="*/ 2147483647 h 295"/>
                <a:gd name="T26" fmla="*/ 2147483647 w 474"/>
                <a:gd name="T27" fmla="*/ 2147483647 h 295"/>
                <a:gd name="T28" fmla="*/ 2147483647 w 474"/>
                <a:gd name="T29" fmla="*/ 2147483647 h 295"/>
                <a:gd name="T30" fmla="*/ 2147483647 w 474"/>
                <a:gd name="T31" fmla="*/ 2147483647 h 295"/>
                <a:gd name="T32" fmla="*/ 2147483647 w 474"/>
                <a:gd name="T33" fmla="*/ 2147483647 h 295"/>
                <a:gd name="T34" fmla="*/ 2147483647 w 474"/>
                <a:gd name="T35" fmla="*/ 2147483647 h 295"/>
                <a:gd name="T36" fmla="*/ 2147483647 w 474"/>
                <a:gd name="T37" fmla="*/ 2147483647 h 295"/>
                <a:gd name="T38" fmla="*/ 2147483647 w 474"/>
                <a:gd name="T39" fmla="*/ 2147483647 h 295"/>
                <a:gd name="T40" fmla="*/ 2147483647 w 474"/>
                <a:gd name="T41" fmla="*/ 2147483647 h 295"/>
                <a:gd name="T42" fmla="*/ 2147483647 w 474"/>
                <a:gd name="T43" fmla="*/ 2147483647 h 295"/>
                <a:gd name="T44" fmla="*/ 2147483647 w 474"/>
                <a:gd name="T45" fmla="*/ 2147483647 h 295"/>
                <a:gd name="T46" fmla="*/ 2147483647 w 474"/>
                <a:gd name="T47" fmla="*/ 2147483647 h 295"/>
                <a:gd name="T48" fmla="*/ 2147483647 w 474"/>
                <a:gd name="T49" fmla="*/ 2147483647 h 295"/>
                <a:gd name="T50" fmla="*/ 2147483647 w 474"/>
                <a:gd name="T51" fmla="*/ 2147483647 h 295"/>
                <a:gd name="T52" fmla="*/ 2147483647 w 474"/>
                <a:gd name="T53" fmla="*/ 2147483647 h 295"/>
                <a:gd name="T54" fmla="*/ 2147483647 w 474"/>
                <a:gd name="T55" fmla="*/ 2147483647 h 295"/>
                <a:gd name="T56" fmla="*/ 2147483647 w 474"/>
                <a:gd name="T57" fmla="*/ 2147483647 h 295"/>
                <a:gd name="T58" fmla="*/ 2147483647 w 474"/>
                <a:gd name="T59" fmla="*/ 0 h 295"/>
                <a:gd name="T60" fmla="*/ 2147483647 w 474"/>
                <a:gd name="T61" fmla="*/ 2147483647 h 295"/>
                <a:gd name="T62" fmla="*/ 0 w 474"/>
                <a:gd name="T63" fmla="*/ 2147483647 h 295"/>
                <a:gd name="T64" fmla="*/ 2147483647 w 474"/>
                <a:gd name="T65" fmla="*/ 2147483647 h 295"/>
                <a:gd name="T66" fmla="*/ 2147483647 w 474"/>
                <a:gd name="T67" fmla="*/ 2147483647 h 295"/>
                <a:gd name="T68" fmla="*/ 2147483647 w 474"/>
                <a:gd name="T69" fmla="*/ 2147483647 h 295"/>
                <a:gd name="T70" fmla="*/ 2147483647 w 474"/>
                <a:gd name="T71" fmla="*/ 2147483647 h 295"/>
                <a:gd name="T72" fmla="*/ 2147483647 w 474"/>
                <a:gd name="T73" fmla="*/ 2147483647 h 295"/>
                <a:gd name="T74" fmla="*/ 2147483647 w 474"/>
                <a:gd name="T75" fmla="*/ 2147483647 h 295"/>
                <a:gd name="T76" fmla="*/ 2147483647 w 474"/>
                <a:gd name="T77" fmla="*/ 2147483647 h 295"/>
                <a:gd name="T78" fmla="*/ 2147483647 w 474"/>
                <a:gd name="T79" fmla="*/ 2147483647 h 295"/>
                <a:gd name="T80" fmla="*/ 2147483647 w 474"/>
                <a:gd name="T81" fmla="*/ 2147483647 h 295"/>
                <a:gd name="T82" fmla="*/ 2147483647 w 474"/>
                <a:gd name="T83" fmla="*/ 2147483647 h 295"/>
                <a:gd name="T84" fmla="*/ 2147483647 w 474"/>
                <a:gd name="T85" fmla="*/ 2147483647 h 29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474" h="295">
                  <a:moveTo>
                    <a:pt x="454" y="182"/>
                  </a:moveTo>
                  <a:cubicBezTo>
                    <a:pt x="461" y="168"/>
                    <a:pt x="466" y="153"/>
                    <a:pt x="466" y="136"/>
                  </a:cubicBezTo>
                  <a:cubicBezTo>
                    <a:pt x="466" y="106"/>
                    <a:pt x="452" y="80"/>
                    <a:pt x="432" y="61"/>
                  </a:cubicBezTo>
                  <a:cubicBezTo>
                    <a:pt x="428" y="58"/>
                    <a:pt x="423" y="59"/>
                    <a:pt x="420" y="63"/>
                  </a:cubicBezTo>
                  <a:cubicBezTo>
                    <a:pt x="418" y="66"/>
                    <a:pt x="418" y="71"/>
                    <a:pt x="422" y="74"/>
                  </a:cubicBezTo>
                  <a:cubicBezTo>
                    <a:pt x="422" y="74"/>
                    <a:pt x="422" y="74"/>
                    <a:pt x="422" y="74"/>
                  </a:cubicBezTo>
                  <a:cubicBezTo>
                    <a:pt x="439" y="90"/>
                    <a:pt x="450" y="112"/>
                    <a:pt x="450" y="136"/>
                  </a:cubicBezTo>
                  <a:cubicBezTo>
                    <a:pt x="450" y="152"/>
                    <a:pt x="445" y="167"/>
                    <a:pt x="437" y="179"/>
                  </a:cubicBezTo>
                  <a:cubicBezTo>
                    <a:pt x="435" y="183"/>
                    <a:pt x="436" y="187"/>
                    <a:pt x="439" y="189"/>
                  </a:cubicBezTo>
                  <a:cubicBezTo>
                    <a:pt x="450" y="200"/>
                    <a:pt x="458" y="214"/>
                    <a:pt x="458" y="230"/>
                  </a:cubicBezTo>
                  <a:cubicBezTo>
                    <a:pt x="458" y="240"/>
                    <a:pt x="453" y="253"/>
                    <a:pt x="445" y="262"/>
                  </a:cubicBezTo>
                  <a:cubicBezTo>
                    <a:pt x="436" y="272"/>
                    <a:pt x="424" y="279"/>
                    <a:pt x="410" y="279"/>
                  </a:cubicBezTo>
                  <a:cubicBezTo>
                    <a:pt x="350" y="279"/>
                    <a:pt x="350" y="279"/>
                    <a:pt x="350" y="279"/>
                  </a:cubicBezTo>
                  <a:cubicBezTo>
                    <a:pt x="74" y="279"/>
                    <a:pt x="74" y="279"/>
                    <a:pt x="74" y="279"/>
                  </a:cubicBezTo>
                  <a:cubicBezTo>
                    <a:pt x="58" y="279"/>
                    <a:pt x="44" y="270"/>
                    <a:pt x="33" y="256"/>
                  </a:cubicBezTo>
                  <a:cubicBezTo>
                    <a:pt x="22" y="243"/>
                    <a:pt x="16" y="225"/>
                    <a:pt x="16" y="209"/>
                  </a:cubicBezTo>
                  <a:cubicBezTo>
                    <a:pt x="16" y="172"/>
                    <a:pt x="42" y="141"/>
                    <a:pt x="77" y="134"/>
                  </a:cubicBezTo>
                  <a:cubicBezTo>
                    <a:pt x="81" y="133"/>
                    <a:pt x="83" y="130"/>
                    <a:pt x="84" y="127"/>
                  </a:cubicBezTo>
                  <a:cubicBezTo>
                    <a:pt x="90" y="65"/>
                    <a:pt x="142" y="16"/>
                    <a:pt x="206" y="16"/>
                  </a:cubicBezTo>
                  <a:cubicBezTo>
                    <a:pt x="247" y="16"/>
                    <a:pt x="282" y="36"/>
                    <a:pt x="305" y="66"/>
                  </a:cubicBezTo>
                  <a:cubicBezTo>
                    <a:pt x="308" y="70"/>
                    <a:pt x="313" y="70"/>
                    <a:pt x="316" y="68"/>
                  </a:cubicBezTo>
                  <a:cubicBezTo>
                    <a:pt x="330" y="58"/>
                    <a:pt x="347" y="52"/>
                    <a:pt x="365" y="52"/>
                  </a:cubicBezTo>
                  <a:cubicBezTo>
                    <a:pt x="376" y="52"/>
                    <a:pt x="386" y="54"/>
                    <a:pt x="395" y="57"/>
                  </a:cubicBezTo>
                  <a:cubicBezTo>
                    <a:pt x="395" y="57"/>
                    <a:pt x="396" y="58"/>
                    <a:pt x="396" y="58"/>
                  </a:cubicBezTo>
                  <a:cubicBezTo>
                    <a:pt x="400" y="59"/>
                    <a:pt x="405" y="58"/>
                    <a:pt x="406" y="54"/>
                  </a:cubicBezTo>
                  <a:cubicBezTo>
                    <a:pt x="407" y="52"/>
                    <a:pt x="407" y="51"/>
                    <a:pt x="407" y="49"/>
                  </a:cubicBezTo>
                  <a:cubicBezTo>
                    <a:pt x="407" y="47"/>
                    <a:pt x="405" y="44"/>
                    <a:pt x="403" y="43"/>
                  </a:cubicBezTo>
                  <a:cubicBezTo>
                    <a:pt x="391" y="38"/>
                    <a:pt x="378" y="36"/>
                    <a:pt x="365" y="36"/>
                  </a:cubicBezTo>
                  <a:cubicBezTo>
                    <a:pt x="346" y="36"/>
                    <a:pt x="328" y="41"/>
                    <a:pt x="313" y="51"/>
                  </a:cubicBezTo>
                  <a:cubicBezTo>
                    <a:pt x="288" y="20"/>
                    <a:pt x="249" y="0"/>
                    <a:pt x="206" y="0"/>
                  </a:cubicBezTo>
                  <a:cubicBezTo>
                    <a:pt x="136" y="0"/>
                    <a:pt x="78" y="52"/>
                    <a:pt x="68" y="120"/>
                  </a:cubicBezTo>
                  <a:cubicBezTo>
                    <a:pt x="29" y="130"/>
                    <a:pt x="0" y="166"/>
                    <a:pt x="0" y="209"/>
                  </a:cubicBezTo>
                  <a:cubicBezTo>
                    <a:pt x="0" y="229"/>
                    <a:pt x="7" y="250"/>
                    <a:pt x="20" y="266"/>
                  </a:cubicBezTo>
                  <a:cubicBezTo>
                    <a:pt x="33" y="283"/>
                    <a:pt x="52" y="295"/>
                    <a:pt x="74" y="295"/>
                  </a:cubicBezTo>
                  <a:cubicBezTo>
                    <a:pt x="350" y="295"/>
                    <a:pt x="350" y="295"/>
                    <a:pt x="350" y="295"/>
                  </a:cubicBezTo>
                  <a:cubicBezTo>
                    <a:pt x="350" y="295"/>
                    <a:pt x="351" y="295"/>
                    <a:pt x="351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410" y="295"/>
                    <a:pt x="410" y="295"/>
                    <a:pt x="410" y="295"/>
                  </a:cubicBezTo>
                  <a:cubicBezTo>
                    <a:pt x="430" y="295"/>
                    <a:pt x="446" y="286"/>
                    <a:pt x="457" y="273"/>
                  </a:cubicBezTo>
                  <a:cubicBezTo>
                    <a:pt x="468" y="260"/>
                    <a:pt x="474" y="244"/>
                    <a:pt x="474" y="230"/>
                  </a:cubicBezTo>
                  <a:cubicBezTo>
                    <a:pt x="474" y="211"/>
                    <a:pt x="466" y="194"/>
                    <a:pt x="454" y="182"/>
                  </a:cubicBezTo>
                  <a:close/>
                </a:path>
              </a:pathLst>
            </a:custGeom>
            <a:blipFill dpi="0" rotWithShape="0">
              <a:blip r:embed="rId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/>
              <a:endParaRPr lang="en-US" smtClean="0">
                <a:solidFill>
                  <a:srgbClr val="58585A"/>
                </a:solidFill>
                <a:latin typeface="Arial" pitchFamily="34" charset="0"/>
              </a:endParaRPr>
            </a:p>
          </p:txBody>
        </p:sp>
      </p:grpSp>
      <p:sp>
        <p:nvSpPr>
          <p:cNvPr id="8236" name="Text Box 61"/>
          <p:cNvSpPr txBox="1">
            <a:spLocks noChangeArrowheads="1"/>
          </p:cNvSpPr>
          <p:nvPr/>
        </p:nvSpPr>
        <p:spPr bwMode="auto">
          <a:xfrm>
            <a:off x="7057765" y="2078413"/>
            <a:ext cx="2127249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85F"/>
                </a:solidFill>
              </a14:hiddenFill>
            </a:ext>
            <a:ext uri="{91240B29-F687-4F45-9708-019B960494DF}">
              <a14:hiddenLine xmlns:a14="http://schemas.microsoft.com/office/drawing/2010/main" w="38100" cap="rnd" algn="ctr">
                <a:solidFill>
                  <a:srgbClr val="00285F"/>
                </a:solidFill>
                <a:prstDash val="sysDot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rIns="7200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dirty="0" smtClean="0">
                <a:solidFill>
                  <a:srgbClr val="58585A"/>
                </a:solidFill>
                <a:cs typeface="Arial" pitchFamily="34" charset="0"/>
              </a:rPr>
              <a:t>Public Cloud</a:t>
            </a:r>
          </a:p>
        </p:txBody>
      </p:sp>
      <p:sp>
        <p:nvSpPr>
          <p:cNvPr id="8237" name="Text Box 62"/>
          <p:cNvSpPr txBox="1">
            <a:spLocks noChangeArrowheads="1"/>
          </p:cNvSpPr>
          <p:nvPr/>
        </p:nvSpPr>
        <p:spPr bwMode="auto">
          <a:xfrm>
            <a:off x="8427243" y="3185736"/>
            <a:ext cx="2127249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85F"/>
                </a:solidFill>
              </a14:hiddenFill>
            </a:ext>
            <a:ext uri="{91240B29-F687-4F45-9708-019B960494DF}">
              <a14:hiddenLine xmlns:a14="http://schemas.microsoft.com/office/drawing/2010/main" w="38100" cap="rnd" algn="ctr">
                <a:solidFill>
                  <a:srgbClr val="00285F"/>
                </a:solidFill>
                <a:prstDash val="sysDot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rIns="7200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dirty="0" smtClean="0">
                <a:solidFill>
                  <a:srgbClr val="58585A"/>
                </a:solidFill>
                <a:cs typeface="Arial" pitchFamily="34" charset="0"/>
              </a:rPr>
              <a:t>Hybrid Cloud</a:t>
            </a:r>
          </a:p>
        </p:txBody>
      </p:sp>
      <p:sp>
        <p:nvSpPr>
          <p:cNvPr id="8238" name="Text Box 63"/>
          <p:cNvSpPr txBox="1">
            <a:spLocks noChangeArrowheads="1"/>
          </p:cNvSpPr>
          <p:nvPr/>
        </p:nvSpPr>
        <p:spPr bwMode="auto">
          <a:xfrm>
            <a:off x="9816689" y="2055753"/>
            <a:ext cx="2129367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85F"/>
                </a:solidFill>
              </a14:hiddenFill>
            </a:ext>
            <a:ext uri="{91240B29-F687-4F45-9708-019B960494DF}">
              <a14:hiddenLine xmlns:a14="http://schemas.microsoft.com/office/drawing/2010/main" w="38100" cap="rnd" algn="ctr">
                <a:solidFill>
                  <a:srgbClr val="00285F"/>
                </a:solidFill>
                <a:prstDash val="sysDot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rIns="7200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dirty="0" smtClean="0">
                <a:solidFill>
                  <a:srgbClr val="58585A"/>
                </a:solidFill>
                <a:cs typeface="Arial" pitchFamily="34" charset="0"/>
              </a:rPr>
              <a:t>Private Cloud</a:t>
            </a:r>
          </a:p>
        </p:txBody>
      </p:sp>
      <p:sp>
        <p:nvSpPr>
          <p:cNvPr id="8239" name="Freeform 64"/>
          <p:cNvSpPr>
            <a:spLocks noChangeAspect="1"/>
          </p:cNvSpPr>
          <p:nvPr/>
        </p:nvSpPr>
        <p:spPr bwMode="auto">
          <a:xfrm>
            <a:off x="577674" y="5789888"/>
            <a:ext cx="260240" cy="812497"/>
          </a:xfrm>
          <a:custGeom>
            <a:avLst/>
            <a:gdLst>
              <a:gd name="T0" fmla="*/ 2147483647 w 73"/>
              <a:gd name="T1" fmla="*/ 2147483647 h 227"/>
              <a:gd name="T2" fmla="*/ 0 w 73"/>
              <a:gd name="T3" fmla="*/ 2147483647 h 227"/>
              <a:gd name="T4" fmla="*/ 0 w 73"/>
              <a:gd name="T5" fmla="*/ 2147483647 h 227"/>
              <a:gd name="T6" fmla="*/ 0 w 73"/>
              <a:gd name="T7" fmla="*/ 2147483647 h 227"/>
              <a:gd name="T8" fmla="*/ 2147483647 w 73"/>
              <a:gd name="T9" fmla="*/ 0 h 227"/>
              <a:gd name="T10" fmla="*/ 2147483647 w 73"/>
              <a:gd name="T11" fmla="*/ 0 h 227"/>
              <a:gd name="T12" fmla="*/ 2147483647 w 73"/>
              <a:gd name="T13" fmla="*/ 0 h 227"/>
              <a:gd name="T14" fmla="*/ 2147483647 w 73"/>
              <a:gd name="T15" fmla="*/ 0 h 227"/>
              <a:gd name="T16" fmla="*/ 2147483647 w 73"/>
              <a:gd name="T17" fmla="*/ 0 h 227"/>
              <a:gd name="T18" fmla="*/ 2147483647 w 73"/>
              <a:gd name="T19" fmla="*/ 2147483647 h 227"/>
              <a:gd name="T20" fmla="*/ 2147483647 w 73"/>
              <a:gd name="T21" fmla="*/ 2147483647 h 227"/>
              <a:gd name="T22" fmla="*/ 2147483647 w 73"/>
              <a:gd name="T23" fmla="*/ 2147483647 h 227"/>
              <a:gd name="T24" fmla="*/ 2147483647 w 73"/>
              <a:gd name="T25" fmla="*/ 2147483647 h 227"/>
              <a:gd name="T26" fmla="*/ 2147483647 w 73"/>
              <a:gd name="T27" fmla="*/ 2147483647 h 227"/>
              <a:gd name="T28" fmla="*/ 2147483647 w 73"/>
              <a:gd name="T29" fmla="*/ 2147483647 h 227"/>
              <a:gd name="T30" fmla="*/ 2147483647 w 73"/>
              <a:gd name="T31" fmla="*/ 2147483647 h 227"/>
              <a:gd name="T32" fmla="*/ 2147483647 w 73"/>
              <a:gd name="T33" fmla="*/ 2147483647 h 227"/>
              <a:gd name="T34" fmla="*/ 2147483647 w 73"/>
              <a:gd name="T35" fmla="*/ 2147483647 h 227"/>
              <a:gd name="T36" fmla="*/ 2147483647 w 73"/>
              <a:gd name="T37" fmla="*/ 2147483647 h 227"/>
              <a:gd name="T38" fmla="*/ 2147483647 w 73"/>
              <a:gd name="T39" fmla="*/ 2147483647 h 227"/>
              <a:gd name="T40" fmla="*/ 2147483647 w 73"/>
              <a:gd name="T41" fmla="*/ 2147483647 h 227"/>
              <a:gd name="T42" fmla="*/ 2147483647 w 73"/>
              <a:gd name="T43" fmla="*/ 2147483647 h 227"/>
              <a:gd name="T44" fmla="*/ 2147483647 w 73"/>
              <a:gd name="T45" fmla="*/ 2147483647 h 227"/>
              <a:gd name="T46" fmla="*/ 2147483647 w 73"/>
              <a:gd name="T47" fmla="*/ 2147483647 h 227"/>
              <a:gd name="T48" fmla="*/ 2147483647 w 73"/>
              <a:gd name="T49" fmla="*/ 2147483647 h 227"/>
              <a:gd name="T50" fmla="*/ 2147483647 w 73"/>
              <a:gd name="T51" fmla="*/ 2147483647 h 227"/>
              <a:gd name="T52" fmla="*/ 2147483647 w 73"/>
              <a:gd name="T53" fmla="*/ 2147483647 h 227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73" h="227">
                <a:moveTo>
                  <a:pt x="29" y="227"/>
                </a:moveTo>
                <a:cubicBezTo>
                  <a:pt x="13" y="227"/>
                  <a:pt x="0" y="214"/>
                  <a:pt x="0" y="198"/>
                </a:cubicBezTo>
                <a:cubicBezTo>
                  <a:pt x="0" y="198"/>
                  <a:pt x="0" y="198"/>
                  <a:pt x="0" y="198"/>
                </a:cubicBezTo>
                <a:cubicBezTo>
                  <a:pt x="0" y="29"/>
                  <a:pt x="0" y="29"/>
                  <a:pt x="0" y="29"/>
                </a:cubicBezTo>
                <a:cubicBezTo>
                  <a:pt x="0" y="13"/>
                  <a:pt x="13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43" y="0"/>
                  <a:pt x="65" y="0"/>
                </a:cubicBezTo>
                <a:cubicBezTo>
                  <a:pt x="65" y="0"/>
                  <a:pt x="65" y="0"/>
                  <a:pt x="65" y="0"/>
                </a:cubicBezTo>
                <a:cubicBezTo>
                  <a:pt x="65" y="0"/>
                  <a:pt x="65" y="0"/>
                  <a:pt x="65" y="0"/>
                </a:cubicBezTo>
                <a:cubicBezTo>
                  <a:pt x="69" y="0"/>
                  <a:pt x="73" y="3"/>
                  <a:pt x="73" y="8"/>
                </a:cubicBezTo>
                <a:cubicBezTo>
                  <a:pt x="73" y="8"/>
                  <a:pt x="73" y="8"/>
                  <a:pt x="73" y="8"/>
                </a:cubicBezTo>
                <a:cubicBezTo>
                  <a:pt x="73" y="12"/>
                  <a:pt x="69" y="16"/>
                  <a:pt x="65" y="16"/>
                </a:cubicBezTo>
                <a:cubicBezTo>
                  <a:pt x="65" y="16"/>
                  <a:pt x="65" y="16"/>
                  <a:pt x="65" y="16"/>
                </a:cubicBezTo>
                <a:cubicBezTo>
                  <a:pt x="43" y="16"/>
                  <a:pt x="29" y="16"/>
                  <a:pt x="29" y="16"/>
                </a:cubicBezTo>
                <a:cubicBezTo>
                  <a:pt x="29" y="16"/>
                  <a:pt x="29" y="16"/>
                  <a:pt x="29" y="16"/>
                </a:cubicBezTo>
                <a:cubicBezTo>
                  <a:pt x="22" y="16"/>
                  <a:pt x="16" y="22"/>
                  <a:pt x="16" y="29"/>
                </a:cubicBezTo>
                <a:cubicBezTo>
                  <a:pt x="16" y="29"/>
                  <a:pt x="16" y="29"/>
                  <a:pt x="16" y="29"/>
                </a:cubicBezTo>
                <a:cubicBezTo>
                  <a:pt x="16" y="198"/>
                  <a:pt x="16" y="198"/>
                  <a:pt x="16" y="198"/>
                </a:cubicBezTo>
                <a:cubicBezTo>
                  <a:pt x="16" y="205"/>
                  <a:pt x="22" y="211"/>
                  <a:pt x="29" y="211"/>
                </a:cubicBezTo>
                <a:cubicBezTo>
                  <a:pt x="29" y="211"/>
                  <a:pt x="29" y="211"/>
                  <a:pt x="29" y="211"/>
                </a:cubicBezTo>
                <a:cubicBezTo>
                  <a:pt x="29" y="211"/>
                  <a:pt x="43" y="211"/>
                  <a:pt x="65" y="211"/>
                </a:cubicBezTo>
                <a:cubicBezTo>
                  <a:pt x="65" y="211"/>
                  <a:pt x="65" y="211"/>
                  <a:pt x="65" y="211"/>
                </a:cubicBezTo>
                <a:cubicBezTo>
                  <a:pt x="69" y="211"/>
                  <a:pt x="73" y="215"/>
                  <a:pt x="73" y="219"/>
                </a:cubicBezTo>
                <a:cubicBezTo>
                  <a:pt x="73" y="219"/>
                  <a:pt x="73" y="219"/>
                  <a:pt x="73" y="219"/>
                </a:cubicBezTo>
                <a:cubicBezTo>
                  <a:pt x="73" y="223"/>
                  <a:pt x="69" y="227"/>
                  <a:pt x="65" y="227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43" y="227"/>
                  <a:pt x="29" y="227"/>
                  <a:pt x="29" y="227"/>
                </a:cubicBezTo>
                <a:close/>
              </a:path>
            </a:pathLst>
          </a:custGeom>
          <a:solidFill>
            <a:srgbClr val="00A9D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endParaRPr lang="en-US" smtClean="0">
              <a:solidFill>
                <a:srgbClr val="58585A"/>
              </a:solidFill>
              <a:latin typeface="Arial" pitchFamily="34" charset="0"/>
            </a:endParaRPr>
          </a:p>
        </p:txBody>
      </p:sp>
      <p:sp>
        <p:nvSpPr>
          <p:cNvPr id="8240" name="Freeform 65"/>
          <p:cNvSpPr>
            <a:spLocks noChangeAspect="1"/>
          </p:cNvSpPr>
          <p:nvPr/>
        </p:nvSpPr>
        <p:spPr bwMode="auto">
          <a:xfrm>
            <a:off x="11565928" y="5809343"/>
            <a:ext cx="251200" cy="796622"/>
          </a:xfrm>
          <a:custGeom>
            <a:avLst/>
            <a:gdLst>
              <a:gd name="T0" fmla="*/ 0 w 72"/>
              <a:gd name="T1" fmla="*/ 2147483647 h 227"/>
              <a:gd name="T2" fmla="*/ 2147483647 w 72"/>
              <a:gd name="T3" fmla="*/ 2147483647 h 227"/>
              <a:gd name="T4" fmla="*/ 2147483647 w 72"/>
              <a:gd name="T5" fmla="*/ 2147483647 h 227"/>
              <a:gd name="T6" fmla="*/ 2147483647 w 72"/>
              <a:gd name="T7" fmla="*/ 2147483647 h 227"/>
              <a:gd name="T8" fmla="*/ 2147483647 w 72"/>
              <a:gd name="T9" fmla="*/ 2147483647 h 227"/>
              <a:gd name="T10" fmla="*/ 2147483647 w 72"/>
              <a:gd name="T11" fmla="*/ 2147483647 h 227"/>
              <a:gd name="T12" fmla="*/ 2147483647 w 72"/>
              <a:gd name="T13" fmla="*/ 2147483647 h 227"/>
              <a:gd name="T14" fmla="*/ 2147483647 w 72"/>
              <a:gd name="T15" fmla="*/ 2147483647 h 227"/>
              <a:gd name="T16" fmla="*/ 2147483647 w 72"/>
              <a:gd name="T17" fmla="*/ 2147483647 h 227"/>
              <a:gd name="T18" fmla="*/ 2147483647 w 72"/>
              <a:gd name="T19" fmla="*/ 2147483647 h 227"/>
              <a:gd name="T20" fmla="*/ 2147483647 w 72"/>
              <a:gd name="T21" fmla="*/ 2147483647 h 227"/>
              <a:gd name="T22" fmla="*/ 2147483647 w 72"/>
              <a:gd name="T23" fmla="*/ 2147483647 h 227"/>
              <a:gd name="T24" fmla="*/ 2147483647 w 72"/>
              <a:gd name="T25" fmla="*/ 2147483647 h 227"/>
              <a:gd name="T26" fmla="*/ 0 w 72"/>
              <a:gd name="T27" fmla="*/ 2147483647 h 227"/>
              <a:gd name="T28" fmla="*/ 0 w 72"/>
              <a:gd name="T29" fmla="*/ 2147483647 h 227"/>
              <a:gd name="T30" fmla="*/ 2147483647 w 72"/>
              <a:gd name="T31" fmla="*/ 0 h 227"/>
              <a:gd name="T32" fmla="*/ 2147483647 w 72"/>
              <a:gd name="T33" fmla="*/ 0 h 227"/>
              <a:gd name="T34" fmla="*/ 2147483647 w 72"/>
              <a:gd name="T35" fmla="*/ 0 h 227"/>
              <a:gd name="T36" fmla="*/ 2147483647 w 72"/>
              <a:gd name="T37" fmla="*/ 0 h 227"/>
              <a:gd name="T38" fmla="*/ 2147483647 w 72"/>
              <a:gd name="T39" fmla="*/ 2147483647 h 227"/>
              <a:gd name="T40" fmla="*/ 2147483647 w 72"/>
              <a:gd name="T41" fmla="*/ 2147483647 h 227"/>
              <a:gd name="T42" fmla="*/ 2147483647 w 72"/>
              <a:gd name="T43" fmla="*/ 2147483647 h 227"/>
              <a:gd name="T44" fmla="*/ 2147483647 w 72"/>
              <a:gd name="T45" fmla="*/ 2147483647 h 227"/>
              <a:gd name="T46" fmla="*/ 2147483647 w 72"/>
              <a:gd name="T47" fmla="*/ 2147483647 h 227"/>
              <a:gd name="T48" fmla="*/ 2147483647 w 72"/>
              <a:gd name="T49" fmla="*/ 2147483647 h 227"/>
              <a:gd name="T50" fmla="*/ 2147483647 w 72"/>
              <a:gd name="T51" fmla="*/ 2147483647 h 227"/>
              <a:gd name="T52" fmla="*/ 0 w 72"/>
              <a:gd name="T53" fmla="*/ 2147483647 h 227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72" h="227">
                <a:moveTo>
                  <a:pt x="0" y="219"/>
                </a:moveTo>
                <a:cubicBezTo>
                  <a:pt x="0" y="215"/>
                  <a:pt x="3" y="211"/>
                  <a:pt x="8" y="211"/>
                </a:cubicBezTo>
                <a:cubicBezTo>
                  <a:pt x="8" y="211"/>
                  <a:pt x="8" y="211"/>
                  <a:pt x="8" y="211"/>
                </a:cubicBezTo>
                <a:cubicBezTo>
                  <a:pt x="30" y="211"/>
                  <a:pt x="43" y="211"/>
                  <a:pt x="43" y="211"/>
                </a:cubicBezTo>
                <a:cubicBezTo>
                  <a:pt x="43" y="211"/>
                  <a:pt x="43" y="211"/>
                  <a:pt x="43" y="211"/>
                </a:cubicBezTo>
                <a:cubicBezTo>
                  <a:pt x="51" y="211"/>
                  <a:pt x="56" y="205"/>
                  <a:pt x="56" y="198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9"/>
                  <a:pt x="56" y="29"/>
                  <a:pt x="56" y="29"/>
                </a:cubicBezTo>
                <a:cubicBezTo>
                  <a:pt x="56" y="22"/>
                  <a:pt x="51" y="16"/>
                  <a:pt x="43" y="16"/>
                </a:cubicBezTo>
                <a:cubicBezTo>
                  <a:pt x="43" y="16"/>
                  <a:pt x="43" y="16"/>
                  <a:pt x="43" y="16"/>
                </a:cubicBezTo>
                <a:cubicBezTo>
                  <a:pt x="43" y="16"/>
                  <a:pt x="30" y="16"/>
                  <a:pt x="8" y="16"/>
                </a:cubicBezTo>
                <a:cubicBezTo>
                  <a:pt x="8" y="16"/>
                  <a:pt x="8" y="16"/>
                  <a:pt x="8" y="16"/>
                </a:cubicBezTo>
                <a:cubicBezTo>
                  <a:pt x="8" y="16"/>
                  <a:pt x="8" y="16"/>
                  <a:pt x="8" y="16"/>
                </a:cubicBezTo>
                <a:cubicBezTo>
                  <a:pt x="3" y="16"/>
                  <a:pt x="0" y="12"/>
                  <a:pt x="0" y="8"/>
                </a:cubicBezTo>
                <a:cubicBezTo>
                  <a:pt x="0" y="8"/>
                  <a:pt x="0" y="8"/>
                  <a:pt x="0" y="8"/>
                </a:cubicBezTo>
                <a:cubicBezTo>
                  <a:pt x="0" y="3"/>
                  <a:pt x="3" y="0"/>
                  <a:pt x="8" y="0"/>
                </a:cubicBezTo>
                <a:cubicBezTo>
                  <a:pt x="8" y="0"/>
                  <a:pt x="8" y="0"/>
                  <a:pt x="8" y="0"/>
                </a:cubicBezTo>
                <a:cubicBezTo>
                  <a:pt x="30" y="0"/>
                  <a:pt x="43" y="0"/>
                  <a:pt x="43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60" y="0"/>
                  <a:pt x="72" y="13"/>
                  <a:pt x="72" y="29"/>
                </a:cubicBezTo>
                <a:cubicBezTo>
                  <a:pt x="72" y="29"/>
                  <a:pt x="72" y="29"/>
                  <a:pt x="72" y="29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214"/>
                  <a:pt x="59" y="227"/>
                  <a:pt x="43" y="227"/>
                </a:cubicBezTo>
                <a:cubicBezTo>
                  <a:pt x="43" y="227"/>
                  <a:pt x="43" y="227"/>
                  <a:pt x="43" y="227"/>
                </a:cubicBezTo>
                <a:cubicBezTo>
                  <a:pt x="43" y="227"/>
                  <a:pt x="30" y="227"/>
                  <a:pt x="8" y="227"/>
                </a:cubicBezTo>
                <a:cubicBezTo>
                  <a:pt x="8" y="227"/>
                  <a:pt x="8" y="227"/>
                  <a:pt x="8" y="227"/>
                </a:cubicBezTo>
                <a:cubicBezTo>
                  <a:pt x="3" y="227"/>
                  <a:pt x="0" y="223"/>
                  <a:pt x="0" y="219"/>
                </a:cubicBezTo>
                <a:close/>
              </a:path>
            </a:pathLst>
          </a:custGeom>
          <a:solidFill>
            <a:srgbClr val="00A9D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endParaRPr lang="en-US" smtClean="0">
              <a:solidFill>
                <a:srgbClr val="58585A"/>
              </a:solidFill>
              <a:latin typeface="Arial" pitchFamily="34" charset="0"/>
            </a:endParaRPr>
          </a:p>
        </p:txBody>
      </p:sp>
      <p:sp>
        <p:nvSpPr>
          <p:cNvPr id="68" name="Freeform 65" descr="bpct-blend3"/>
          <p:cNvSpPr>
            <a:spLocks noChangeAspect="1"/>
          </p:cNvSpPr>
          <p:nvPr/>
        </p:nvSpPr>
        <p:spPr bwMode="auto">
          <a:xfrm>
            <a:off x="8006149" y="3917389"/>
            <a:ext cx="2939990" cy="1465823"/>
          </a:xfrm>
          <a:custGeom>
            <a:avLst/>
            <a:gdLst>
              <a:gd name="T0" fmla="*/ 2147483647 w 474"/>
              <a:gd name="T1" fmla="*/ 2147483647 h 295"/>
              <a:gd name="T2" fmla="*/ 2147483647 w 474"/>
              <a:gd name="T3" fmla="*/ 2147483647 h 295"/>
              <a:gd name="T4" fmla="*/ 2147483647 w 474"/>
              <a:gd name="T5" fmla="*/ 2147483647 h 295"/>
              <a:gd name="T6" fmla="*/ 2147483647 w 474"/>
              <a:gd name="T7" fmla="*/ 2147483647 h 295"/>
              <a:gd name="T8" fmla="*/ 2147483647 w 474"/>
              <a:gd name="T9" fmla="*/ 2147483647 h 295"/>
              <a:gd name="T10" fmla="*/ 2147483647 w 474"/>
              <a:gd name="T11" fmla="*/ 2147483647 h 295"/>
              <a:gd name="T12" fmla="*/ 2147483647 w 474"/>
              <a:gd name="T13" fmla="*/ 2147483647 h 295"/>
              <a:gd name="T14" fmla="*/ 2147483647 w 474"/>
              <a:gd name="T15" fmla="*/ 2147483647 h 295"/>
              <a:gd name="T16" fmla="*/ 2147483647 w 474"/>
              <a:gd name="T17" fmla="*/ 2147483647 h 295"/>
              <a:gd name="T18" fmla="*/ 2147483647 w 474"/>
              <a:gd name="T19" fmla="*/ 2147483647 h 295"/>
              <a:gd name="T20" fmla="*/ 2147483647 w 474"/>
              <a:gd name="T21" fmla="*/ 2147483647 h 295"/>
              <a:gd name="T22" fmla="*/ 2147483647 w 474"/>
              <a:gd name="T23" fmla="*/ 2147483647 h 295"/>
              <a:gd name="T24" fmla="*/ 2147483647 w 474"/>
              <a:gd name="T25" fmla="*/ 2147483647 h 295"/>
              <a:gd name="T26" fmla="*/ 2147483647 w 474"/>
              <a:gd name="T27" fmla="*/ 2147483647 h 295"/>
              <a:gd name="T28" fmla="*/ 2147483647 w 474"/>
              <a:gd name="T29" fmla="*/ 2147483647 h 295"/>
              <a:gd name="T30" fmla="*/ 2147483647 w 474"/>
              <a:gd name="T31" fmla="*/ 2147483647 h 295"/>
              <a:gd name="T32" fmla="*/ 2147483647 w 474"/>
              <a:gd name="T33" fmla="*/ 2147483647 h 295"/>
              <a:gd name="T34" fmla="*/ 2147483647 w 474"/>
              <a:gd name="T35" fmla="*/ 2147483647 h 295"/>
              <a:gd name="T36" fmla="*/ 2147483647 w 474"/>
              <a:gd name="T37" fmla="*/ 2147483647 h 295"/>
              <a:gd name="T38" fmla="*/ 2147483647 w 474"/>
              <a:gd name="T39" fmla="*/ 2147483647 h 295"/>
              <a:gd name="T40" fmla="*/ 2147483647 w 474"/>
              <a:gd name="T41" fmla="*/ 2147483647 h 295"/>
              <a:gd name="T42" fmla="*/ 2147483647 w 474"/>
              <a:gd name="T43" fmla="*/ 2147483647 h 295"/>
              <a:gd name="T44" fmla="*/ 2147483647 w 474"/>
              <a:gd name="T45" fmla="*/ 2147483647 h 295"/>
              <a:gd name="T46" fmla="*/ 2147483647 w 474"/>
              <a:gd name="T47" fmla="*/ 2147483647 h 295"/>
              <a:gd name="T48" fmla="*/ 2147483647 w 474"/>
              <a:gd name="T49" fmla="*/ 2147483647 h 295"/>
              <a:gd name="T50" fmla="*/ 2147483647 w 474"/>
              <a:gd name="T51" fmla="*/ 2147483647 h 295"/>
              <a:gd name="T52" fmla="*/ 2147483647 w 474"/>
              <a:gd name="T53" fmla="*/ 2147483647 h 295"/>
              <a:gd name="T54" fmla="*/ 2147483647 w 474"/>
              <a:gd name="T55" fmla="*/ 2147483647 h 295"/>
              <a:gd name="T56" fmla="*/ 2147483647 w 474"/>
              <a:gd name="T57" fmla="*/ 2147483647 h 295"/>
              <a:gd name="T58" fmla="*/ 2147483647 w 474"/>
              <a:gd name="T59" fmla="*/ 0 h 295"/>
              <a:gd name="T60" fmla="*/ 2147483647 w 474"/>
              <a:gd name="T61" fmla="*/ 2147483647 h 295"/>
              <a:gd name="T62" fmla="*/ 0 w 474"/>
              <a:gd name="T63" fmla="*/ 2147483647 h 295"/>
              <a:gd name="T64" fmla="*/ 2147483647 w 474"/>
              <a:gd name="T65" fmla="*/ 2147483647 h 295"/>
              <a:gd name="T66" fmla="*/ 2147483647 w 474"/>
              <a:gd name="T67" fmla="*/ 2147483647 h 295"/>
              <a:gd name="T68" fmla="*/ 2147483647 w 474"/>
              <a:gd name="T69" fmla="*/ 2147483647 h 295"/>
              <a:gd name="T70" fmla="*/ 2147483647 w 474"/>
              <a:gd name="T71" fmla="*/ 2147483647 h 295"/>
              <a:gd name="T72" fmla="*/ 2147483647 w 474"/>
              <a:gd name="T73" fmla="*/ 2147483647 h 295"/>
              <a:gd name="T74" fmla="*/ 2147483647 w 474"/>
              <a:gd name="T75" fmla="*/ 2147483647 h 295"/>
              <a:gd name="T76" fmla="*/ 2147483647 w 474"/>
              <a:gd name="T77" fmla="*/ 2147483647 h 295"/>
              <a:gd name="T78" fmla="*/ 2147483647 w 474"/>
              <a:gd name="T79" fmla="*/ 2147483647 h 295"/>
              <a:gd name="T80" fmla="*/ 2147483647 w 474"/>
              <a:gd name="T81" fmla="*/ 2147483647 h 295"/>
              <a:gd name="T82" fmla="*/ 2147483647 w 474"/>
              <a:gd name="T83" fmla="*/ 2147483647 h 295"/>
              <a:gd name="T84" fmla="*/ 2147483647 w 474"/>
              <a:gd name="T85" fmla="*/ 2147483647 h 29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474" h="295">
                <a:moveTo>
                  <a:pt x="454" y="182"/>
                </a:moveTo>
                <a:cubicBezTo>
                  <a:pt x="461" y="168"/>
                  <a:pt x="466" y="153"/>
                  <a:pt x="466" y="136"/>
                </a:cubicBezTo>
                <a:cubicBezTo>
                  <a:pt x="466" y="106"/>
                  <a:pt x="452" y="80"/>
                  <a:pt x="432" y="61"/>
                </a:cubicBezTo>
                <a:cubicBezTo>
                  <a:pt x="428" y="58"/>
                  <a:pt x="423" y="59"/>
                  <a:pt x="420" y="63"/>
                </a:cubicBezTo>
                <a:cubicBezTo>
                  <a:pt x="418" y="66"/>
                  <a:pt x="418" y="71"/>
                  <a:pt x="422" y="74"/>
                </a:cubicBezTo>
                <a:cubicBezTo>
                  <a:pt x="422" y="74"/>
                  <a:pt x="422" y="74"/>
                  <a:pt x="422" y="74"/>
                </a:cubicBezTo>
                <a:cubicBezTo>
                  <a:pt x="439" y="90"/>
                  <a:pt x="450" y="112"/>
                  <a:pt x="450" y="136"/>
                </a:cubicBezTo>
                <a:cubicBezTo>
                  <a:pt x="450" y="152"/>
                  <a:pt x="445" y="167"/>
                  <a:pt x="437" y="179"/>
                </a:cubicBezTo>
                <a:cubicBezTo>
                  <a:pt x="435" y="183"/>
                  <a:pt x="436" y="187"/>
                  <a:pt x="439" y="189"/>
                </a:cubicBezTo>
                <a:cubicBezTo>
                  <a:pt x="450" y="200"/>
                  <a:pt x="458" y="214"/>
                  <a:pt x="458" y="230"/>
                </a:cubicBezTo>
                <a:cubicBezTo>
                  <a:pt x="458" y="240"/>
                  <a:pt x="453" y="253"/>
                  <a:pt x="445" y="262"/>
                </a:cubicBezTo>
                <a:cubicBezTo>
                  <a:pt x="436" y="272"/>
                  <a:pt x="424" y="279"/>
                  <a:pt x="410" y="279"/>
                </a:cubicBezTo>
                <a:cubicBezTo>
                  <a:pt x="350" y="279"/>
                  <a:pt x="350" y="279"/>
                  <a:pt x="350" y="279"/>
                </a:cubicBezTo>
                <a:cubicBezTo>
                  <a:pt x="74" y="279"/>
                  <a:pt x="74" y="279"/>
                  <a:pt x="74" y="279"/>
                </a:cubicBezTo>
                <a:cubicBezTo>
                  <a:pt x="58" y="279"/>
                  <a:pt x="44" y="270"/>
                  <a:pt x="33" y="256"/>
                </a:cubicBezTo>
                <a:cubicBezTo>
                  <a:pt x="22" y="243"/>
                  <a:pt x="16" y="225"/>
                  <a:pt x="16" y="209"/>
                </a:cubicBezTo>
                <a:cubicBezTo>
                  <a:pt x="16" y="172"/>
                  <a:pt x="42" y="141"/>
                  <a:pt x="77" y="134"/>
                </a:cubicBezTo>
                <a:cubicBezTo>
                  <a:pt x="81" y="133"/>
                  <a:pt x="83" y="130"/>
                  <a:pt x="84" y="127"/>
                </a:cubicBezTo>
                <a:cubicBezTo>
                  <a:pt x="90" y="65"/>
                  <a:pt x="142" y="16"/>
                  <a:pt x="206" y="16"/>
                </a:cubicBezTo>
                <a:cubicBezTo>
                  <a:pt x="247" y="16"/>
                  <a:pt x="282" y="36"/>
                  <a:pt x="305" y="66"/>
                </a:cubicBezTo>
                <a:cubicBezTo>
                  <a:pt x="308" y="70"/>
                  <a:pt x="313" y="70"/>
                  <a:pt x="316" y="68"/>
                </a:cubicBezTo>
                <a:cubicBezTo>
                  <a:pt x="330" y="58"/>
                  <a:pt x="347" y="52"/>
                  <a:pt x="365" y="52"/>
                </a:cubicBezTo>
                <a:cubicBezTo>
                  <a:pt x="376" y="52"/>
                  <a:pt x="386" y="54"/>
                  <a:pt x="395" y="57"/>
                </a:cubicBezTo>
                <a:cubicBezTo>
                  <a:pt x="395" y="57"/>
                  <a:pt x="396" y="58"/>
                  <a:pt x="396" y="58"/>
                </a:cubicBezTo>
                <a:cubicBezTo>
                  <a:pt x="400" y="59"/>
                  <a:pt x="405" y="58"/>
                  <a:pt x="406" y="54"/>
                </a:cubicBezTo>
                <a:cubicBezTo>
                  <a:pt x="407" y="52"/>
                  <a:pt x="407" y="51"/>
                  <a:pt x="407" y="49"/>
                </a:cubicBezTo>
                <a:cubicBezTo>
                  <a:pt x="407" y="47"/>
                  <a:pt x="405" y="44"/>
                  <a:pt x="403" y="43"/>
                </a:cubicBezTo>
                <a:cubicBezTo>
                  <a:pt x="391" y="38"/>
                  <a:pt x="378" y="36"/>
                  <a:pt x="365" y="36"/>
                </a:cubicBezTo>
                <a:cubicBezTo>
                  <a:pt x="346" y="36"/>
                  <a:pt x="328" y="41"/>
                  <a:pt x="313" y="51"/>
                </a:cubicBezTo>
                <a:cubicBezTo>
                  <a:pt x="288" y="20"/>
                  <a:pt x="249" y="0"/>
                  <a:pt x="206" y="0"/>
                </a:cubicBezTo>
                <a:cubicBezTo>
                  <a:pt x="136" y="0"/>
                  <a:pt x="78" y="52"/>
                  <a:pt x="68" y="120"/>
                </a:cubicBezTo>
                <a:cubicBezTo>
                  <a:pt x="29" y="130"/>
                  <a:pt x="0" y="166"/>
                  <a:pt x="0" y="209"/>
                </a:cubicBezTo>
                <a:cubicBezTo>
                  <a:pt x="0" y="229"/>
                  <a:pt x="7" y="250"/>
                  <a:pt x="20" y="266"/>
                </a:cubicBezTo>
                <a:cubicBezTo>
                  <a:pt x="33" y="283"/>
                  <a:pt x="52" y="295"/>
                  <a:pt x="74" y="295"/>
                </a:cubicBezTo>
                <a:cubicBezTo>
                  <a:pt x="350" y="295"/>
                  <a:pt x="350" y="295"/>
                  <a:pt x="350" y="295"/>
                </a:cubicBezTo>
                <a:cubicBezTo>
                  <a:pt x="350" y="295"/>
                  <a:pt x="351" y="295"/>
                  <a:pt x="351" y="295"/>
                </a:cubicBezTo>
                <a:cubicBezTo>
                  <a:pt x="382" y="295"/>
                  <a:pt x="382" y="295"/>
                  <a:pt x="382" y="295"/>
                </a:cubicBezTo>
                <a:cubicBezTo>
                  <a:pt x="382" y="295"/>
                  <a:pt x="382" y="295"/>
                  <a:pt x="382" y="295"/>
                </a:cubicBezTo>
                <a:cubicBezTo>
                  <a:pt x="382" y="295"/>
                  <a:pt x="382" y="295"/>
                  <a:pt x="382" y="295"/>
                </a:cubicBezTo>
                <a:cubicBezTo>
                  <a:pt x="410" y="295"/>
                  <a:pt x="410" y="295"/>
                  <a:pt x="410" y="295"/>
                </a:cubicBezTo>
                <a:cubicBezTo>
                  <a:pt x="430" y="295"/>
                  <a:pt x="446" y="286"/>
                  <a:pt x="457" y="273"/>
                </a:cubicBezTo>
                <a:cubicBezTo>
                  <a:pt x="468" y="260"/>
                  <a:pt x="474" y="244"/>
                  <a:pt x="474" y="230"/>
                </a:cubicBezTo>
                <a:cubicBezTo>
                  <a:pt x="474" y="211"/>
                  <a:pt x="466" y="194"/>
                  <a:pt x="454" y="182"/>
                </a:cubicBezTo>
                <a:close/>
              </a:path>
            </a:pathLst>
          </a:custGeom>
          <a:blipFill dpi="0" rotWithShape="0">
            <a:blip r:embed="rId9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9" name="Text Box 62"/>
          <p:cNvSpPr txBox="1">
            <a:spLocks noChangeArrowheads="1"/>
          </p:cNvSpPr>
          <p:nvPr/>
        </p:nvSpPr>
        <p:spPr bwMode="auto">
          <a:xfrm>
            <a:off x="8427243" y="4691861"/>
            <a:ext cx="2127249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85F"/>
                </a:solidFill>
              </a14:hiddenFill>
            </a:ext>
            <a:ext uri="{91240B29-F687-4F45-9708-019B960494DF}">
              <a14:hiddenLine xmlns:a14="http://schemas.microsoft.com/office/drawing/2010/main" w="38100" cap="rnd" algn="ctr">
                <a:solidFill>
                  <a:srgbClr val="00285F"/>
                </a:solidFill>
                <a:prstDash val="sysDot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rIns="7200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2400" b="1" dirty="0" smtClean="0">
                <a:solidFill>
                  <a:srgbClr val="58585A"/>
                </a:solidFill>
                <a:cs typeface="Arial" pitchFamily="34" charset="0"/>
              </a:rPr>
              <a:t>TELCO Cloud</a:t>
            </a:r>
          </a:p>
        </p:txBody>
      </p:sp>
    </p:spTree>
    <p:extLst>
      <p:ext uri="{BB962C8B-B14F-4D97-AF65-F5344CB8AC3E}">
        <p14:creationId xmlns:p14="http://schemas.microsoft.com/office/powerpoint/2010/main" val="2749395848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  <p:bldP spid="6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/>
          <p:cNvGraphicFramePr/>
          <p:nvPr/>
        </p:nvGraphicFramePr>
        <p:xfrm>
          <a:off x="4848391" y="1700808"/>
          <a:ext cx="7008780" cy="44802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7172" name="Group 11"/>
          <p:cNvGrpSpPr>
            <a:grpSpLocks/>
          </p:cNvGrpSpPr>
          <p:nvPr/>
        </p:nvGrpSpPr>
        <p:grpSpPr bwMode="auto">
          <a:xfrm>
            <a:off x="-529167" y="1989139"/>
            <a:ext cx="6910917" cy="3671887"/>
            <a:chOff x="-396552" y="1988840"/>
            <a:chExt cx="5184576" cy="3672408"/>
          </a:xfrm>
        </p:grpSpPr>
        <p:sp>
          <p:nvSpPr>
            <p:cNvPr id="7173" name="Oval 9"/>
            <p:cNvSpPr>
              <a:spLocks noChangeArrowheads="1"/>
            </p:cNvSpPr>
            <p:nvPr/>
          </p:nvSpPr>
          <p:spPr bwMode="auto">
            <a:xfrm>
              <a:off x="611560" y="2420888"/>
              <a:ext cx="3024336" cy="3024336"/>
            </a:xfrm>
            <a:prstGeom prst="ellipse">
              <a:avLst/>
            </a:prstGeom>
            <a:noFill/>
            <a:ln w="254000" algn="ctr">
              <a:solidFill>
                <a:srgbClr val="FFE4AA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72000" rIns="72000"/>
            <a:lstStyle/>
            <a:p>
              <a:endParaRPr lang="en-US"/>
            </a:p>
          </p:txBody>
        </p:sp>
        <p:graphicFrame>
          <p:nvGraphicFramePr>
            <p:cNvPr id="9" name="Diagram 8"/>
            <p:cNvGraphicFramePr/>
            <p:nvPr/>
          </p:nvGraphicFramePr>
          <p:xfrm>
            <a:off x="-396552" y="1988840"/>
            <a:ext cx="5184576" cy="3672408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8" r:lo="rId9" r:qs="rId10" r:cs="rId11"/>
            </a:graphicData>
          </a:graphic>
        </p:graphicFrame>
        <p:pic>
          <p:nvPicPr>
            <p:cNvPr id="7175" name="Picture 2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55" t="19447" r="52440" b="43993"/>
            <a:stretch>
              <a:fillRect/>
            </a:stretch>
          </p:blipFill>
          <p:spPr bwMode="auto">
            <a:xfrm>
              <a:off x="1115616" y="3140968"/>
              <a:ext cx="2281187" cy="1296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514354" y="549280"/>
            <a:ext cx="10435167" cy="487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Ericsson Capital TT"/>
                <a:ea typeface="+mj-ea"/>
                <a:cs typeface="+mj-cs"/>
              </a:defRPr>
            </a:lvl1pPr>
            <a:lvl2pPr algn="l" rtl="0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Ericsson Capital TT" pitchFamily="2" charset="0"/>
              </a:defRPr>
            </a:lvl2pPr>
            <a:lvl3pPr algn="l" rtl="0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Ericsson Capital TT" pitchFamily="2" charset="0"/>
              </a:defRPr>
            </a:lvl3pPr>
            <a:lvl4pPr algn="l" rtl="0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Ericsson Capital TT" pitchFamily="2" charset="0"/>
              </a:defRPr>
            </a:lvl4pPr>
            <a:lvl5pPr algn="l" rtl="0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Ericsson Capital TT" pitchFamily="2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Capital TT" pitchFamily="2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Capital TT" pitchFamily="2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Capital TT" pitchFamily="2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Capital TT" pitchFamily="2" charset="0"/>
              </a:defRPr>
            </a:lvl9pPr>
          </a:lstStyle>
          <a:p>
            <a:r>
              <a:rPr lang="en-US" dirty="0">
                <a:solidFill>
                  <a:schemeClr val="accent1"/>
                </a:solidFill>
              </a:rPr>
              <a:t>Cloud characteristics</a:t>
            </a:r>
            <a:endParaRPr lang="en-US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18845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01" name="Title 3"/>
          <p:cNvSpPr>
            <a:spLocks/>
          </p:cNvSpPr>
          <p:nvPr/>
        </p:nvSpPr>
        <p:spPr bwMode="auto">
          <a:xfrm>
            <a:off x="337930" y="1535119"/>
            <a:ext cx="5656473" cy="4237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 anchor="ctr"/>
          <a:lstStyle/>
          <a:p>
            <a:pPr>
              <a:lnSpc>
                <a:spcPct val="75000"/>
              </a:lnSpc>
            </a:pPr>
            <a:r>
              <a:rPr lang="en-US" sz="2800" dirty="0" smtClean="0">
                <a:solidFill>
                  <a:srgbClr val="00A9D4"/>
                </a:solidFill>
              </a:rPr>
              <a:t>Traditional </a:t>
            </a:r>
            <a:r>
              <a:rPr lang="en-US" sz="2800" dirty="0">
                <a:solidFill>
                  <a:srgbClr val="00A9D4"/>
                </a:solidFill>
              </a:rPr>
              <a:t>cloud </a:t>
            </a:r>
            <a:r>
              <a:rPr lang="en-US" sz="2800" dirty="0" smtClean="0">
                <a:solidFill>
                  <a:srgbClr val="00A9D4"/>
                </a:solidFill>
              </a:rPr>
              <a:t>solutions does NOT have </a:t>
            </a:r>
            <a:r>
              <a:rPr lang="en-US" sz="2800" b="1" dirty="0" smtClean="0"/>
              <a:t>Network</a:t>
            </a:r>
            <a:r>
              <a:rPr lang="en-US" sz="2800" dirty="0" smtClean="0"/>
              <a:t> </a:t>
            </a:r>
            <a:r>
              <a:rPr lang="en-US" sz="2800" dirty="0">
                <a:solidFill>
                  <a:srgbClr val="00A9D4"/>
                </a:solidFill>
              </a:rPr>
              <a:t>capabilities </a:t>
            </a:r>
            <a:r>
              <a:rPr lang="en-US" sz="2800" dirty="0" smtClean="0">
                <a:solidFill>
                  <a:srgbClr val="00A9D4"/>
                </a:solidFill>
              </a:rPr>
              <a:t>factored in</a:t>
            </a:r>
          </a:p>
          <a:p>
            <a:pPr>
              <a:lnSpc>
                <a:spcPct val="75000"/>
              </a:lnSpc>
            </a:pPr>
            <a:endParaRPr lang="en-US" sz="2800" dirty="0" smtClean="0">
              <a:solidFill>
                <a:srgbClr val="00A9D4"/>
              </a:solidFill>
              <a:latin typeface="+mn-lt"/>
            </a:endParaRPr>
          </a:p>
          <a:p>
            <a:pPr marL="457200" indent="-457200">
              <a:lnSpc>
                <a:spcPct val="75000"/>
              </a:lnSpc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rgbClr val="00A9D4"/>
                </a:solidFill>
                <a:latin typeface="+mn-lt"/>
              </a:rPr>
              <a:t>Do </a:t>
            </a:r>
            <a:r>
              <a:rPr lang="en-US" sz="2800" dirty="0">
                <a:solidFill>
                  <a:srgbClr val="00A9D4"/>
                </a:solidFill>
                <a:latin typeface="+mn-lt"/>
              </a:rPr>
              <a:t>not provide a consistent service </a:t>
            </a:r>
            <a:r>
              <a:rPr lang="en-US" sz="2800" dirty="0" smtClean="0">
                <a:solidFill>
                  <a:srgbClr val="00A9D4"/>
                </a:solidFill>
                <a:latin typeface="+mn-lt"/>
              </a:rPr>
              <a:t>experience</a:t>
            </a:r>
            <a:endParaRPr lang="en-US" sz="2800" dirty="0">
              <a:solidFill>
                <a:srgbClr val="00A9D4"/>
              </a:solidFill>
              <a:latin typeface="+mn-lt"/>
            </a:endParaRPr>
          </a:p>
          <a:p>
            <a:pPr marL="457200" indent="-457200">
              <a:lnSpc>
                <a:spcPct val="75000"/>
              </a:lnSpc>
              <a:buFont typeface="Arial" panose="020B0604020202020204" pitchFamily="34" charset="0"/>
              <a:buChar char="•"/>
            </a:pPr>
            <a:endParaRPr lang="en-US" sz="2800" dirty="0">
              <a:solidFill>
                <a:srgbClr val="00A9D4"/>
              </a:solidFill>
              <a:latin typeface="+mn-lt"/>
            </a:endParaRPr>
          </a:p>
          <a:p>
            <a:pPr marL="457200" indent="-457200">
              <a:lnSpc>
                <a:spcPct val="75000"/>
              </a:lnSpc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rgbClr val="00A9D4"/>
                </a:solidFill>
                <a:latin typeface="+mn-lt"/>
              </a:rPr>
              <a:t>Reliability </a:t>
            </a:r>
            <a:r>
              <a:rPr lang="en-US" sz="2800" dirty="0">
                <a:solidFill>
                  <a:srgbClr val="00A9D4"/>
                </a:solidFill>
                <a:latin typeface="+mn-lt"/>
              </a:rPr>
              <a:t>&amp; performance are not guaranteed.</a:t>
            </a:r>
            <a:br>
              <a:rPr lang="en-US" sz="2800" dirty="0">
                <a:solidFill>
                  <a:srgbClr val="00A9D4"/>
                </a:solidFill>
                <a:latin typeface="+mn-lt"/>
              </a:rPr>
            </a:br>
            <a:endParaRPr lang="en-US" sz="2800" b="1" dirty="0" smtClean="0">
              <a:solidFill>
                <a:srgbClr val="00A9D4"/>
              </a:solidFill>
              <a:latin typeface="+mn-lt"/>
            </a:endParaRPr>
          </a:p>
          <a:p>
            <a:pPr>
              <a:lnSpc>
                <a:spcPct val="75000"/>
              </a:lnSpc>
            </a:pPr>
            <a:r>
              <a:rPr lang="en-US" sz="2800" dirty="0" smtClean="0">
                <a:solidFill>
                  <a:srgbClr val="00A9D4"/>
                </a:solidFill>
                <a:latin typeface="+mn-lt"/>
              </a:rPr>
              <a:t>Cloud is typically limited to what a physical Data Center can off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aditional cloud solutions</a:t>
            </a:r>
            <a:endParaRPr lang="en-US" dirty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76" r="4847"/>
          <a:stretch/>
        </p:blipFill>
        <p:spPr bwMode="auto">
          <a:xfrm>
            <a:off x="6341164" y="1126788"/>
            <a:ext cx="5466523" cy="50536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2243" y="1191546"/>
            <a:ext cx="5113729" cy="49889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560911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40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solidFill>
                  <a:schemeClr val="accent1"/>
                </a:solidFill>
              </a:rPr>
              <a:t>Cloud opportunity</a:t>
            </a:r>
          </a:p>
        </p:txBody>
      </p:sp>
      <p:grpSp>
        <p:nvGrpSpPr>
          <p:cNvPr id="27651" name="Group 3"/>
          <p:cNvGrpSpPr>
            <a:grpSpLocks/>
          </p:cNvGrpSpPr>
          <p:nvPr/>
        </p:nvGrpSpPr>
        <p:grpSpPr bwMode="auto">
          <a:xfrm>
            <a:off x="7925858" y="2358439"/>
            <a:ext cx="1320800" cy="1149350"/>
            <a:chOff x="5324" y="1678"/>
            <a:chExt cx="641" cy="710"/>
          </a:xfrm>
        </p:grpSpPr>
        <p:sp>
          <p:nvSpPr>
            <p:cNvPr id="27698" name="Freeform 4" descr="bpct-blend3"/>
            <p:cNvSpPr>
              <a:spLocks noChangeAspect="1" noEditPoints="1"/>
            </p:cNvSpPr>
            <p:nvPr/>
          </p:nvSpPr>
          <p:spPr bwMode="auto">
            <a:xfrm>
              <a:off x="5333" y="1678"/>
              <a:ext cx="622" cy="442"/>
            </a:xfrm>
            <a:custGeom>
              <a:avLst/>
              <a:gdLst>
                <a:gd name="T0" fmla="*/ 616 w 526"/>
                <a:gd name="T1" fmla="*/ 72 h 374"/>
                <a:gd name="T2" fmla="*/ 514 w 526"/>
                <a:gd name="T3" fmla="*/ 112 h 374"/>
                <a:gd name="T4" fmla="*/ 513 w 526"/>
                <a:gd name="T5" fmla="*/ 130 h 374"/>
                <a:gd name="T6" fmla="*/ 486 w 526"/>
                <a:gd name="T7" fmla="*/ 215 h 374"/>
                <a:gd name="T8" fmla="*/ 477 w 526"/>
                <a:gd name="T9" fmla="*/ 70 h 374"/>
                <a:gd name="T10" fmla="*/ 467 w 526"/>
                <a:gd name="T11" fmla="*/ 238 h 374"/>
                <a:gd name="T12" fmla="*/ 391 w 526"/>
                <a:gd name="T13" fmla="*/ 20 h 374"/>
                <a:gd name="T14" fmla="*/ 466 w 526"/>
                <a:gd name="T15" fmla="*/ 19 h 374"/>
                <a:gd name="T16" fmla="*/ 467 w 526"/>
                <a:gd name="T17" fmla="*/ 37 h 374"/>
                <a:gd name="T18" fmla="*/ 486 w 526"/>
                <a:gd name="T19" fmla="*/ 37 h 374"/>
                <a:gd name="T20" fmla="*/ 466 w 526"/>
                <a:gd name="T21" fmla="*/ 0 h 374"/>
                <a:gd name="T22" fmla="*/ 372 w 526"/>
                <a:gd name="T23" fmla="*/ 20 h 374"/>
                <a:gd name="T24" fmla="*/ 362 w 526"/>
                <a:gd name="T25" fmla="*/ 331 h 374"/>
                <a:gd name="T26" fmla="*/ 342 w 526"/>
                <a:gd name="T27" fmla="*/ 66 h 374"/>
                <a:gd name="T28" fmla="*/ 248 w 526"/>
                <a:gd name="T29" fmla="*/ 86 h 374"/>
                <a:gd name="T30" fmla="*/ 239 w 526"/>
                <a:gd name="T31" fmla="*/ 385 h 374"/>
                <a:gd name="T32" fmla="*/ 218 w 526"/>
                <a:gd name="T33" fmla="*/ 132 h 374"/>
                <a:gd name="T34" fmla="*/ 124 w 526"/>
                <a:gd name="T35" fmla="*/ 154 h 374"/>
                <a:gd name="T36" fmla="*/ 115 w 526"/>
                <a:gd name="T37" fmla="*/ 411 h 374"/>
                <a:gd name="T38" fmla="*/ 93 w 526"/>
                <a:gd name="T39" fmla="*/ 200 h 374"/>
                <a:gd name="T40" fmla="*/ 0 w 526"/>
                <a:gd name="T41" fmla="*/ 220 h 374"/>
                <a:gd name="T42" fmla="*/ 19 w 526"/>
                <a:gd name="T43" fmla="*/ 441 h 374"/>
                <a:gd name="T44" fmla="*/ 71 w 526"/>
                <a:gd name="T45" fmla="*/ 442 h 374"/>
                <a:gd name="T46" fmla="*/ 145 w 526"/>
                <a:gd name="T47" fmla="*/ 441 h 374"/>
                <a:gd name="T48" fmla="*/ 237 w 526"/>
                <a:gd name="T49" fmla="*/ 429 h 374"/>
                <a:gd name="T50" fmla="*/ 268 w 526"/>
                <a:gd name="T51" fmla="*/ 441 h 374"/>
                <a:gd name="T52" fmla="*/ 362 w 526"/>
                <a:gd name="T53" fmla="*/ 420 h 374"/>
                <a:gd name="T54" fmla="*/ 364 w 526"/>
                <a:gd name="T55" fmla="*/ 395 h 374"/>
                <a:gd name="T56" fmla="*/ 372 w 526"/>
                <a:gd name="T57" fmla="*/ 420 h 374"/>
                <a:gd name="T58" fmla="*/ 466 w 526"/>
                <a:gd name="T59" fmla="*/ 441 h 374"/>
                <a:gd name="T60" fmla="*/ 486 w 526"/>
                <a:gd name="T61" fmla="*/ 323 h 374"/>
                <a:gd name="T62" fmla="*/ 604 w 526"/>
                <a:gd name="T63" fmla="*/ 226 h 374"/>
                <a:gd name="T64" fmla="*/ 622 w 526"/>
                <a:gd name="T65" fmla="*/ 220 h 374"/>
                <a:gd name="T66" fmla="*/ 267 w 526"/>
                <a:gd name="T67" fmla="*/ 86 h 374"/>
                <a:gd name="T68" fmla="*/ 342 w 526"/>
                <a:gd name="T69" fmla="*/ 85 h 374"/>
                <a:gd name="T70" fmla="*/ 343 w 526"/>
                <a:gd name="T71" fmla="*/ 343 h 374"/>
                <a:gd name="T72" fmla="*/ 267 w 526"/>
                <a:gd name="T73" fmla="*/ 86 h 374"/>
                <a:gd name="T74" fmla="*/ 218 w 526"/>
                <a:gd name="T75" fmla="*/ 151 h 374"/>
                <a:gd name="T76" fmla="*/ 220 w 526"/>
                <a:gd name="T77" fmla="*/ 390 h 374"/>
                <a:gd name="T78" fmla="*/ 143 w 526"/>
                <a:gd name="T79" fmla="*/ 154 h 374"/>
                <a:gd name="T80" fmla="*/ 19 w 526"/>
                <a:gd name="T81" fmla="*/ 220 h 374"/>
                <a:gd name="T82" fmla="*/ 93 w 526"/>
                <a:gd name="T83" fmla="*/ 219 h 374"/>
                <a:gd name="T84" fmla="*/ 96 w 526"/>
                <a:gd name="T85" fmla="*/ 415 h 374"/>
                <a:gd name="T86" fmla="*/ 21 w 526"/>
                <a:gd name="T87" fmla="*/ 422 h 374"/>
                <a:gd name="T88" fmla="*/ 19 w 526"/>
                <a:gd name="T89" fmla="*/ 220 h 374"/>
                <a:gd name="T90" fmla="*/ 342 w 526"/>
                <a:gd name="T91" fmla="*/ 422 h 374"/>
                <a:gd name="T92" fmla="*/ 343 w 526"/>
                <a:gd name="T93" fmla="*/ 403 h 374"/>
                <a:gd name="T94" fmla="*/ 467 w 526"/>
                <a:gd name="T95" fmla="*/ 420 h 374"/>
                <a:gd name="T96" fmla="*/ 393 w 526"/>
                <a:gd name="T97" fmla="*/ 422 h 374"/>
                <a:gd name="T98" fmla="*/ 391 w 526"/>
                <a:gd name="T99" fmla="*/ 382 h 374"/>
                <a:gd name="T100" fmla="*/ 467 w 526"/>
                <a:gd name="T101" fmla="*/ 420 h 374"/>
                <a:gd name="T102" fmla="*/ 591 w 526"/>
                <a:gd name="T103" fmla="*/ 182 h 374"/>
                <a:gd name="T104" fmla="*/ 581 w 526"/>
                <a:gd name="T105" fmla="*/ 191 h 374"/>
                <a:gd name="T106" fmla="*/ 194 w 526"/>
                <a:gd name="T107" fmla="*/ 416 h 374"/>
                <a:gd name="T108" fmla="*/ 555 w 526"/>
                <a:gd name="T109" fmla="*/ 142 h 374"/>
                <a:gd name="T110" fmla="*/ 538 w 526"/>
                <a:gd name="T111" fmla="*/ 123 h 374"/>
                <a:gd name="T112" fmla="*/ 603 w 526"/>
                <a:gd name="T113" fmla="*/ 190 h 37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526" h="374">
                  <a:moveTo>
                    <a:pt x="525" y="68"/>
                  </a:moveTo>
                  <a:cubicBezTo>
                    <a:pt x="525" y="65"/>
                    <a:pt x="523" y="63"/>
                    <a:pt x="521" y="61"/>
                  </a:cubicBezTo>
                  <a:cubicBezTo>
                    <a:pt x="519" y="60"/>
                    <a:pt x="516" y="59"/>
                    <a:pt x="514" y="61"/>
                  </a:cubicBezTo>
                  <a:cubicBezTo>
                    <a:pt x="435" y="95"/>
                    <a:pt x="435" y="95"/>
                    <a:pt x="435" y="95"/>
                  </a:cubicBezTo>
                  <a:cubicBezTo>
                    <a:pt x="432" y="97"/>
                    <a:pt x="430" y="99"/>
                    <a:pt x="430" y="102"/>
                  </a:cubicBezTo>
                  <a:cubicBezTo>
                    <a:pt x="430" y="105"/>
                    <a:pt x="431" y="108"/>
                    <a:pt x="434" y="110"/>
                  </a:cubicBezTo>
                  <a:cubicBezTo>
                    <a:pt x="452" y="120"/>
                    <a:pt x="452" y="120"/>
                    <a:pt x="452" y="120"/>
                  </a:cubicBezTo>
                  <a:cubicBezTo>
                    <a:pt x="443" y="139"/>
                    <a:pt x="428" y="161"/>
                    <a:pt x="411" y="182"/>
                  </a:cubicBezTo>
                  <a:cubicBezTo>
                    <a:pt x="411" y="67"/>
                    <a:pt x="411" y="67"/>
                    <a:pt x="411" y="67"/>
                  </a:cubicBezTo>
                  <a:cubicBezTo>
                    <a:pt x="411" y="63"/>
                    <a:pt x="408" y="59"/>
                    <a:pt x="403" y="59"/>
                  </a:cubicBezTo>
                  <a:cubicBezTo>
                    <a:pt x="399" y="59"/>
                    <a:pt x="395" y="63"/>
                    <a:pt x="395" y="67"/>
                  </a:cubicBezTo>
                  <a:cubicBezTo>
                    <a:pt x="395" y="201"/>
                    <a:pt x="395" y="201"/>
                    <a:pt x="395" y="201"/>
                  </a:cubicBezTo>
                  <a:cubicBezTo>
                    <a:pt x="376" y="223"/>
                    <a:pt x="353" y="245"/>
                    <a:pt x="331" y="262"/>
                  </a:cubicBezTo>
                  <a:cubicBezTo>
                    <a:pt x="331" y="17"/>
                    <a:pt x="331" y="17"/>
                    <a:pt x="331" y="17"/>
                  </a:cubicBezTo>
                  <a:cubicBezTo>
                    <a:pt x="331" y="16"/>
                    <a:pt x="332" y="16"/>
                    <a:pt x="332" y="16"/>
                  </a:cubicBezTo>
                  <a:cubicBezTo>
                    <a:pt x="394" y="16"/>
                    <a:pt x="394" y="16"/>
                    <a:pt x="394" y="16"/>
                  </a:cubicBezTo>
                  <a:cubicBezTo>
                    <a:pt x="395" y="16"/>
                    <a:pt x="395" y="16"/>
                    <a:pt x="395" y="17"/>
                  </a:cubicBezTo>
                  <a:cubicBezTo>
                    <a:pt x="395" y="31"/>
                    <a:pt x="395" y="31"/>
                    <a:pt x="395" y="31"/>
                  </a:cubicBezTo>
                  <a:cubicBezTo>
                    <a:pt x="395" y="35"/>
                    <a:pt x="399" y="39"/>
                    <a:pt x="403" y="39"/>
                  </a:cubicBezTo>
                  <a:cubicBezTo>
                    <a:pt x="408" y="39"/>
                    <a:pt x="411" y="35"/>
                    <a:pt x="411" y="31"/>
                  </a:cubicBezTo>
                  <a:cubicBezTo>
                    <a:pt x="411" y="17"/>
                    <a:pt x="411" y="17"/>
                    <a:pt x="411" y="17"/>
                  </a:cubicBezTo>
                  <a:cubicBezTo>
                    <a:pt x="411" y="7"/>
                    <a:pt x="404" y="0"/>
                    <a:pt x="394" y="0"/>
                  </a:cubicBezTo>
                  <a:cubicBezTo>
                    <a:pt x="332" y="0"/>
                    <a:pt x="332" y="0"/>
                    <a:pt x="332" y="0"/>
                  </a:cubicBezTo>
                  <a:cubicBezTo>
                    <a:pt x="323" y="0"/>
                    <a:pt x="315" y="7"/>
                    <a:pt x="315" y="17"/>
                  </a:cubicBezTo>
                  <a:cubicBezTo>
                    <a:pt x="315" y="274"/>
                    <a:pt x="315" y="274"/>
                    <a:pt x="315" y="274"/>
                  </a:cubicBezTo>
                  <a:cubicBezTo>
                    <a:pt x="312" y="276"/>
                    <a:pt x="309" y="278"/>
                    <a:pt x="306" y="280"/>
                  </a:cubicBezTo>
                  <a:cubicBezTo>
                    <a:pt x="307" y="73"/>
                    <a:pt x="307" y="73"/>
                    <a:pt x="307" y="73"/>
                  </a:cubicBezTo>
                  <a:cubicBezTo>
                    <a:pt x="306" y="64"/>
                    <a:pt x="299" y="56"/>
                    <a:pt x="289" y="56"/>
                  </a:cubicBezTo>
                  <a:cubicBezTo>
                    <a:pt x="227" y="56"/>
                    <a:pt x="227" y="56"/>
                    <a:pt x="227" y="56"/>
                  </a:cubicBezTo>
                  <a:cubicBezTo>
                    <a:pt x="218" y="56"/>
                    <a:pt x="210" y="64"/>
                    <a:pt x="210" y="73"/>
                  </a:cubicBezTo>
                  <a:cubicBezTo>
                    <a:pt x="210" y="323"/>
                    <a:pt x="210" y="323"/>
                    <a:pt x="210" y="323"/>
                  </a:cubicBezTo>
                  <a:cubicBezTo>
                    <a:pt x="207" y="324"/>
                    <a:pt x="204" y="325"/>
                    <a:pt x="202" y="326"/>
                  </a:cubicBezTo>
                  <a:cubicBezTo>
                    <a:pt x="202" y="130"/>
                    <a:pt x="202" y="130"/>
                    <a:pt x="202" y="130"/>
                  </a:cubicBezTo>
                  <a:cubicBezTo>
                    <a:pt x="202" y="120"/>
                    <a:pt x="194" y="112"/>
                    <a:pt x="184" y="112"/>
                  </a:cubicBezTo>
                  <a:cubicBezTo>
                    <a:pt x="123" y="112"/>
                    <a:pt x="123" y="112"/>
                    <a:pt x="123" y="112"/>
                  </a:cubicBezTo>
                  <a:cubicBezTo>
                    <a:pt x="113" y="112"/>
                    <a:pt x="105" y="120"/>
                    <a:pt x="105" y="130"/>
                  </a:cubicBezTo>
                  <a:cubicBezTo>
                    <a:pt x="105" y="347"/>
                    <a:pt x="105" y="347"/>
                    <a:pt x="105" y="347"/>
                  </a:cubicBezTo>
                  <a:cubicBezTo>
                    <a:pt x="102" y="347"/>
                    <a:pt x="99" y="348"/>
                    <a:pt x="97" y="348"/>
                  </a:cubicBezTo>
                  <a:cubicBezTo>
                    <a:pt x="97" y="186"/>
                    <a:pt x="97" y="186"/>
                    <a:pt x="97" y="186"/>
                  </a:cubicBezTo>
                  <a:cubicBezTo>
                    <a:pt x="97" y="177"/>
                    <a:pt x="89" y="169"/>
                    <a:pt x="79" y="169"/>
                  </a:cubicBezTo>
                  <a:cubicBezTo>
                    <a:pt x="18" y="169"/>
                    <a:pt x="18" y="169"/>
                    <a:pt x="18" y="169"/>
                  </a:cubicBezTo>
                  <a:cubicBezTo>
                    <a:pt x="8" y="169"/>
                    <a:pt x="0" y="177"/>
                    <a:pt x="0" y="186"/>
                  </a:cubicBezTo>
                  <a:cubicBezTo>
                    <a:pt x="0" y="355"/>
                    <a:pt x="0" y="355"/>
                    <a:pt x="0" y="355"/>
                  </a:cubicBezTo>
                  <a:cubicBezTo>
                    <a:pt x="0" y="365"/>
                    <a:pt x="7" y="372"/>
                    <a:pt x="16" y="373"/>
                  </a:cubicBezTo>
                  <a:cubicBezTo>
                    <a:pt x="17" y="373"/>
                    <a:pt x="17" y="373"/>
                    <a:pt x="17" y="373"/>
                  </a:cubicBezTo>
                  <a:cubicBezTo>
                    <a:pt x="17" y="373"/>
                    <a:pt x="34" y="374"/>
                    <a:pt x="60" y="374"/>
                  </a:cubicBezTo>
                  <a:cubicBezTo>
                    <a:pt x="76" y="374"/>
                    <a:pt x="96" y="373"/>
                    <a:pt x="118" y="372"/>
                  </a:cubicBezTo>
                  <a:cubicBezTo>
                    <a:pt x="119" y="372"/>
                    <a:pt x="121" y="373"/>
                    <a:pt x="123" y="373"/>
                  </a:cubicBezTo>
                  <a:cubicBezTo>
                    <a:pt x="184" y="373"/>
                    <a:pt x="184" y="373"/>
                    <a:pt x="184" y="373"/>
                  </a:cubicBezTo>
                  <a:cubicBezTo>
                    <a:pt x="191" y="373"/>
                    <a:pt x="197" y="369"/>
                    <a:pt x="200" y="363"/>
                  </a:cubicBezTo>
                  <a:cubicBezTo>
                    <a:pt x="203" y="363"/>
                    <a:pt x="207" y="362"/>
                    <a:pt x="211" y="361"/>
                  </a:cubicBezTo>
                  <a:cubicBezTo>
                    <a:pt x="214" y="368"/>
                    <a:pt x="220" y="373"/>
                    <a:pt x="227" y="373"/>
                  </a:cubicBezTo>
                  <a:cubicBezTo>
                    <a:pt x="289" y="373"/>
                    <a:pt x="289" y="373"/>
                    <a:pt x="289" y="373"/>
                  </a:cubicBezTo>
                  <a:cubicBezTo>
                    <a:pt x="299" y="373"/>
                    <a:pt x="306" y="365"/>
                    <a:pt x="306" y="355"/>
                  </a:cubicBezTo>
                  <a:cubicBezTo>
                    <a:pt x="306" y="335"/>
                    <a:pt x="306" y="335"/>
                    <a:pt x="306" y="335"/>
                  </a:cubicBezTo>
                  <a:cubicBezTo>
                    <a:pt x="307" y="335"/>
                    <a:pt x="307" y="334"/>
                    <a:pt x="308" y="334"/>
                  </a:cubicBezTo>
                  <a:cubicBezTo>
                    <a:pt x="310" y="333"/>
                    <a:pt x="313" y="332"/>
                    <a:pt x="315" y="331"/>
                  </a:cubicBezTo>
                  <a:cubicBezTo>
                    <a:pt x="315" y="355"/>
                    <a:pt x="315" y="355"/>
                    <a:pt x="315" y="355"/>
                  </a:cubicBezTo>
                  <a:cubicBezTo>
                    <a:pt x="315" y="365"/>
                    <a:pt x="323" y="373"/>
                    <a:pt x="332" y="373"/>
                  </a:cubicBezTo>
                  <a:cubicBezTo>
                    <a:pt x="394" y="373"/>
                    <a:pt x="394" y="373"/>
                    <a:pt x="394" y="373"/>
                  </a:cubicBezTo>
                  <a:cubicBezTo>
                    <a:pt x="404" y="373"/>
                    <a:pt x="411" y="365"/>
                    <a:pt x="411" y="355"/>
                  </a:cubicBezTo>
                  <a:cubicBezTo>
                    <a:pt x="411" y="273"/>
                    <a:pt x="411" y="273"/>
                    <a:pt x="411" y="273"/>
                  </a:cubicBezTo>
                  <a:cubicBezTo>
                    <a:pt x="461" y="234"/>
                    <a:pt x="490" y="195"/>
                    <a:pt x="501" y="176"/>
                  </a:cubicBezTo>
                  <a:cubicBezTo>
                    <a:pt x="511" y="191"/>
                    <a:pt x="511" y="191"/>
                    <a:pt x="511" y="191"/>
                  </a:cubicBezTo>
                  <a:cubicBezTo>
                    <a:pt x="513" y="194"/>
                    <a:pt x="517" y="195"/>
                    <a:pt x="520" y="194"/>
                  </a:cubicBezTo>
                  <a:cubicBezTo>
                    <a:pt x="524" y="193"/>
                    <a:pt x="526" y="190"/>
                    <a:pt x="526" y="186"/>
                  </a:cubicBezTo>
                  <a:lnTo>
                    <a:pt x="525" y="68"/>
                  </a:lnTo>
                  <a:close/>
                  <a:moveTo>
                    <a:pt x="226" y="73"/>
                  </a:moveTo>
                  <a:cubicBezTo>
                    <a:pt x="226" y="73"/>
                    <a:pt x="227" y="72"/>
                    <a:pt x="227" y="72"/>
                  </a:cubicBezTo>
                  <a:cubicBezTo>
                    <a:pt x="289" y="72"/>
                    <a:pt x="289" y="72"/>
                    <a:pt x="289" y="72"/>
                  </a:cubicBezTo>
                  <a:cubicBezTo>
                    <a:pt x="290" y="72"/>
                    <a:pt x="290" y="73"/>
                    <a:pt x="290" y="73"/>
                  </a:cubicBezTo>
                  <a:cubicBezTo>
                    <a:pt x="290" y="290"/>
                    <a:pt x="290" y="290"/>
                    <a:pt x="290" y="290"/>
                  </a:cubicBezTo>
                  <a:cubicBezTo>
                    <a:pt x="271" y="301"/>
                    <a:pt x="249" y="310"/>
                    <a:pt x="226" y="318"/>
                  </a:cubicBezTo>
                  <a:lnTo>
                    <a:pt x="226" y="73"/>
                  </a:lnTo>
                  <a:close/>
                  <a:moveTo>
                    <a:pt x="123" y="128"/>
                  </a:moveTo>
                  <a:cubicBezTo>
                    <a:pt x="184" y="128"/>
                    <a:pt x="184" y="128"/>
                    <a:pt x="184" y="128"/>
                  </a:cubicBezTo>
                  <a:cubicBezTo>
                    <a:pt x="185" y="128"/>
                    <a:pt x="186" y="129"/>
                    <a:pt x="186" y="130"/>
                  </a:cubicBezTo>
                  <a:cubicBezTo>
                    <a:pt x="186" y="330"/>
                    <a:pt x="186" y="330"/>
                    <a:pt x="186" y="330"/>
                  </a:cubicBezTo>
                  <a:cubicBezTo>
                    <a:pt x="164" y="336"/>
                    <a:pt x="142" y="341"/>
                    <a:pt x="121" y="344"/>
                  </a:cubicBezTo>
                  <a:cubicBezTo>
                    <a:pt x="121" y="130"/>
                    <a:pt x="121" y="130"/>
                    <a:pt x="121" y="130"/>
                  </a:cubicBezTo>
                  <a:cubicBezTo>
                    <a:pt x="121" y="129"/>
                    <a:pt x="122" y="128"/>
                    <a:pt x="123" y="128"/>
                  </a:cubicBezTo>
                  <a:close/>
                  <a:moveTo>
                    <a:pt x="16" y="186"/>
                  </a:moveTo>
                  <a:cubicBezTo>
                    <a:pt x="16" y="185"/>
                    <a:pt x="17" y="185"/>
                    <a:pt x="18" y="185"/>
                  </a:cubicBezTo>
                  <a:cubicBezTo>
                    <a:pt x="79" y="185"/>
                    <a:pt x="79" y="185"/>
                    <a:pt x="79" y="185"/>
                  </a:cubicBezTo>
                  <a:cubicBezTo>
                    <a:pt x="80" y="185"/>
                    <a:pt x="81" y="185"/>
                    <a:pt x="81" y="186"/>
                  </a:cubicBezTo>
                  <a:cubicBezTo>
                    <a:pt x="81" y="351"/>
                    <a:pt x="81" y="351"/>
                    <a:pt x="81" y="351"/>
                  </a:cubicBezTo>
                  <a:cubicBezTo>
                    <a:pt x="68" y="352"/>
                    <a:pt x="56" y="354"/>
                    <a:pt x="46" y="354"/>
                  </a:cubicBezTo>
                  <a:cubicBezTo>
                    <a:pt x="30" y="356"/>
                    <a:pt x="19" y="357"/>
                    <a:pt x="18" y="357"/>
                  </a:cubicBezTo>
                  <a:cubicBezTo>
                    <a:pt x="17" y="357"/>
                    <a:pt x="16" y="356"/>
                    <a:pt x="16" y="355"/>
                  </a:cubicBezTo>
                  <a:lnTo>
                    <a:pt x="16" y="186"/>
                  </a:lnTo>
                  <a:close/>
                  <a:moveTo>
                    <a:pt x="290" y="355"/>
                  </a:moveTo>
                  <a:cubicBezTo>
                    <a:pt x="290" y="356"/>
                    <a:pt x="290" y="357"/>
                    <a:pt x="289" y="357"/>
                  </a:cubicBezTo>
                  <a:cubicBezTo>
                    <a:pt x="235" y="357"/>
                    <a:pt x="235" y="357"/>
                    <a:pt x="235" y="357"/>
                  </a:cubicBezTo>
                  <a:cubicBezTo>
                    <a:pt x="254" y="353"/>
                    <a:pt x="273" y="347"/>
                    <a:pt x="290" y="341"/>
                  </a:cubicBezTo>
                  <a:lnTo>
                    <a:pt x="290" y="355"/>
                  </a:lnTo>
                  <a:close/>
                  <a:moveTo>
                    <a:pt x="395" y="355"/>
                  </a:moveTo>
                  <a:cubicBezTo>
                    <a:pt x="395" y="356"/>
                    <a:pt x="395" y="357"/>
                    <a:pt x="394" y="357"/>
                  </a:cubicBezTo>
                  <a:cubicBezTo>
                    <a:pt x="332" y="357"/>
                    <a:pt x="332" y="357"/>
                    <a:pt x="332" y="357"/>
                  </a:cubicBezTo>
                  <a:cubicBezTo>
                    <a:pt x="332" y="357"/>
                    <a:pt x="331" y="356"/>
                    <a:pt x="331" y="355"/>
                  </a:cubicBezTo>
                  <a:cubicBezTo>
                    <a:pt x="331" y="323"/>
                    <a:pt x="331" y="323"/>
                    <a:pt x="331" y="323"/>
                  </a:cubicBezTo>
                  <a:cubicBezTo>
                    <a:pt x="355" y="312"/>
                    <a:pt x="377" y="299"/>
                    <a:pt x="395" y="285"/>
                  </a:cubicBezTo>
                  <a:lnTo>
                    <a:pt x="395" y="355"/>
                  </a:lnTo>
                  <a:close/>
                  <a:moveTo>
                    <a:pt x="507" y="157"/>
                  </a:moveTo>
                  <a:cubicBezTo>
                    <a:pt x="506" y="155"/>
                    <a:pt x="503" y="153"/>
                    <a:pt x="500" y="154"/>
                  </a:cubicBezTo>
                  <a:cubicBezTo>
                    <a:pt x="497" y="154"/>
                    <a:pt x="495" y="155"/>
                    <a:pt x="494" y="158"/>
                  </a:cubicBezTo>
                  <a:cubicBezTo>
                    <a:pt x="494" y="158"/>
                    <a:pt x="493" y="159"/>
                    <a:pt x="491" y="162"/>
                  </a:cubicBezTo>
                  <a:cubicBezTo>
                    <a:pt x="480" y="182"/>
                    <a:pt x="425" y="267"/>
                    <a:pt x="301" y="319"/>
                  </a:cubicBezTo>
                  <a:cubicBezTo>
                    <a:pt x="260" y="337"/>
                    <a:pt x="210" y="347"/>
                    <a:pt x="164" y="352"/>
                  </a:cubicBezTo>
                  <a:cubicBezTo>
                    <a:pt x="212" y="341"/>
                    <a:pt x="264" y="325"/>
                    <a:pt x="305" y="300"/>
                  </a:cubicBezTo>
                  <a:cubicBezTo>
                    <a:pt x="368" y="262"/>
                    <a:pt x="442" y="182"/>
                    <a:pt x="469" y="120"/>
                  </a:cubicBezTo>
                  <a:cubicBezTo>
                    <a:pt x="471" y="117"/>
                    <a:pt x="469" y="112"/>
                    <a:pt x="466" y="110"/>
                  </a:cubicBezTo>
                  <a:cubicBezTo>
                    <a:pt x="455" y="104"/>
                    <a:pt x="455" y="104"/>
                    <a:pt x="455" y="104"/>
                  </a:cubicBezTo>
                  <a:cubicBezTo>
                    <a:pt x="509" y="80"/>
                    <a:pt x="509" y="80"/>
                    <a:pt x="509" y="80"/>
                  </a:cubicBezTo>
                  <a:cubicBezTo>
                    <a:pt x="510" y="161"/>
                    <a:pt x="510" y="161"/>
                    <a:pt x="510" y="161"/>
                  </a:cubicBezTo>
                  <a:lnTo>
                    <a:pt x="507" y="157"/>
                  </a:lnTo>
                  <a:close/>
                </a:path>
              </a:pathLst>
            </a:custGeom>
            <a:blipFill dpi="0" rotWithShape="0">
              <a:blip r:embed="rId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699" name="Text Box 5"/>
            <p:cNvSpPr txBox="1">
              <a:spLocks noChangeArrowheads="1"/>
            </p:cNvSpPr>
            <p:nvPr/>
          </p:nvSpPr>
          <p:spPr bwMode="auto">
            <a:xfrm>
              <a:off x="5324" y="2162"/>
              <a:ext cx="641" cy="2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E4275"/>
                  </a:solidFill>
                </a14:hiddenFill>
              </a:ext>
              <a:ext uri="{91240B29-F687-4F45-9708-019B960494DF}">
                <a14:hiddenLine xmlns:a14="http://schemas.microsoft.com/office/drawing/2010/main" w="38100" algn="ctr">
                  <a:solidFill>
                    <a:srgbClr val="E32119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rIns="0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sv-SE" sz="1800">
                  <a:solidFill>
                    <a:srgbClr val="00285F"/>
                  </a:solidFill>
                </a:rPr>
                <a:t>Scalable</a:t>
              </a:r>
              <a:endParaRPr lang="en-US" sz="1800">
                <a:solidFill>
                  <a:srgbClr val="00285F"/>
                </a:solidFill>
              </a:endParaRPr>
            </a:p>
          </p:txBody>
        </p:sp>
      </p:grpSp>
      <p:grpSp>
        <p:nvGrpSpPr>
          <p:cNvPr id="27652" name="Group 6"/>
          <p:cNvGrpSpPr>
            <a:grpSpLocks/>
          </p:cNvGrpSpPr>
          <p:nvPr/>
        </p:nvGrpSpPr>
        <p:grpSpPr bwMode="auto">
          <a:xfrm>
            <a:off x="9701743" y="2183817"/>
            <a:ext cx="1530349" cy="1312449"/>
            <a:chOff x="6471" y="1643"/>
            <a:chExt cx="867" cy="811"/>
          </a:xfrm>
        </p:grpSpPr>
        <p:sp>
          <p:nvSpPr>
            <p:cNvPr id="27696" name="Freeform 7" descr="bpct-blend3"/>
            <p:cNvSpPr>
              <a:spLocks noChangeAspect="1" noEditPoints="1"/>
            </p:cNvSpPr>
            <p:nvPr/>
          </p:nvSpPr>
          <p:spPr bwMode="auto">
            <a:xfrm>
              <a:off x="6552" y="1643"/>
              <a:ext cx="705" cy="568"/>
            </a:xfrm>
            <a:custGeom>
              <a:avLst/>
              <a:gdLst>
                <a:gd name="T0" fmla="*/ 604 w 524"/>
                <a:gd name="T1" fmla="*/ 365 h 422"/>
                <a:gd name="T2" fmla="*/ 585 w 524"/>
                <a:gd name="T3" fmla="*/ 299 h 422"/>
                <a:gd name="T4" fmla="*/ 432 w 524"/>
                <a:gd name="T5" fmla="*/ 210 h 422"/>
                <a:gd name="T6" fmla="*/ 390 w 524"/>
                <a:gd name="T7" fmla="*/ 307 h 422"/>
                <a:gd name="T8" fmla="*/ 386 w 524"/>
                <a:gd name="T9" fmla="*/ 366 h 422"/>
                <a:gd name="T10" fmla="*/ 397 w 524"/>
                <a:gd name="T11" fmla="*/ 428 h 422"/>
                <a:gd name="T12" fmla="*/ 412 w 524"/>
                <a:gd name="T13" fmla="*/ 363 h 422"/>
                <a:gd name="T14" fmla="*/ 579 w 524"/>
                <a:gd name="T15" fmla="*/ 367 h 422"/>
                <a:gd name="T16" fmla="*/ 412 w 524"/>
                <a:gd name="T17" fmla="*/ 316 h 422"/>
                <a:gd name="T18" fmla="*/ 557 w 524"/>
                <a:gd name="T19" fmla="*/ 331 h 422"/>
                <a:gd name="T20" fmla="*/ 579 w 524"/>
                <a:gd name="T21" fmla="*/ 273 h 422"/>
                <a:gd name="T22" fmla="*/ 540 w 524"/>
                <a:gd name="T23" fmla="*/ 459 h 422"/>
                <a:gd name="T24" fmla="*/ 570 w 524"/>
                <a:gd name="T25" fmla="*/ 411 h 422"/>
                <a:gd name="T26" fmla="*/ 507 w 524"/>
                <a:gd name="T27" fmla="*/ 256 h 422"/>
                <a:gd name="T28" fmla="*/ 490 w 524"/>
                <a:gd name="T29" fmla="*/ 271 h 422"/>
                <a:gd name="T30" fmla="*/ 495 w 524"/>
                <a:gd name="T31" fmla="*/ 276 h 422"/>
                <a:gd name="T32" fmla="*/ 486 w 524"/>
                <a:gd name="T33" fmla="*/ 275 h 422"/>
                <a:gd name="T34" fmla="*/ 482 w 524"/>
                <a:gd name="T35" fmla="*/ 280 h 422"/>
                <a:gd name="T36" fmla="*/ 491 w 524"/>
                <a:gd name="T37" fmla="*/ 284 h 422"/>
                <a:gd name="T38" fmla="*/ 496 w 524"/>
                <a:gd name="T39" fmla="*/ 268 h 422"/>
                <a:gd name="T40" fmla="*/ 500 w 524"/>
                <a:gd name="T41" fmla="*/ 265 h 422"/>
                <a:gd name="T42" fmla="*/ 510 w 524"/>
                <a:gd name="T43" fmla="*/ 264 h 422"/>
                <a:gd name="T44" fmla="*/ 296 w 524"/>
                <a:gd name="T45" fmla="*/ 472 h 422"/>
                <a:gd name="T46" fmla="*/ 343 w 524"/>
                <a:gd name="T47" fmla="*/ 365 h 422"/>
                <a:gd name="T48" fmla="*/ 323 w 524"/>
                <a:gd name="T49" fmla="*/ 299 h 422"/>
                <a:gd name="T50" fmla="*/ 343 w 524"/>
                <a:gd name="T51" fmla="*/ 222 h 422"/>
                <a:gd name="T52" fmla="*/ 195 w 524"/>
                <a:gd name="T53" fmla="*/ 109 h 422"/>
                <a:gd name="T54" fmla="*/ 145 w 524"/>
                <a:gd name="T55" fmla="*/ 195 h 422"/>
                <a:gd name="T56" fmla="*/ 129 w 524"/>
                <a:gd name="T57" fmla="*/ 260 h 422"/>
                <a:gd name="T58" fmla="*/ 129 w 524"/>
                <a:gd name="T59" fmla="*/ 307 h 422"/>
                <a:gd name="T60" fmla="*/ 124 w 524"/>
                <a:gd name="T61" fmla="*/ 366 h 422"/>
                <a:gd name="T62" fmla="*/ 280 w 524"/>
                <a:gd name="T63" fmla="*/ 459 h 422"/>
                <a:gd name="T64" fmla="*/ 279 w 524"/>
                <a:gd name="T65" fmla="*/ 433 h 422"/>
                <a:gd name="T66" fmla="*/ 280 w 524"/>
                <a:gd name="T67" fmla="*/ 412 h 422"/>
                <a:gd name="T68" fmla="*/ 279 w 524"/>
                <a:gd name="T69" fmla="*/ 386 h 422"/>
                <a:gd name="T70" fmla="*/ 280 w 524"/>
                <a:gd name="T71" fmla="*/ 363 h 422"/>
                <a:gd name="T72" fmla="*/ 279 w 524"/>
                <a:gd name="T73" fmla="*/ 338 h 422"/>
                <a:gd name="T74" fmla="*/ 151 w 524"/>
                <a:gd name="T75" fmla="*/ 268 h 422"/>
                <a:gd name="T76" fmla="*/ 318 w 524"/>
                <a:gd name="T77" fmla="*/ 272 h 422"/>
                <a:gd name="T78" fmla="*/ 280 w 524"/>
                <a:gd name="T79" fmla="*/ 269 h 422"/>
                <a:gd name="T80" fmla="*/ 279 w 524"/>
                <a:gd name="T81" fmla="*/ 244 h 422"/>
                <a:gd name="T82" fmla="*/ 188 w 524"/>
                <a:gd name="T83" fmla="*/ 129 h 422"/>
                <a:gd name="T84" fmla="*/ 187 w 524"/>
                <a:gd name="T85" fmla="*/ 129 h 422"/>
                <a:gd name="T86" fmla="*/ 237 w 524"/>
                <a:gd name="T87" fmla="*/ 163 h 422"/>
                <a:gd name="T88" fmla="*/ 234 w 524"/>
                <a:gd name="T89" fmla="*/ 180 h 422"/>
                <a:gd name="T90" fmla="*/ 227 w 524"/>
                <a:gd name="T91" fmla="*/ 182 h 422"/>
                <a:gd name="T92" fmla="*/ 223 w 524"/>
                <a:gd name="T93" fmla="*/ 179 h 422"/>
                <a:gd name="T94" fmla="*/ 223 w 524"/>
                <a:gd name="T95" fmla="*/ 191 h 422"/>
                <a:gd name="T96" fmla="*/ 241 w 524"/>
                <a:gd name="T97" fmla="*/ 183 h 422"/>
                <a:gd name="T98" fmla="*/ 234 w 524"/>
                <a:gd name="T99" fmla="*/ 171 h 422"/>
                <a:gd name="T100" fmla="*/ 242 w 524"/>
                <a:gd name="T101" fmla="*/ 171 h 422"/>
                <a:gd name="T102" fmla="*/ 549 w 524"/>
                <a:gd name="T103" fmla="*/ 176 h 422"/>
                <a:gd name="T104" fmla="*/ 635 w 524"/>
                <a:gd name="T105" fmla="*/ 163 h 422"/>
                <a:gd name="T106" fmla="*/ 125 w 524"/>
                <a:gd name="T107" fmla="*/ 51 h 422"/>
                <a:gd name="T108" fmla="*/ 44 w 524"/>
                <a:gd name="T109" fmla="*/ 89 h 422"/>
                <a:gd name="T110" fmla="*/ 24 w 524"/>
                <a:gd name="T111" fmla="*/ 8 h 422"/>
                <a:gd name="T112" fmla="*/ 23 w 524"/>
                <a:gd name="T113" fmla="*/ 520 h 422"/>
                <a:gd name="T114" fmla="*/ 697 w 524"/>
                <a:gd name="T115" fmla="*/ 524 h 422"/>
                <a:gd name="T116" fmla="*/ 553 w 524"/>
                <a:gd name="T117" fmla="*/ 534 h 422"/>
                <a:gd name="T118" fmla="*/ 631 w 524"/>
                <a:gd name="T119" fmla="*/ 568 h 42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524" h="422">
                  <a:moveTo>
                    <a:pt x="446" y="315"/>
                  </a:moveTo>
                  <a:cubicBezTo>
                    <a:pt x="447" y="313"/>
                    <a:pt x="449" y="310"/>
                    <a:pt x="449" y="306"/>
                  </a:cubicBezTo>
                  <a:cubicBezTo>
                    <a:pt x="449" y="302"/>
                    <a:pt x="445" y="297"/>
                    <a:pt x="441" y="296"/>
                  </a:cubicBezTo>
                  <a:cubicBezTo>
                    <a:pt x="435" y="292"/>
                    <a:pt x="435" y="292"/>
                    <a:pt x="435" y="292"/>
                  </a:cubicBezTo>
                  <a:cubicBezTo>
                    <a:pt x="446" y="280"/>
                    <a:pt x="446" y="280"/>
                    <a:pt x="446" y="280"/>
                  </a:cubicBezTo>
                  <a:cubicBezTo>
                    <a:pt x="447" y="277"/>
                    <a:pt x="449" y="275"/>
                    <a:pt x="449" y="271"/>
                  </a:cubicBezTo>
                  <a:cubicBezTo>
                    <a:pt x="449" y="266"/>
                    <a:pt x="445" y="262"/>
                    <a:pt x="441" y="260"/>
                  </a:cubicBezTo>
                  <a:cubicBezTo>
                    <a:pt x="435" y="257"/>
                    <a:pt x="435" y="257"/>
                    <a:pt x="435" y="257"/>
                  </a:cubicBezTo>
                  <a:cubicBezTo>
                    <a:pt x="446" y="244"/>
                    <a:pt x="446" y="244"/>
                    <a:pt x="446" y="244"/>
                  </a:cubicBezTo>
                  <a:cubicBezTo>
                    <a:pt x="447" y="242"/>
                    <a:pt x="449" y="239"/>
                    <a:pt x="449" y="236"/>
                  </a:cubicBezTo>
                  <a:cubicBezTo>
                    <a:pt x="449" y="231"/>
                    <a:pt x="445" y="227"/>
                    <a:pt x="441" y="225"/>
                  </a:cubicBezTo>
                  <a:cubicBezTo>
                    <a:pt x="435" y="222"/>
                    <a:pt x="435" y="222"/>
                    <a:pt x="435" y="222"/>
                  </a:cubicBezTo>
                  <a:cubicBezTo>
                    <a:pt x="446" y="209"/>
                    <a:pt x="446" y="209"/>
                    <a:pt x="446" y="209"/>
                  </a:cubicBezTo>
                  <a:cubicBezTo>
                    <a:pt x="447" y="207"/>
                    <a:pt x="449" y="204"/>
                    <a:pt x="449" y="201"/>
                  </a:cubicBezTo>
                  <a:cubicBezTo>
                    <a:pt x="449" y="196"/>
                    <a:pt x="445" y="191"/>
                    <a:pt x="441" y="190"/>
                  </a:cubicBezTo>
                  <a:cubicBezTo>
                    <a:pt x="340" y="152"/>
                    <a:pt x="340" y="152"/>
                    <a:pt x="340" y="152"/>
                  </a:cubicBezTo>
                  <a:cubicBezTo>
                    <a:pt x="338" y="151"/>
                    <a:pt x="336" y="151"/>
                    <a:pt x="334" y="151"/>
                  </a:cubicBezTo>
                  <a:cubicBezTo>
                    <a:pt x="329" y="151"/>
                    <a:pt x="325" y="152"/>
                    <a:pt x="321" y="156"/>
                  </a:cubicBezTo>
                  <a:cubicBezTo>
                    <a:pt x="290" y="193"/>
                    <a:pt x="290" y="193"/>
                    <a:pt x="290" y="193"/>
                  </a:cubicBezTo>
                  <a:cubicBezTo>
                    <a:pt x="288" y="195"/>
                    <a:pt x="287" y="198"/>
                    <a:pt x="287" y="201"/>
                  </a:cubicBezTo>
                  <a:cubicBezTo>
                    <a:pt x="287" y="206"/>
                    <a:pt x="290" y="211"/>
                    <a:pt x="295" y="212"/>
                  </a:cubicBezTo>
                  <a:cubicBezTo>
                    <a:pt x="302" y="215"/>
                    <a:pt x="302" y="215"/>
                    <a:pt x="302" y="215"/>
                  </a:cubicBezTo>
                  <a:cubicBezTo>
                    <a:pt x="290" y="228"/>
                    <a:pt x="290" y="228"/>
                    <a:pt x="290" y="228"/>
                  </a:cubicBezTo>
                  <a:cubicBezTo>
                    <a:pt x="290" y="228"/>
                    <a:pt x="290" y="228"/>
                    <a:pt x="290" y="228"/>
                  </a:cubicBezTo>
                  <a:cubicBezTo>
                    <a:pt x="288" y="230"/>
                    <a:pt x="287" y="233"/>
                    <a:pt x="287" y="237"/>
                  </a:cubicBezTo>
                  <a:cubicBezTo>
                    <a:pt x="287" y="242"/>
                    <a:pt x="290" y="246"/>
                    <a:pt x="295" y="248"/>
                  </a:cubicBezTo>
                  <a:cubicBezTo>
                    <a:pt x="302" y="250"/>
                    <a:pt x="302" y="250"/>
                    <a:pt x="302" y="250"/>
                  </a:cubicBezTo>
                  <a:cubicBezTo>
                    <a:pt x="290" y="263"/>
                    <a:pt x="290" y="263"/>
                    <a:pt x="290" y="263"/>
                  </a:cubicBezTo>
                  <a:cubicBezTo>
                    <a:pt x="290" y="263"/>
                    <a:pt x="290" y="263"/>
                    <a:pt x="290" y="263"/>
                  </a:cubicBezTo>
                  <a:cubicBezTo>
                    <a:pt x="288" y="266"/>
                    <a:pt x="287" y="269"/>
                    <a:pt x="287" y="272"/>
                  </a:cubicBezTo>
                  <a:cubicBezTo>
                    <a:pt x="287" y="277"/>
                    <a:pt x="290" y="281"/>
                    <a:pt x="295" y="283"/>
                  </a:cubicBezTo>
                  <a:cubicBezTo>
                    <a:pt x="302" y="286"/>
                    <a:pt x="302" y="286"/>
                    <a:pt x="302" y="286"/>
                  </a:cubicBezTo>
                  <a:cubicBezTo>
                    <a:pt x="290" y="298"/>
                    <a:pt x="290" y="298"/>
                    <a:pt x="290" y="298"/>
                  </a:cubicBezTo>
                  <a:cubicBezTo>
                    <a:pt x="290" y="299"/>
                    <a:pt x="290" y="299"/>
                    <a:pt x="290" y="299"/>
                  </a:cubicBezTo>
                  <a:cubicBezTo>
                    <a:pt x="288" y="301"/>
                    <a:pt x="287" y="304"/>
                    <a:pt x="287" y="307"/>
                  </a:cubicBezTo>
                  <a:cubicBezTo>
                    <a:pt x="287" y="312"/>
                    <a:pt x="290" y="317"/>
                    <a:pt x="295" y="318"/>
                  </a:cubicBezTo>
                  <a:cubicBezTo>
                    <a:pt x="396" y="356"/>
                    <a:pt x="396" y="356"/>
                    <a:pt x="396" y="356"/>
                  </a:cubicBezTo>
                  <a:cubicBezTo>
                    <a:pt x="398" y="357"/>
                    <a:pt x="400" y="357"/>
                    <a:pt x="401" y="357"/>
                  </a:cubicBezTo>
                  <a:cubicBezTo>
                    <a:pt x="406" y="357"/>
                    <a:pt x="410" y="355"/>
                    <a:pt x="414" y="351"/>
                  </a:cubicBezTo>
                  <a:lnTo>
                    <a:pt x="446" y="315"/>
                  </a:lnTo>
                  <a:close/>
                  <a:moveTo>
                    <a:pt x="401" y="306"/>
                  </a:moveTo>
                  <a:cubicBezTo>
                    <a:pt x="306" y="270"/>
                    <a:pt x="306" y="270"/>
                    <a:pt x="306" y="270"/>
                  </a:cubicBezTo>
                  <a:cubicBezTo>
                    <a:pt x="319" y="257"/>
                    <a:pt x="319" y="257"/>
                    <a:pt x="319" y="257"/>
                  </a:cubicBezTo>
                  <a:cubicBezTo>
                    <a:pt x="396" y="286"/>
                    <a:pt x="396" y="286"/>
                    <a:pt x="396" y="286"/>
                  </a:cubicBezTo>
                  <a:cubicBezTo>
                    <a:pt x="398" y="286"/>
                    <a:pt x="400" y="287"/>
                    <a:pt x="401" y="287"/>
                  </a:cubicBezTo>
                  <a:cubicBezTo>
                    <a:pt x="406" y="287"/>
                    <a:pt x="410" y="285"/>
                    <a:pt x="414" y="281"/>
                  </a:cubicBezTo>
                  <a:cubicBezTo>
                    <a:pt x="424" y="270"/>
                    <a:pt x="424" y="270"/>
                    <a:pt x="424" y="270"/>
                  </a:cubicBezTo>
                  <a:cubicBezTo>
                    <a:pt x="430" y="273"/>
                    <a:pt x="430" y="273"/>
                    <a:pt x="430" y="273"/>
                  </a:cubicBezTo>
                  <a:cubicBezTo>
                    <a:pt x="402" y="306"/>
                    <a:pt x="402" y="306"/>
                    <a:pt x="402" y="306"/>
                  </a:cubicBezTo>
                  <a:cubicBezTo>
                    <a:pt x="402" y="306"/>
                    <a:pt x="402" y="306"/>
                    <a:pt x="402" y="306"/>
                  </a:cubicBezTo>
                  <a:cubicBezTo>
                    <a:pt x="402" y="306"/>
                    <a:pt x="402" y="306"/>
                    <a:pt x="401" y="306"/>
                  </a:cubicBezTo>
                  <a:close/>
                  <a:moveTo>
                    <a:pt x="402" y="270"/>
                  </a:moveTo>
                  <a:cubicBezTo>
                    <a:pt x="402" y="271"/>
                    <a:pt x="402" y="271"/>
                    <a:pt x="401" y="271"/>
                  </a:cubicBezTo>
                  <a:cubicBezTo>
                    <a:pt x="306" y="235"/>
                    <a:pt x="306" y="235"/>
                    <a:pt x="306" y="235"/>
                  </a:cubicBezTo>
                  <a:cubicBezTo>
                    <a:pt x="319" y="221"/>
                    <a:pt x="319" y="221"/>
                    <a:pt x="319" y="221"/>
                  </a:cubicBezTo>
                  <a:cubicBezTo>
                    <a:pt x="396" y="251"/>
                    <a:pt x="396" y="251"/>
                    <a:pt x="396" y="251"/>
                  </a:cubicBezTo>
                  <a:cubicBezTo>
                    <a:pt x="398" y="251"/>
                    <a:pt x="400" y="251"/>
                    <a:pt x="401" y="251"/>
                  </a:cubicBezTo>
                  <a:cubicBezTo>
                    <a:pt x="406" y="251"/>
                    <a:pt x="411" y="250"/>
                    <a:pt x="414" y="246"/>
                  </a:cubicBezTo>
                  <a:cubicBezTo>
                    <a:pt x="408" y="240"/>
                    <a:pt x="408" y="240"/>
                    <a:pt x="408" y="240"/>
                  </a:cubicBezTo>
                  <a:cubicBezTo>
                    <a:pt x="414" y="246"/>
                    <a:pt x="414" y="246"/>
                    <a:pt x="414" y="246"/>
                  </a:cubicBezTo>
                  <a:cubicBezTo>
                    <a:pt x="424" y="234"/>
                    <a:pt x="424" y="234"/>
                    <a:pt x="424" y="234"/>
                  </a:cubicBezTo>
                  <a:cubicBezTo>
                    <a:pt x="430" y="238"/>
                    <a:pt x="430" y="238"/>
                    <a:pt x="430" y="238"/>
                  </a:cubicBezTo>
                  <a:lnTo>
                    <a:pt x="402" y="270"/>
                  </a:lnTo>
                  <a:close/>
                  <a:moveTo>
                    <a:pt x="334" y="167"/>
                  </a:moveTo>
                  <a:cubicBezTo>
                    <a:pt x="334" y="167"/>
                    <a:pt x="334" y="167"/>
                    <a:pt x="334" y="167"/>
                  </a:cubicBezTo>
                  <a:cubicBezTo>
                    <a:pt x="430" y="203"/>
                    <a:pt x="430" y="203"/>
                    <a:pt x="430" y="203"/>
                  </a:cubicBezTo>
                  <a:cubicBezTo>
                    <a:pt x="402" y="235"/>
                    <a:pt x="402" y="235"/>
                    <a:pt x="402" y="235"/>
                  </a:cubicBezTo>
                  <a:cubicBezTo>
                    <a:pt x="402" y="235"/>
                    <a:pt x="402" y="235"/>
                    <a:pt x="402" y="235"/>
                  </a:cubicBezTo>
                  <a:cubicBezTo>
                    <a:pt x="402" y="235"/>
                    <a:pt x="402" y="235"/>
                    <a:pt x="401" y="235"/>
                  </a:cubicBezTo>
                  <a:cubicBezTo>
                    <a:pt x="306" y="199"/>
                    <a:pt x="306" y="199"/>
                    <a:pt x="306" y="199"/>
                  </a:cubicBezTo>
                  <a:lnTo>
                    <a:pt x="334" y="167"/>
                  </a:lnTo>
                  <a:close/>
                  <a:moveTo>
                    <a:pt x="401" y="341"/>
                  </a:moveTo>
                  <a:cubicBezTo>
                    <a:pt x="306" y="305"/>
                    <a:pt x="306" y="305"/>
                    <a:pt x="306" y="305"/>
                  </a:cubicBezTo>
                  <a:cubicBezTo>
                    <a:pt x="319" y="292"/>
                    <a:pt x="319" y="292"/>
                    <a:pt x="319" y="292"/>
                  </a:cubicBezTo>
                  <a:cubicBezTo>
                    <a:pt x="396" y="321"/>
                    <a:pt x="396" y="321"/>
                    <a:pt x="396" y="321"/>
                  </a:cubicBezTo>
                  <a:cubicBezTo>
                    <a:pt x="398" y="322"/>
                    <a:pt x="400" y="322"/>
                    <a:pt x="401" y="322"/>
                  </a:cubicBezTo>
                  <a:cubicBezTo>
                    <a:pt x="406" y="322"/>
                    <a:pt x="410" y="320"/>
                    <a:pt x="414" y="316"/>
                  </a:cubicBezTo>
                  <a:cubicBezTo>
                    <a:pt x="424" y="305"/>
                    <a:pt x="424" y="305"/>
                    <a:pt x="424" y="305"/>
                  </a:cubicBezTo>
                  <a:cubicBezTo>
                    <a:pt x="430" y="308"/>
                    <a:pt x="430" y="308"/>
                    <a:pt x="430" y="308"/>
                  </a:cubicBezTo>
                  <a:cubicBezTo>
                    <a:pt x="402" y="341"/>
                    <a:pt x="402" y="341"/>
                    <a:pt x="402" y="341"/>
                  </a:cubicBezTo>
                  <a:cubicBezTo>
                    <a:pt x="402" y="341"/>
                    <a:pt x="402" y="341"/>
                    <a:pt x="401" y="341"/>
                  </a:cubicBezTo>
                  <a:close/>
                  <a:moveTo>
                    <a:pt x="379" y="196"/>
                  </a:moveTo>
                  <a:cubicBezTo>
                    <a:pt x="379" y="196"/>
                    <a:pt x="378" y="195"/>
                    <a:pt x="377" y="194"/>
                  </a:cubicBezTo>
                  <a:cubicBezTo>
                    <a:pt x="378" y="193"/>
                    <a:pt x="378" y="191"/>
                    <a:pt x="377" y="190"/>
                  </a:cubicBezTo>
                  <a:cubicBezTo>
                    <a:pt x="376" y="189"/>
                    <a:pt x="374" y="189"/>
                    <a:pt x="373" y="190"/>
                  </a:cubicBezTo>
                  <a:cubicBezTo>
                    <a:pt x="373" y="192"/>
                    <a:pt x="373" y="192"/>
                    <a:pt x="373" y="192"/>
                  </a:cubicBezTo>
                  <a:cubicBezTo>
                    <a:pt x="372" y="191"/>
                    <a:pt x="371" y="191"/>
                    <a:pt x="370" y="191"/>
                  </a:cubicBezTo>
                  <a:cubicBezTo>
                    <a:pt x="368" y="191"/>
                    <a:pt x="366" y="192"/>
                    <a:pt x="364" y="194"/>
                  </a:cubicBezTo>
                  <a:cubicBezTo>
                    <a:pt x="363" y="195"/>
                    <a:pt x="362" y="196"/>
                    <a:pt x="362" y="198"/>
                  </a:cubicBezTo>
                  <a:cubicBezTo>
                    <a:pt x="362" y="199"/>
                    <a:pt x="364" y="201"/>
                    <a:pt x="364" y="201"/>
                  </a:cubicBezTo>
                  <a:cubicBezTo>
                    <a:pt x="365" y="202"/>
                    <a:pt x="366" y="203"/>
                    <a:pt x="367" y="203"/>
                  </a:cubicBezTo>
                  <a:cubicBezTo>
                    <a:pt x="367" y="203"/>
                    <a:pt x="368" y="204"/>
                    <a:pt x="368" y="204"/>
                  </a:cubicBezTo>
                  <a:cubicBezTo>
                    <a:pt x="368" y="204"/>
                    <a:pt x="368" y="204"/>
                    <a:pt x="368" y="204"/>
                  </a:cubicBezTo>
                  <a:cubicBezTo>
                    <a:pt x="368" y="204"/>
                    <a:pt x="368" y="204"/>
                    <a:pt x="368" y="204"/>
                  </a:cubicBezTo>
                  <a:cubicBezTo>
                    <a:pt x="368" y="204"/>
                    <a:pt x="368" y="204"/>
                    <a:pt x="368" y="204"/>
                  </a:cubicBezTo>
                  <a:cubicBezTo>
                    <a:pt x="368" y="205"/>
                    <a:pt x="368" y="205"/>
                    <a:pt x="368" y="205"/>
                  </a:cubicBezTo>
                  <a:cubicBezTo>
                    <a:pt x="367" y="206"/>
                    <a:pt x="367" y="206"/>
                    <a:pt x="365" y="206"/>
                  </a:cubicBezTo>
                  <a:cubicBezTo>
                    <a:pt x="365" y="206"/>
                    <a:pt x="364" y="206"/>
                    <a:pt x="364" y="206"/>
                  </a:cubicBezTo>
                  <a:cubicBezTo>
                    <a:pt x="363" y="206"/>
                    <a:pt x="363" y="206"/>
                    <a:pt x="363" y="206"/>
                  </a:cubicBezTo>
                  <a:cubicBezTo>
                    <a:pt x="363" y="206"/>
                    <a:pt x="363" y="206"/>
                    <a:pt x="363" y="206"/>
                  </a:cubicBezTo>
                  <a:cubicBezTo>
                    <a:pt x="363" y="206"/>
                    <a:pt x="363" y="206"/>
                    <a:pt x="363" y="206"/>
                  </a:cubicBezTo>
                  <a:cubicBezTo>
                    <a:pt x="362" y="205"/>
                    <a:pt x="361" y="205"/>
                    <a:pt x="361" y="204"/>
                  </a:cubicBezTo>
                  <a:cubicBezTo>
                    <a:pt x="361" y="204"/>
                    <a:pt x="361" y="204"/>
                    <a:pt x="360" y="203"/>
                  </a:cubicBezTo>
                  <a:cubicBezTo>
                    <a:pt x="360" y="203"/>
                    <a:pt x="360" y="203"/>
                    <a:pt x="360" y="203"/>
                  </a:cubicBezTo>
                  <a:cubicBezTo>
                    <a:pt x="360" y="203"/>
                    <a:pt x="360" y="203"/>
                    <a:pt x="360" y="203"/>
                  </a:cubicBezTo>
                  <a:cubicBezTo>
                    <a:pt x="360" y="202"/>
                    <a:pt x="359" y="201"/>
                    <a:pt x="357" y="202"/>
                  </a:cubicBezTo>
                  <a:cubicBezTo>
                    <a:pt x="356" y="202"/>
                    <a:pt x="355" y="204"/>
                    <a:pt x="356" y="205"/>
                  </a:cubicBezTo>
                  <a:cubicBezTo>
                    <a:pt x="356" y="205"/>
                    <a:pt x="357" y="207"/>
                    <a:pt x="358" y="208"/>
                  </a:cubicBezTo>
                  <a:cubicBezTo>
                    <a:pt x="358" y="208"/>
                    <a:pt x="358" y="208"/>
                    <a:pt x="358" y="208"/>
                  </a:cubicBezTo>
                  <a:cubicBezTo>
                    <a:pt x="357" y="209"/>
                    <a:pt x="357" y="211"/>
                    <a:pt x="358" y="212"/>
                  </a:cubicBezTo>
                  <a:cubicBezTo>
                    <a:pt x="359" y="212"/>
                    <a:pt x="359" y="212"/>
                    <a:pt x="360" y="212"/>
                  </a:cubicBezTo>
                  <a:cubicBezTo>
                    <a:pt x="361" y="212"/>
                    <a:pt x="361" y="212"/>
                    <a:pt x="362" y="212"/>
                  </a:cubicBezTo>
                  <a:cubicBezTo>
                    <a:pt x="363" y="211"/>
                    <a:pt x="363" y="211"/>
                    <a:pt x="363" y="211"/>
                  </a:cubicBezTo>
                  <a:cubicBezTo>
                    <a:pt x="363" y="211"/>
                    <a:pt x="364" y="211"/>
                    <a:pt x="365" y="211"/>
                  </a:cubicBezTo>
                  <a:cubicBezTo>
                    <a:pt x="366" y="211"/>
                    <a:pt x="366" y="211"/>
                    <a:pt x="366" y="211"/>
                  </a:cubicBezTo>
                  <a:cubicBezTo>
                    <a:pt x="367" y="211"/>
                    <a:pt x="370" y="210"/>
                    <a:pt x="372" y="208"/>
                  </a:cubicBezTo>
                  <a:cubicBezTo>
                    <a:pt x="372" y="208"/>
                    <a:pt x="373" y="207"/>
                    <a:pt x="373" y="206"/>
                  </a:cubicBezTo>
                  <a:cubicBezTo>
                    <a:pt x="373" y="206"/>
                    <a:pt x="373" y="205"/>
                    <a:pt x="373" y="204"/>
                  </a:cubicBezTo>
                  <a:cubicBezTo>
                    <a:pt x="373" y="203"/>
                    <a:pt x="372" y="201"/>
                    <a:pt x="372" y="201"/>
                  </a:cubicBezTo>
                  <a:cubicBezTo>
                    <a:pt x="371" y="200"/>
                    <a:pt x="370" y="199"/>
                    <a:pt x="369" y="199"/>
                  </a:cubicBezTo>
                  <a:cubicBezTo>
                    <a:pt x="369" y="198"/>
                    <a:pt x="368" y="198"/>
                    <a:pt x="368" y="198"/>
                  </a:cubicBezTo>
                  <a:cubicBezTo>
                    <a:pt x="368" y="198"/>
                    <a:pt x="367" y="198"/>
                    <a:pt x="367" y="197"/>
                  </a:cubicBezTo>
                  <a:cubicBezTo>
                    <a:pt x="367" y="197"/>
                    <a:pt x="368" y="197"/>
                    <a:pt x="368" y="197"/>
                  </a:cubicBezTo>
                  <a:cubicBezTo>
                    <a:pt x="368" y="196"/>
                    <a:pt x="369" y="196"/>
                    <a:pt x="370" y="196"/>
                  </a:cubicBezTo>
                  <a:cubicBezTo>
                    <a:pt x="371" y="196"/>
                    <a:pt x="371" y="196"/>
                    <a:pt x="372" y="196"/>
                  </a:cubicBezTo>
                  <a:cubicBezTo>
                    <a:pt x="372" y="196"/>
                    <a:pt x="372" y="196"/>
                    <a:pt x="372" y="197"/>
                  </a:cubicBezTo>
                  <a:cubicBezTo>
                    <a:pt x="372" y="197"/>
                    <a:pt x="372" y="197"/>
                    <a:pt x="373" y="197"/>
                  </a:cubicBezTo>
                  <a:cubicBezTo>
                    <a:pt x="373" y="197"/>
                    <a:pt x="373" y="197"/>
                    <a:pt x="373" y="197"/>
                  </a:cubicBezTo>
                  <a:cubicBezTo>
                    <a:pt x="374" y="197"/>
                    <a:pt x="374" y="197"/>
                    <a:pt x="374" y="198"/>
                  </a:cubicBezTo>
                  <a:cubicBezTo>
                    <a:pt x="374" y="198"/>
                    <a:pt x="374" y="198"/>
                    <a:pt x="374" y="198"/>
                  </a:cubicBezTo>
                  <a:cubicBezTo>
                    <a:pt x="375" y="199"/>
                    <a:pt x="376" y="200"/>
                    <a:pt x="377" y="199"/>
                  </a:cubicBezTo>
                  <a:cubicBezTo>
                    <a:pt x="379" y="199"/>
                    <a:pt x="379" y="197"/>
                    <a:pt x="379" y="196"/>
                  </a:cubicBezTo>
                  <a:close/>
                  <a:moveTo>
                    <a:pt x="96" y="299"/>
                  </a:moveTo>
                  <a:cubicBezTo>
                    <a:pt x="94" y="301"/>
                    <a:pt x="92" y="304"/>
                    <a:pt x="92" y="307"/>
                  </a:cubicBezTo>
                  <a:cubicBezTo>
                    <a:pt x="92" y="312"/>
                    <a:pt x="96" y="317"/>
                    <a:pt x="100" y="318"/>
                  </a:cubicBezTo>
                  <a:cubicBezTo>
                    <a:pt x="202" y="356"/>
                    <a:pt x="202" y="356"/>
                    <a:pt x="202" y="356"/>
                  </a:cubicBezTo>
                  <a:cubicBezTo>
                    <a:pt x="204" y="357"/>
                    <a:pt x="205" y="357"/>
                    <a:pt x="207" y="357"/>
                  </a:cubicBezTo>
                  <a:cubicBezTo>
                    <a:pt x="212" y="357"/>
                    <a:pt x="216" y="355"/>
                    <a:pt x="220" y="351"/>
                  </a:cubicBezTo>
                  <a:cubicBezTo>
                    <a:pt x="251" y="315"/>
                    <a:pt x="251" y="315"/>
                    <a:pt x="251" y="315"/>
                  </a:cubicBezTo>
                  <a:cubicBezTo>
                    <a:pt x="253" y="313"/>
                    <a:pt x="255" y="310"/>
                    <a:pt x="255" y="307"/>
                  </a:cubicBezTo>
                  <a:cubicBezTo>
                    <a:pt x="255" y="302"/>
                    <a:pt x="251" y="297"/>
                    <a:pt x="247" y="296"/>
                  </a:cubicBezTo>
                  <a:cubicBezTo>
                    <a:pt x="240" y="292"/>
                    <a:pt x="240" y="292"/>
                    <a:pt x="240" y="292"/>
                  </a:cubicBezTo>
                  <a:cubicBezTo>
                    <a:pt x="251" y="280"/>
                    <a:pt x="251" y="280"/>
                    <a:pt x="251" y="280"/>
                  </a:cubicBezTo>
                  <a:cubicBezTo>
                    <a:pt x="253" y="277"/>
                    <a:pt x="255" y="275"/>
                    <a:pt x="255" y="271"/>
                  </a:cubicBezTo>
                  <a:cubicBezTo>
                    <a:pt x="255" y="266"/>
                    <a:pt x="251" y="262"/>
                    <a:pt x="247" y="260"/>
                  </a:cubicBezTo>
                  <a:cubicBezTo>
                    <a:pt x="240" y="257"/>
                    <a:pt x="240" y="257"/>
                    <a:pt x="240" y="257"/>
                  </a:cubicBezTo>
                  <a:cubicBezTo>
                    <a:pt x="251" y="244"/>
                    <a:pt x="251" y="244"/>
                    <a:pt x="251" y="244"/>
                  </a:cubicBezTo>
                  <a:cubicBezTo>
                    <a:pt x="253" y="242"/>
                    <a:pt x="255" y="239"/>
                    <a:pt x="255" y="236"/>
                  </a:cubicBezTo>
                  <a:cubicBezTo>
                    <a:pt x="255" y="231"/>
                    <a:pt x="251" y="227"/>
                    <a:pt x="247" y="225"/>
                  </a:cubicBezTo>
                  <a:cubicBezTo>
                    <a:pt x="240" y="222"/>
                    <a:pt x="240" y="222"/>
                    <a:pt x="240" y="222"/>
                  </a:cubicBezTo>
                  <a:cubicBezTo>
                    <a:pt x="251" y="209"/>
                    <a:pt x="251" y="209"/>
                    <a:pt x="251" y="209"/>
                  </a:cubicBezTo>
                  <a:cubicBezTo>
                    <a:pt x="253" y="207"/>
                    <a:pt x="255" y="204"/>
                    <a:pt x="255" y="201"/>
                  </a:cubicBezTo>
                  <a:cubicBezTo>
                    <a:pt x="255" y="196"/>
                    <a:pt x="251" y="191"/>
                    <a:pt x="247" y="190"/>
                  </a:cubicBezTo>
                  <a:cubicBezTo>
                    <a:pt x="240" y="187"/>
                    <a:pt x="240" y="187"/>
                    <a:pt x="240" y="187"/>
                  </a:cubicBezTo>
                  <a:cubicBezTo>
                    <a:pt x="251" y="174"/>
                    <a:pt x="251" y="174"/>
                    <a:pt x="251" y="174"/>
                  </a:cubicBezTo>
                  <a:cubicBezTo>
                    <a:pt x="253" y="172"/>
                    <a:pt x="255" y="169"/>
                    <a:pt x="255" y="165"/>
                  </a:cubicBezTo>
                  <a:cubicBezTo>
                    <a:pt x="255" y="161"/>
                    <a:pt x="251" y="156"/>
                    <a:pt x="247" y="155"/>
                  </a:cubicBezTo>
                  <a:cubicBezTo>
                    <a:pt x="240" y="151"/>
                    <a:pt x="240" y="151"/>
                    <a:pt x="240" y="151"/>
                  </a:cubicBezTo>
                  <a:cubicBezTo>
                    <a:pt x="251" y="139"/>
                    <a:pt x="251" y="139"/>
                    <a:pt x="251" y="139"/>
                  </a:cubicBezTo>
                  <a:cubicBezTo>
                    <a:pt x="253" y="136"/>
                    <a:pt x="255" y="134"/>
                    <a:pt x="255" y="130"/>
                  </a:cubicBezTo>
                  <a:cubicBezTo>
                    <a:pt x="255" y="125"/>
                    <a:pt x="251" y="121"/>
                    <a:pt x="247" y="119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3" y="80"/>
                    <a:pt x="142" y="80"/>
                    <a:pt x="140" y="80"/>
                  </a:cubicBezTo>
                  <a:cubicBezTo>
                    <a:pt x="135" y="80"/>
                    <a:pt x="131" y="82"/>
                    <a:pt x="127" y="86"/>
                  </a:cubicBezTo>
                  <a:cubicBezTo>
                    <a:pt x="96" y="123"/>
                    <a:pt x="96" y="123"/>
                    <a:pt x="96" y="123"/>
                  </a:cubicBezTo>
                  <a:cubicBezTo>
                    <a:pt x="94" y="125"/>
                    <a:pt x="92" y="128"/>
                    <a:pt x="92" y="131"/>
                  </a:cubicBezTo>
                  <a:cubicBezTo>
                    <a:pt x="92" y="136"/>
                    <a:pt x="96" y="140"/>
                    <a:pt x="100" y="142"/>
                  </a:cubicBezTo>
                  <a:cubicBezTo>
                    <a:pt x="108" y="145"/>
                    <a:pt x="108" y="145"/>
                    <a:pt x="108" y="145"/>
                  </a:cubicBezTo>
                  <a:cubicBezTo>
                    <a:pt x="96" y="157"/>
                    <a:pt x="96" y="157"/>
                    <a:pt x="96" y="157"/>
                  </a:cubicBezTo>
                  <a:cubicBezTo>
                    <a:pt x="96" y="158"/>
                    <a:pt x="96" y="158"/>
                    <a:pt x="96" y="158"/>
                  </a:cubicBezTo>
                  <a:cubicBezTo>
                    <a:pt x="94" y="160"/>
                    <a:pt x="92" y="163"/>
                    <a:pt x="92" y="166"/>
                  </a:cubicBezTo>
                  <a:cubicBezTo>
                    <a:pt x="92" y="171"/>
                    <a:pt x="96" y="176"/>
                    <a:pt x="100" y="177"/>
                  </a:cubicBezTo>
                  <a:cubicBezTo>
                    <a:pt x="108" y="180"/>
                    <a:pt x="108" y="180"/>
                    <a:pt x="108" y="180"/>
                  </a:cubicBezTo>
                  <a:cubicBezTo>
                    <a:pt x="96" y="193"/>
                    <a:pt x="96" y="193"/>
                    <a:pt x="96" y="193"/>
                  </a:cubicBezTo>
                  <a:cubicBezTo>
                    <a:pt x="96" y="193"/>
                    <a:pt x="96" y="193"/>
                    <a:pt x="96" y="193"/>
                  </a:cubicBezTo>
                  <a:cubicBezTo>
                    <a:pt x="94" y="195"/>
                    <a:pt x="92" y="198"/>
                    <a:pt x="92" y="201"/>
                  </a:cubicBezTo>
                  <a:cubicBezTo>
                    <a:pt x="92" y="206"/>
                    <a:pt x="96" y="211"/>
                    <a:pt x="100" y="212"/>
                  </a:cubicBezTo>
                  <a:cubicBezTo>
                    <a:pt x="108" y="215"/>
                    <a:pt x="108" y="215"/>
                    <a:pt x="108" y="215"/>
                  </a:cubicBezTo>
                  <a:cubicBezTo>
                    <a:pt x="96" y="228"/>
                    <a:pt x="96" y="228"/>
                    <a:pt x="96" y="228"/>
                  </a:cubicBezTo>
                  <a:cubicBezTo>
                    <a:pt x="96" y="228"/>
                    <a:pt x="96" y="228"/>
                    <a:pt x="96" y="228"/>
                  </a:cubicBezTo>
                  <a:cubicBezTo>
                    <a:pt x="94" y="230"/>
                    <a:pt x="92" y="233"/>
                    <a:pt x="92" y="237"/>
                  </a:cubicBezTo>
                  <a:cubicBezTo>
                    <a:pt x="92" y="242"/>
                    <a:pt x="96" y="246"/>
                    <a:pt x="100" y="248"/>
                  </a:cubicBezTo>
                  <a:cubicBezTo>
                    <a:pt x="108" y="250"/>
                    <a:pt x="108" y="250"/>
                    <a:pt x="108" y="250"/>
                  </a:cubicBezTo>
                  <a:cubicBezTo>
                    <a:pt x="96" y="263"/>
                    <a:pt x="96" y="263"/>
                    <a:pt x="96" y="263"/>
                  </a:cubicBezTo>
                  <a:cubicBezTo>
                    <a:pt x="96" y="263"/>
                    <a:pt x="96" y="263"/>
                    <a:pt x="96" y="263"/>
                  </a:cubicBezTo>
                  <a:cubicBezTo>
                    <a:pt x="94" y="266"/>
                    <a:pt x="92" y="269"/>
                    <a:pt x="92" y="272"/>
                  </a:cubicBezTo>
                  <a:cubicBezTo>
                    <a:pt x="92" y="277"/>
                    <a:pt x="96" y="281"/>
                    <a:pt x="100" y="283"/>
                  </a:cubicBezTo>
                  <a:cubicBezTo>
                    <a:pt x="108" y="286"/>
                    <a:pt x="108" y="286"/>
                    <a:pt x="108" y="286"/>
                  </a:cubicBezTo>
                  <a:cubicBezTo>
                    <a:pt x="96" y="298"/>
                    <a:pt x="96" y="298"/>
                    <a:pt x="96" y="298"/>
                  </a:cubicBezTo>
                  <a:lnTo>
                    <a:pt x="96" y="299"/>
                  </a:lnTo>
                  <a:close/>
                  <a:moveTo>
                    <a:pt x="208" y="341"/>
                  </a:moveTo>
                  <a:cubicBezTo>
                    <a:pt x="208" y="341"/>
                    <a:pt x="208" y="341"/>
                    <a:pt x="208" y="341"/>
                  </a:cubicBezTo>
                  <a:cubicBezTo>
                    <a:pt x="208" y="341"/>
                    <a:pt x="208" y="341"/>
                    <a:pt x="208" y="341"/>
                  </a:cubicBezTo>
                  <a:cubicBezTo>
                    <a:pt x="208" y="341"/>
                    <a:pt x="207" y="341"/>
                    <a:pt x="207" y="341"/>
                  </a:cubicBezTo>
                  <a:cubicBezTo>
                    <a:pt x="112" y="305"/>
                    <a:pt x="112" y="305"/>
                    <a:pt x="112" y="305"/>
                  </a:cubicBezTo>
                  <a:cubicBezTo>
                    <a:pt x="124" y="292"/>
                    <a:pt x="124" y="292"/>
                    <a:pt x="124" y="292"/>
                  </a:cubicBezTo>
                  <a:cubicBezTo>
                    <a:pt x="202" y="321"/>
                    <a:pt x="202" y="321"/>
                    <a:pt x="202" y="321"/>
                  </a:cubicBezTo>
                  <a:cubicBezTo>
                    <a:pt x="204" y="322"/>
                    <a:pt x="205" y="322"/>
                    <a:pt x="207" y="322"/>
                  </a:cubicBezTo>
                  <a:cubicBezTo>
                    <a:pt x="212" y="322"/>
                    <a:pt x="216" y="320"/>
                    <a:pt x="220" y="316"/>
                  </a:cubicBezTo>
                  <a:cubicBezTo>
                    <a:pt x="230" y="305"/>
                    <a:pt x="230" y="305"/>
                    <a:pt x="230" y="305"/>
                  </a:cubicBezTo>
                  <a:cubicBezTo>
                    <a:pt x="236" y="308"/>
                    <a:pt x="236" y="308"/>
                    <a:pt x="236" y="308"/>
                  </a:cubicBezTo>
                  <a:lnTo>
                    <a:pt x="208" y="341"/>
                  </a:lnTo>
                  <a:close/>
                  <a:moveTo>
                    <a:pt x="208" y="306"/>
                  </a:moveTo>
                  <a:cubicBezTo>
                    <a:pt x="208" y="306"/>
                    <a:pt x="208" y="306"/>
                    <a:pt x="208" y="306"/>
                  </a:cubicBezTo>
                  <a:cubicBezTo>
                    <a:pt x="208" y="306"/>
                    <a:pt x="208" y="306"/>
                    <a:pt x="208" y="306"/>
                  </a:cubicBezTo>
                  <a:cubicBezTo>
                    <a:pt x="208" y="306"/>
                    <a:pt x="207" y="306"/>
                    <a:pt x="207" y="306"/>
                  </a:cubicBezTo>
                  <a:cubicBezTo>
                    <a:pt x="112" y="270"/>
                    <a:pt x="112" y="270"/>
                    <a:pt x="112" y="270"/>
                  </a:cubicBezTo>
                  <a:cubicBezTo>
                    <a:pt x="124" y="257"/>
                    <a:pt x="124" y="257"/>
                    <a:pt x="124" y="257"/>
                  </a:cubicBezTo>
                  <a:cubicBezTo>
                    <a:pt x="202" y="286"/>
                    <a:pt x="202" y="286"/>
                    <a:pt x="202" y="286"/>
                  </a:cubicBezTo>
                  <a:cubicBezTo>
                    <a:pt x="204" y="286"/>
                    <a:pt x="205" y="287"/>
                    <a:pt x="207" y="287"/>
                  </a:cubicBezTo>
                  <a:cubicBezTo>
                    <a:pt x="212" y="287"/>
                    <a:pt x="216" y="285"/>
                    <a:pt x="220" y="281"/>
                  </a:cubicBezTo>
                  <a:cubicBezTo>
                    <a:pt x="230" y="270"/>
                    <a:pt x="230" y="270"/>
                    <a:pt x="230" y="270"/>
                  </a:cubicBezTo>
                  <a:cubicBezTo>
                    <a:pt x="236" y="273"/>
                    <a:pt x="236" y="273"/>
                    <a:pt x="236" y="273"/>
                  </a:cubicBezTo>
                  <a:lnTo>
                    <a:pt x="208" y="306"/>
                  </a:lnTo>
                  <a:close/>
                  <a:moveTo>
                    <a:pt x="208" y="270"/>
                  </a:move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1"/>
                    <a:pt x="207" y="271"/>
                    <a:pt x="207" y="271"/>
                  </a:cubicBezTo>
                  <a:cubicBezTo>
                    <a:pt x="112" y="235"/>
                    <a:pt x="112" y="235"/>
                    <a:pt x="112" y="235"/>
                  </a:cubicBezTo>
                  <a:cubicBezTo>
                    <a:pt x="124" y="221"/>
                    <a:pt x="124" y="221"/>
                    <a:pt x="124" y="221"/>
                  </a:cubicBezTo>
                  <a:cubicBezTo>
                    <a:pt x="202" y="251"/>
                    <a:pt x="202" y="251"/>
                    <a:pt x="202" y="251"/>
                  </a:cubicBezTo>
                  <a:cubicBezTo>
                    <a:pt x="204" y="251"/>
                    <a:pt x="205" y="251"/>
                    <a:pt x="207" y="251"/>
                  </a:cubicBezTo>
                  <a:cubicBezTo>
                    <a:pt x="212" y="251"/>
                    <a:pt x="216" y="250"/>
                    <a:pt x="220" y="246"/>
                  </a:cubicBezTo>
                  <a:cubicBezTo>
                    <a:pt x="230" y="234"/>
                    <a:pt x="230" y="234"/>
                    <a:pt x="230" y="234"/>
                  </a:cubicBezTo>
                  <a:cubicBezTo>
                    <a:pt x="236" y="238"/>
                    <a:pt x="236" y="238"/>
                    <a:pt x="236" y="238"/>
                  </a:cubicBezTo>
                  <a:lnTo>
                    <a:pt x="208" y="270"/>
                  </a:lnTo>
                  <a:close/>
                  <a:moveTo>
                    <a:pt x="207" y="235"/>
                  </a:moveTo>
                  <a:cubicBezTo>
                    <a:pt x="112" y="199"/>
                    <a:pt x="112" y="199"/>
                    <a:pt x="112" y="199"/>
                  </a:cubicBezTo>
                  <a:cubicBezTo>
                    <a:pt x="124" y="186"/>
                    <a:pt x="124" y="186"/>
                    <a:pt x="124" y="186"/>
                  </a:cubicBezTo>
                  <a:cubicBezTo>
                    <a:pt x="202" y="215"/>
                    <a:pt x="202" y="215"/>
                    <a:pt x="202" y="215"/>
                  </a:cubicBezTo>
                  <a:cubicBezTo>
                    <a:pt x="204" y="216"/>
                    <a:pt x="205" y="216"/>
                    <a:pt x="207" y="216"/>
                  </a:cubicBezTo>
                  <a:cubicBezTo>
                    <a:pt x="212" y="216"/>
                    <a:pt x="216" y="214"/>
                    <a:pt x="220" y="210"/>
                  </a:cubicBezTo>
                  <a:cubicBezTo>
                    <a:pt x="230" y="199"/>
                    <a:pt x="230" y="199"/>
                    <a:pt x="230" y="199"/>
                  </a:cubicBezTo>
                  <a:cubicBezTo>
                    <a:pt x="236" y="202"/>
                    <a:pt x="236" y="202"/>
                    <a:pt x="236" y="202"/>
                  </a:cubicBezTo>
                  <a:cubicBezTo>
                    <a:pt x="208" y="235"/>
                    <a:pt x="208" y="235"/>
                    <a:pt x="208" y="235"/>
                  </a:cubicBezTo>
                  <a:cubicBezTo>
                    <a:pt x="208" y="235"/>
                    <a:pt x="208" y="235"/>
                    <a:pt x="208" y="235"/>
                  </a:cubicBezTo>
                  <a:cubicBezTo>
                    <a:pt x="208" y="235"/>
                    <a:pt x="208" y="235"/>
                    <a:pt x="208" y="235"/>
                  </a:cubicBezTo>
                  <a:cubicBezTo>
                    <a:pt x="208" y="235"/>
                    <a:pt x="207" y="235"/>
                    <a:pt x="207" y="235"/>
                  </a:cubicBezTo>
                  <a:close/>
                  <a:moveTo>
                    <a:pt x="208" y="200"/>
                  </a:moveTo>
                  <a:cubicBezTo>
                    <a:pt x="208" y="200"/>
                    <a:pt x="208" y="200"/>
                    <a:pt x="208" y="200"/>
                  </a:cubicBezTo>
                  <a:cubicBezTo>
                    <a:pt x="208" y="200"/>
                    <a:pt x="208" y="200"/>
                    <a:pt x="208" y="200"/>
                  </a:cubicBezTo>
                  <a:cubicBezTo>
                    <a:pt x="208" y="200"/>
                    <a:pt x="207" y="200"/>
                    <a:pt x="207" y="200"/>
                  </a:cubicBezTo>
                  <a:cubicBezTo>
                    <a:pt x="112" y="164"/>
                    <a:pt x="112" y="164"/>
                    <a:pt x="112" y="164"/>
                  </a:cubicBezTo>
                  <a:cubicBezTo>
                    <a:pt x="124" y="151"/>
                    <a:pt x="124" y="151"/>
                    <a:pt x="124" y="151"/>
                  </a:cubicBezTo>
                  <a:cubicBezTo>
                    <a:pt x="202" y="180"/>
                    <a:pt x="202" y="180"/>
                    <a:pt x="202" y="180"/>
                  </a:cubicBezTo>
                  <a:cubicBezTo>
                    <a:pt x="204" y="181"/>
                    <a:pt x="205" y="181"/>
                    <a:pt x="207" y="181"/>
                  </a:cubicBezTo>
                  <a:cubicBezTo>
                    <a:pt x="212" y="181"/>
                    <a:pt x="216" y="179"/>
                    <a:pt x="220" y="175"/>
                  </a:cubicBezTo>
                  <a:cubicBezTo>
                    <a:pt x="230" y="164"/>
                    <a:pt x="230" y="164"/>
                    <a:pt x="230" y="164"/>
                  </a:cubicBezTo>
                  <a:cubicBezTo>
                    <a:pt x="236" y="167"/>
                    <a:pt x="236" y="167"/>
                    <a:pt x="236" y="167"/>
                  </a:cubicBezTo>
                  <a:lnTo>
                    <a:pt x="208" y="200"/>
                  </a:lnTo>
                  <a:close/>
                  <a:moveTo>
                    <a:pt x="139" y="96"/>
                  </a:moveTo>
                  <a:cubicBezTo>
                    <a:pt x="139" y="96"/>
                    <a:pt x="140" y="96"/>
                    <a:pt x="140" y="96"/>
                  </a:cubicBezTo>
                  <a:cubicBezTo>
                    <a:pt x="236" y="132"/>
                    <a:pt x="236" y="132"/>
                    <a:pt x="236" y="132"/>
                  </a:cubicBezTo>
                  <a:cubicBezTo>
                    <a:pt x="208" y="165"/>
                    <a:pt x="208" y="165"/>
                    <a:pt x="208" y="165"/>
                  </a:cubicBezTo>
                  <a:cubicBezTo>
                    <a:pt x="208" y="165"/>
                    <a:pt x="208" y="165"/>
                    <a:pt x="208" y="165"/>
                  </a:cubicBezTo>
                  <a:cubicBezTo>
                    <a:pt x="208" y="165"/>
                    <a:pt x="207" y="165"/>
                    <a:pt x="207" y="165"/>
                  </a:cubicBezTo>
                  <a:cubicBezTo>
                    <a:pt x="111" y="129"/>
                    <a:pt x="111" y="129"/>
                    <a:pt x="111" y="129"/>
                  </a:cubicBezTo>
                  <a:lnTo>
                    <a:pt x="139" y="96"/>
                  </a:lnTo>
                  <a:close/>
                  <a:moveTo>
                    <a:pt x="185" y="126"/>
                  </a:moveTo>
                  <a:cubicBezTo>
                    <a:pt x="185" y="125"/>
                    <a:pt x="184" y="124"/>
                    <a:pt x="183" y="123"/>
                  </a:cubicBezTo>
                  <a:cubicBezTo>
                    <a:pt x="184" y="122"/>
                    <a:pt x="184" y="121"/>
                    <a:pt x="183" y="120"/>
                  </a:cubicBezTo>
                  <a:cubicBezTo>
                    <a:pt x="182" y="119"/>
                    <a:pt x="180" y="119"/>
                    <a:pt x="179" y="120"/>
                  </a:cubicBezTo>
                  <a:cubicBezTo>
                    <a:pt x="178" y="121"/>
                    <a:pt x="178" y="121"/>
                    <a:pt x="178" y="121"/>
                  </a:cubicBezTo>
                  <a:cubicBezTo>
                    <a:pt x="178" y="121"/>
                    <a:pt x="177" y="121"/>
                    <a:pt x="176" y="121"/>
                  </a:cubicBezTo>
                  <a:cubicBezTo>
                    <a:pt x="174" y="121"/>
                    <a:pt x="172" y="121"/>
                    <a:pt x="170" y="123"/>
                  </a:cubicBezTo>
                  <a:cubicBezTo>
                    <a:pt x="169" y="124"/>
                    <a:pt x="168" y="126"/>
                    <a:pt x="168" y="127"/>
                  </a:cubicBezTo>
                  <a:cubicBezTo>
                    <a:pt x="168" y="129"/>
                    <a:pt x="169" y="130"/>
                    <a:pt x="170" y="131"/>
                  </a:cubicBezTo>
                  <a:cubicBezTo>
                    <a:pt x="171" y="132"/>
                    <a:pt x="172" y="132"/>
                    <a:pt x="172" y="132"/>
                  </a:cubicBezTo>
                  <a:cubicBezTo>
                    <a:pt x="173" y="133"/>
                    <a:pt x="174" y="133"/>
                    <a:pt x="174" y="134"/>
                  </a:cubicBezTo>
                  <a:cubicBezTo>
                    <a:pt x="174" y="134"/>
                    <a:pt x="174" y="134"/>
                    <a:pt x="174" y="134"/>
                  </a:cubicBezTo>
                  <a:cubicBezTo>
                    <a:pt x="174" y="134"/>
                    <a:pt x="174" y="134"/>
                    <a:pt x="174" y="134"/>
                  </a:cubicBezTo>
                  <a:cubicBezTo>
                    <a:pt x="174" y="134"/>
                    <a:pt x="174" y="134"/>
                    <a:pt x="174" y="134"/>
                  </a:cubicBezTo>
                  <a:cubicBezTo>
                    <a:pt x="174" y="134"/>
                    <a:pt x="174" y="134"/>
                    <a:pt x="174" y="134"/>
                  </a:cubicBezTo>
                  <a:cubicBezTo>
                    <a:pt x="173" y="135"/>
                    <a:pt x="172" y="135"/>
                    <a:pt x="171" y="135"/>
                  </a:cubicBezTo>
                  <a:cubicBezTo>
                    <a:pt x="171" y="135"/>
                    <a:pt x="170" y="135"/>
                    <a:pt x="169" y="135"/>
                  </a:cubicBezTo>
                  <a:cubicBezTo>
                    <a:pt x="169" y="135"/>
                    <a:pt x="169" y="135"/>
                    <a:pt x="169" y="135"/>
                  </a:cubicBezTo>
                  <a:cubicBezTo>
                    <a:pt x="169" y="135"/>
                    <a:pt x="169" y="135"/>
                    <a:pt x="169" y="135"/>
                  </a:cubicBezTo>
                  <a:cubicBezTo>
                    <a:pt x="169" y="135"/>
                    <a:pt x="169" y="135"/>
                    <a:pt x="169" y="135"/>
                  </a:cubicBezTo>
                  <a:cubicBezTo>
                    <a:pt x="168" y="135"/>
                    <a:pt x="167" y="134"/>
                    <a:pt x="167" y="134"/>
                  </a:cubicBezTo>
                  <a:cubicBezTo>
                    <a:pt x="166" y="133"/>
                    <a:pt x="166" y="133"/>
                    <a:pt x="166" y="133"/>
                  </a:cubicBezTo>
                  <a:cubicBezTo>
                    <a:pt x="166" y="133"/>
                    <a:pt x="166" y="133"/>
                    <a:pt x="166" y="133"/>
                  </a:cubicBezTo>
                  <a:cubicBezTo>
                    <a:pt x="166" y="133"/>
                    <a:pt x="166" y="133"/>
                    <a:pt x="166" y="133"/>
                  </a:cubicBezTo>
                  <a:cubicBezTo>
                    <a:pt x="166" y="131"/>
                    <a:pt x="164" y="131"/>
                    <a:pt x="163" y="131"/>
                  </a:cubicBezTo>
                  <a:cubicBezTo>
                    <a:pt x="162" y="132"/>
                    <a:pt x="161" y="133"/>
                    <a:pt x="162" y="134"/>
                  </a:cubicBezTo>
                  <a:cubicBezTo>
                    <a:pt x="162" y="135"/>
                    <a:pt x="162" y="136"/>
                    <a:pt x="164" y="138"/>
                  </a:cubicBezTo>
                  <a:cubicBezTo>
                    <a:pt x="164" y="138"/>
                    <a:pt x="164" y="138"/>
                    <a:pt x="164" y="138"/>
                  </a:cubicBezTo>
                  <a:cubicBezTo>
                    <a:pt x="163" y="139"/>
                    <a:pt x="163" y="140"/>
                    <a:pt x="164" y="141"/>
                  </a:cubicBezTo>
                  <a:cubicBezTo>
                    <a:pt x="165" y="142"/>
                    <a:pt x="165" y="142"/>
                    <a:pt x="166" y="142"/>
                  </a:cubicBezTo>
                  <a:cubicBezTo>
                    <a:pt x="166" y="142"/>
                    <a:pt x="167" y="142"/>
                    <a:pt x="168" y="141"/>
                  </a:cubicBezTo>
                  <a:cubicBezTo>
                    <a:pt x="168" y="140"/>
                    <a:pt x="168" y="140"/>
                    <a:pt x="168" y="140"/>
                  </a:cubicBezTo>
                  <a:cubicBezTo>
                    <a:pt x="169" y="140"/>
                    <a:pt x="170" y="140"/>
                    <a:pt x="171" y="140"/>
                  </a:cubicBezTo>
                  <a:cubicBezTo>
                    <a:pt x="171" y="140"/>
                    <a:pt x="171" y="140"/>
                    <a:pt x="171" y="140"/>
                  </a:cubicBezTo>
                  <a:cubicBezTo>
                    <a:pt x="173" y="140"/>
                    <a:pt x="176" y="140"/>
                    <a:pt x="178" y="138"/>
                  </a:cubicBezTo>
                  <a:cubicBezTo>
                    <a:pt x="178" y="137"/>
                    <a:pt x="179" y="136"/>
                    <a:pt x="179" y="136"/>
                  </a:cubicBezTo>
                  <a:cubicBezTo>
                    <a:pt x="179" y="135"/>
                    <a:pt x="179" y="134"/>
                    <a:pt x="179" y="134"/>
                  </a:cubicBezTo>
                  <a:cubicBezTo>
                    <a:pt x="179" y="132"/>
                    <a:pt x="178" y="131"/>
                    <a:pt x="177" y="130"/>
                  </a:cubicBezTo>
                  <a:cubicBezTo>
                    <a:pt x="176" y="129"/>
                    <a:pt x="176" y="129"/>
                    <a:pt x="175" y="128"/>
                  </a:cubicBezTo>
                  <a:cubicBezTo>
                    <a:pt x="174" y="128"/>
                    <a:pt x="174" y="128"/>
                    <a:pt x="173" y="127"/>
                  </a:cubicBezTo>
                  <a:cubicBezTo>
                    <a:pt x="173" y="127"/>
                    <a:pt x="173" y="127"/>
                    <a:pt x="173" y="127"/>
                  </a:cubicBezTo>
                  <a:cubicBezTo>
                    <a:pt x="173" y="127"/>
                    <a:pt x="173" y="127"/>
                    <a:pt x="174" y="127"/>
                  </a:cubicBezTo>
                  <a:cubicBezTo>
                    <a:pt x="174" y="126"/>
                    <a:pt x="175" y="126"/>
                    <a:pt x="176" y="126"/>
                  </a:cubicBezTo>
                  <a:cubicBezTo>
                    <a:pt x="177" y="126"/>
                    <a:pt x="177" y="126"/>
                    <a:pt x="178" y="126"/>
                  </a:cubicBezTo>
                  <a:cubicBezTo>
                    <a:pt x="178" y="126"/>
                    <a:pt x="178" y="126"/>
                    <a:pt x="178" y="126"/>
                  </a:cubicBezTo>
                  <a:cubicBezTo>
                    <a:pt x="178" y="126"/>
                    <a:pt x="178" y="126"/>
                    <a:pt x="178" y="126"/>
                  </a:cubicBezTo>
                  <a:cubicBezTo>
                    <a:pt x="178" y="126"/>
                    <a:pt x="178" y="126"/>
                    <a:pt x="178" y="126"/>
                  </a:cubicBezTo>
                  <a:cubicBezTo>
                    <a:pt x="179" y="126"/>
                    <a:pt x="180" y="127"/>
                    <a:pt x="180" y="127"/>
                  </a:cubicBezTo>
                  <a:cubicBezTo>
                    <a:pt x="180" y="127"/>
                    <a:pt x="180" y="127"/>
                    <a:pt x="180" y="127"/>
                  </a:cubicBezTo>
                  <a:cubicBezTo>
                    <a:pt x="181" y="128"/>
                    <a:pt x="182" y="129"/>
                    <a:pt x="183" y="129"/>
                  </a:cubicBezTo>
                  <a:cubicBezTo>
                    <a:pt x="184" y="128"/>
                    <a:pt x="185" y="127"/>
                    <a:pt x="185" y="126"/>
                  </a:cubicBezTo>
                  <a:close/>
                  <a:moveTo>
                    <a:pt x="99" y="48"/>
                  </a:moveTo>
                  <a:cubicBezTo>
                    <a:pt x="410" y="122"/>
                    <a:pt x="410" y="122"/>
                    <a:pt x="410" y="122"/>
                  </a:cubicBezTo>
                  <a:cubicBezTo>
                    <a:pt x="408" y="131"/>
                    <a:pt x="408" y="131"/>
                    <a:pt x="408" y="131"/>
                  </a:cubicBezTo>
                  <a:cubicBezTo>
                    <a:pt x="407" y="134"/>
                    <a:pt x="408" y="136"/>
                    <a:pt x="410" y="138"/>
                  </a:cubicBezTo>
                  <a:cubicBezTo>
                    <a:pt x="411" y="140"/>
                    <a:pt x="413" y="141"/>
                    <a:pt x="416" y="141"/>
                  </a:cubicBezTo>
                  <a:cubicBezTo>
                    <a:pt x="416" y="141"/>
                    <a:pt x="416" y="141"/>
                    <a:pt x="416" y="141"/>
                  </a:cubicBezTo>
                  <a:cubicBezTo>
                    <a:pt x="469" y="136"/>
                    <a:pt x="469" y="136"/>
                    <a:pt x="469" y="136"/>
                  </a:cubicBezTo>
                  <a:cubicBezTo>
                    <a:pt x="472" y="135"/>
                    <a:pt x="475" y="133"/>
                    <a:pt x="476" y="130"/>
                  </a:cubicBezTo>
                  <a:cubicBezTo>
                    <a:pt x="476" y="126"/>
                    <a:pt x="475" y="123"/>
                    <a:pt x="472" y="121"/>
                  </a:cubicBezTo>
                  <a:cubicBezTo>
                    <a:pt x="428" y="93"/>
                    <a:pt x="428" y="93"/>
                    <a:pt x="428" y="93"/>
                  </a:cubicBezTo>
                  <a:cubicBezTo>
                    <a:pt x="426" y="91"/>
                    <a:pt x="423" y="91"/>
                    <a:pt x="421" y="92"/>
                  </a:cubicBezTo>
                  <a:cubicBezTo>
                    <a:pt x="419" y="93"/>
                    <a:pt x="417" y="95"/>
                    <a:pt x="416" y="97"/>
                  </a:cubicBezTo>
                  <a:cubicBezTo>
                    <a:pt x="414" y="107"/>
                    <a:pt x="414" y="107"/>
                    <a:pt x="414" y="107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98" y="32"/>
                    <a:pt x="94" y="34"/>
                    <a:pt x="93" y="38"/>
                  </a:cubicBezTo>
                  <a:cubicBezTo>
                    <a:pt x="92" y="43"/>
                    <a:pt x="94" y="47"/>
                    <a:pt x="99" y="48"/>
                  </a:cubicBezTo>
                  <a:close/>
                  <a:moveTo>
                    <a:pt x="382" y="389"/>
                  </a:moveTo>
                  <a:cubicBezTo>
                    <a:pt x="37" y="389"/>
                    <a:pt x="37" y="389"/>
                    <a:pt x="37" y="389"/>
                  </a:cubicBezTo>
                  <a:cubicBezTo>
                    <a:pt x="37" y="389"/>
                    <a:pt x="37" y="389"/>
                    <a:pt x="37" y="389"/>
                  </a:cubicBezTo>
                  <a:cubicBezTo>
                    <a:pt x="35" y="389"/>
                    <a:pt x="33" y="387"/>
                    <a:pt x="33" y="386"/>
                  </a:cubicBezTo>
                  <a:cubicBezTo>
                    <a:pt x="33" y="66"/>
                    <a:pt x="33" y="66"/>
                    <a:pt x="3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6" y="66"/>
                    <a:pt x="48" y="64"/>
                    <a:pt x="50" y="62"/>
                  </a:cubicBezTo>
                  <a:cubicBezTo>
                    <a:pt x="51" y="60"/>
                    <a:pt x="51" y="57"/>
                    <a:pt x="51" y="55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32" y="2"/>
                    <a:pt x="29" y="0"/>
                    <a:pt x="25" y="0"/>
                  </a:cubicBezTo>
                  <a:cubicBezTo>
                    <a:pt x="22" y="0"/>
                    <a:pt x="19" y="2"/>
                    <a:pt x="18" y="6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0" y="58"/>
                    <a:pt x="0" y="60"/>
                    <a:pt x="2" y="63"/>
                  </a:cubicBezTo>
                  <a:cubicBezTo>
                    <a:pt x="3" y="65"/>
                    <a:pt x="6" y="66"/>
                    <a:pt x="8" y="66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17" y="66"/>
                    <a:pt x="17" y="66"/>
                    <a:pt x="17" y="66"/>
                  </a:cubicBezTo>
                  <a:cubicBezTo>
                    <a:pt x="17" y="386"/>
                    <a:pt x="17" y="386"/>
                    <a:pt x="17" y="386"/>
                  </a:cubicBezTo>
                  <a:cubicBezTo>
                    <a:pt x="17" y="397"/>
                    <a:pt x="26" y="405"/>
                    <a:pt x="37" y="405"/>
                  </a:cubicBezTo>
                  <a:cubicBezTo>
                    <a:pt x="37" y="405"/>
                    <a:pt x="37" y="405"/>
                    <a:pt x="37" y="405"/>
                  </a:cubicBezTo>
                  <a:cubicBezTo>
                    <a:pt x="382" y="405"/>
                    <a:pt x="382" y="405"/>
                    <a:pt x="382" y="405"/>
                  </a:cubicBezTo>
                  <a:cubicBezTo>
                    <a:pt x="387" y="405"/>
                    <a:pt x="390" y="401"/>
                    <a:pt x="390" y="397"/>
                  </a:cubicBezTo>
                  <a:cubicBezTo>
                    <a:pt x="390" y="392"/>
                    <a:pt x="387" y="389"/>
                    <a:pt x="382" y="389"/>
                  </a:cubicBezTo>
                  <a:close/>
                  <a:moveTo>
                    <a:pt x="518" y="389"/>
                  </a:moveTo>
                  <a:cubicBezTo>
                    <a:pt x="469" y="372"/>
                    <a:pt x="469" y="372"/>
                    <a:pt x="469" y="372"/>
                  </a:cubicBezTo>
                  <a:cubicBezTo>
                    <a:pt x="466" y="371"/>
                    <a:pt x="464" y="372"/>
                    <a:pt x="462" y="373"/>
                  </a:cubicBezTo>
                  <a:cubicBezTo>
                    <a:pt x="459" y="375"/>
                    <a:pt x="458" y="377"/>
                    <a:pt x="458" y="380"/>
                  </a:cubicBezTo>
                  <a:cubicBezTo>
                    <a:pt x="458" y="389"/>
                    <a:pt x="458" y="389"/>
                    <a:pt x="458" y="389"/>
                  </a:cubicBezTo>
                  <a:cubicBezTo>
                    <a:pt x="419" y="389"/>
                    <a:pt x="419" y="389"/>
                    <a:pt x="419" y="389"/>
                  </a:cubicBezTo>
                  <a:cubicBezTo>
                    <a:pt x="414" y="389"/>
                    <a:pt x="411" y="392"/>
                    <a:pt x="411" y="397"/>
                  </a:cubicBezTo>
                  <a:cubicBezTo>
                    <a:pt x="411" y="401"/>
                    <a:pt x="414" y="405"/>
                    <a:pt x="419" y="405"/>
                  </a:cubicBezTo>
                  <a:cubicBezTo>
                    <a:pt x="458" y="405"/>
                    <a:pt x="458" y="405"/>
                    <a:pt x="458" y="405"/>
                  </a:cubicBezTo>
                  <a:cubicBezTo>
                    <a:pt x="458" y="415"/>
                    <a:pt x="458" y="415"/>
                    <a:pt x="458" y="415"/>
                  </a:cubicBezTo>
                  <a:cubicBezTo>
                    <a:pt x="458" y="417"/>
                    <a:pt x="460" y="420"/>
                    <a:pt x="462" y="421"/>
                  </a:cubicBezTo>
                  <a:cubicBezTo>
                    <a:pt x="463" y="422"/>
                    <a:pt x="465" y="422"/>
                    <a:pt x="466" y="422"/>
                  </a:cubicBezTo>
                  <a:cubicBezTo>
                    <a:pt x="467" y="422"/>
                    <a:pt x="468" y="422"/>
                    <a:pt x="469" y="422"/>
                  </a:cubicBezTo>
                  <a:cubicBezTo>
                    <a:pt x="518" y="404"/>
                    <a:pt x="518" y="404"/>
                    <a:pt x="518" y="404"/>
                  </a:cubicBezTo>
                  <a:cubicBezTo>
                    <a:pt x="522" y="403"/>
                    <a:pt x="524" y="400"/>
                    <a:pt x="524" y="397"/>
                  </a:cubicBezTo>
                  <a:cubicBezTo>
                    <a:pt x="524" y="393"/>
                    <a:pt x="522" y="390"/>
                    <a:pt x="518" y="389"/>
                  </a:cubicBezTo>
                  <a:close/>
                </a:path>
              </a:pathLst>
            </a:custGeom>
            <a:blipFill dpi="0" rotWithShape="0">
              <a:blip r:embed="rId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697" name="Text Box 8"/>
            <p:cNvSpPr txBox="1">
              <a:spLocks noChangeArrowheads="1"/>
            </p:cNvSpPr>
            <p:nvPr/>
          </p:nvSpPr>
          <p:spPr bwMode="auto">
            <a:xfrm>
              <a:off x="6471" y="2226"/>
              <a:ext cx="867" cy="2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E4275"/>
                  </a:solidFill>
                </a14:hiddenFill>
              </a:ext>
              <a:ext uri="{91240B29-F687-4F45-9708-019B960494DF}">
                <a14:hiddenLine xmlns:a14="http://schemas.microsoft.com/office/drawing/2010/main" w="38100" algn="ctr">
                  <a:solidFill>
                    <a:srgbClr val="E32119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rIns="0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sv-SE" sz="1800">
                  <a:solidFill>
                    <a:srgbClr val="00285F"/>
                  </a:solidFill>
                </a:rPr>
                <a:t>Cost Efficient</a:t>
              </a:r>
              <a:endParaRPr lang="en-US" sz="1000">
                <a:solidFill>
                  <a:srgbClr val="00285F"/>
                </a:solidFill>
              </a:endParaRPr>
            </a:p>
          </p:txBody>
        </p:sp>
      </p:grpSp>
      <p:grpSp>
        <p:nvGrpSpPr>
          <p:cNvPr id="27653" name="Group 9"/>
          <p:cNvGrpSpPr>
            <a:grpSpLocks/>
          </p:cNvGrpSpPr>
          <p:nvPr/>
        </p:nvGrpSpPr>
        <p:grpSpPr bwMode="auto">
          <a:xfrm>
            <a:off x="6099179" y="2226681"/>
            <a:ext cx="1198033" cy="1268413"/>
            <a:chOff x="4130" y="1634"/>
            <a:chExt cx="678" cy="784"/>
          </a:xfrm>
        </p:grpSpPr>
        <p:sp>
          <p:nvSpPr>
            <p:cNvPr id="27694" name="Freeform 8" descr="bpct-blend3"/>
            <p:cNvSpPr>
              <a:spLocks noChangeAspect="1" noEditPoints="1"/>
            </p:cNvSpPr>
            <p:nvPr/>
          </p:nvSpPr>
          <p:spPr bwMode="auto">
            <a:xfrm>
              <a:off x="4140" y="1634"/>
              <a:ext cx="658" cy="520"/>
            </a:xfrm>
            <a:custGeom>
              <a:avLst/>
              <a:gdLst>
                <a:gd name="T0" fmla="*/ 2467187 w 525"/>
                <a:gd name="T1" fmla="*/ 1200395 h 416"/>
                <a:gd name="T2" fmla="*/ 2462487 w 525"/>
                <a:gd name="T3" fmla="*/ 1191016 h 416"/>
                <a:gd name="T4" fmla="*/ 2142928 w 525"/>
                <a:gd name="T5" fmla="*/ 647088 h 416"/>
                <a:gd name="T6" fmla="*/ 2044241 w 525"/>
                <a:gd name="T7" fmla="*/ 422014 h 416"/>
                <a:gd name="T8" fmla="*/ 2161726 w 525"/>
                <a:gd name="T9" fmla="*/ 497039 h 416"/>
                <a:gd name="T10" fmla="*/ 2081836 w 525"/>
                <a:gd name="T11" fmla="*/ 314166 h 416"/>
                <a:gd name="T12" fmla="*/ 2077137 w 525"/>
                <a:gd name="T13" fmla="*/ 304788 h 416"/>
                <a:gd name="T14" fmla="*/ 2067737 w 525"/>
                <a:gd name="T15" fmla="*/ 295410 h 416"/>
                <a:gd name="T16" fmla="*/ 2044241 w 525"/>
                <a:gd name="T17" fmla="*/ 290720 h 416"/>
                <a:gd name="T18" fmla="*/ 1386325 w 525"/>
                <a:gd name="T19" fmla="*/ 290720 h 416"/>
                <a:gd name="T20" fmla="*/ 1240642 w 525"/>
                <a:gd name="T21" fmla="*/ 0 h 416"/>
                <a:gd name="T22" fmla="*/ 418247 w 525"/>
                <a:gd name="T23" fmla="*/ 290720 h 416"/>
                <a:gd name="T24" fmla="*/ 408849 w 525"/>
                <a:gd name="T25" fmla="*/ 295410 h 416"/>
                <a:gd name="T26" fmla="*/ 399450 w 525"/>
                <a:gd name="T27" fmla="*/ 300099 h 416"/>
                <a:gd name="T28" fmla="*/ 385351 w 525"/>
                <a:gd name="T29" fmla="*/ 314166 h 416"/>
                <a:gd name="T30" fmla="*/ 0 w 525"/>
                <a:gd name="T31" fmla="*/ 1191016 h 416"/>
                <a:gd name="T32" fmla="*/ 0 w 525"/>
                <a:gd name="T33" fmla="*/ 1205084 h 416"/>
                <a:gd name="T34" fmla="*/ 4700 w 525"/>
                <a:gd name="T35" fmla="*/ 1219151 h 416"/>
                <a:gd name="T36" fmla="*/ 831795 w 525"/>
                <a:gd name="T37" fmla="*/ 1223840 h 416"/>
                <a:gd name="T38" fmla="*/ 836493 w 525"/>
                <a:gd name="T39" fmla="*/ 1209773 h 416"/>
                <a:gd name="T40" fmla="*/ 836493 w 525"/>
                <a:gd name="T41" fmla="*/ 1195705 h 416"/>
                <a:gd name="T42" fmla="*/ 474640 w 525"/>
                <a:gd name="T43" fmla="*/ 365745 h 416"/>
                <a:gd name="T44" fmla="*/ 1090262 w 525"/>
                <a:gd name="T45" fmla="*/ 1538005 h 416"/>
                <a:gd name="T46" fmla="*/ 737806 w 525"/>
                <a:gd name="T47" fmla="*/ 1711500 h 416"/>
                <a:gd name="T48" fmla="*/ 733107 w 525"/>
                <a:gd name="T49" fmla="*/ 1950641 h 416"/>
                <a:gd name="T50" fmla="*/ 1696484 w 525"/>
                <a:gd name="T51" fmla="*/ 1950641 h 416"/>
                <a:gd name="T52" fmla="*/ 1687086 w 525"/>
                <a:gd name="T53" fmla="*/ 1711500 h 416"/>
                <a:gd name="T54" fmla="*/ 1376925 w 525"/>
                <a:gd name="T55" fmla="*/ 1538005 h 416"/>
                <a:gd name="T56" fmla="*/ 1987848 w 525"/>
                <a:gd name="T57" fmla="*/ 365745 h 416"/>
                <a:gd name="T58" fmla="*/ 1625993 w 525"/>
                <a:gd name="T59" fmla="*/ 1195705 h 416"/>
                <a:gd name="T60" fmla="*/ 1625993 w 525"/>
                <a:gd name="T61" fmla="*/ 1209773 h 416"/>
                <a:gd name="T62" fmla="*/ 1630693 w 525"/>
                <a:gd name="T63" fmla="*/ 1223840 h 416"/>
                <a:gd name="T64" fmla="*/ 2462487 w 525"/>
                <a:gd name="T65" fmla="*/ 1219151 h 416"/>
                <a:gd name="T66" fmla="*/ 1240642 w 525"/>
                <a:gd name="T67" fmla="*/ 75025 h 416"/>
                <a:gd name="T68" fmla="*/ 1240642 w 525"/>
                <a:gd name="T69" fmla="*/ 290720 h 416"/>
                <a:gd name="T70" fmla="*/ 418247 w 525"/>
                <a:gd name="T71" fmla="*/ 1355133 h 416"/>
                <a:gd name="T72" fmla="*/ 719009 w 525"/>
                <a:gd name="T73" fmla="*/ 1242596 h 416"/>
                <a:gd name="T74" fmla="*/ 418247 w 525"/>
                <a:gd name="T75" fmla="*/ 422014 h 416"/>
                <a:gd name="T76" fmla="*/ 1301735 w 525"/>
                <a:gd name="T77" fmla="*/ 1542695 h 416"/>
                <a:gd name="T78" fmla="*/ 1527306 w 525"/>
                <a:gd name="T79" fmla="*/ 1786525 h 416"/>
                <a:gd name="T80" fmla="*/ 1687086 w 525"/>
                <a:gd name="T81" fmla="*/ 1875616 h 416"/>
                <a:gd name="T82" fmla="*/ 742506 w 525"/>
                <a:gd name="T83" fmla="*/ 1875616 h 416"/>
                <a:gd name="T84" fmla="*/ 737806 w 525"/>
                <a:gd name="T85" fmla="*/ 1786525 h 416"/>
                <a:gd name="T86" fmla="*/ 1047967 w 525"/>
                <a:gd name="T87" fmla="*/ 1730256 h 416"/>
                <a:gd name="T88" fmla="*/ 1226545 w 525"/>
                <a:gd name="T89" fmla="*/ 365745 h 416"/>
                <a:gd name="T90" fmla="*/ 2044241 w 525"/>
                <a:gd name="T91" fmla="*/ 1355133 h 416"/>
                <a:gd name="T92" fmla="*/ 2349702 w 525"/>
                <a:gd name="T93" fmla="*/ 1242596 h 41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5"/>
                <a:gd name="T142" fmla="*/ 0 h 416"/>
                <a:gd name="T143" fmla="*/ 525 w 525"/>
                <a:gd name="T144" fmla="*/ 416 h 41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5" h="416">
                  <a:moveTo>
                    <a:pt x="525" y="258"/>
                  </a:moveTo>
                  <a:cubicBezTo>
                    <a:pt x="525" y="258"/>
                    <a:pt x="525" y="258"/>
                    <a:pt x="525" y="257"/>
                  </a:cubicBezTo>
                  <a:cubicBezTo>
                    <a:pt x="525" y="257"/>
                    <a:pt x="525" y="257"/>
                    <a:pt x="525" y="256"/>
                  </a:cubicBezTo>
                  <a:cubicBezTo>
                    <a:pt x="525" y="256"/>
                    <a:pt x="525" y="256"/>
                    <a:pt x="525" y="255"/>
                  </a:cubicBezTo>
                  <a:cubicBezTo>
                    <a:pt x="524" y="255"/>
                    <a:pt x="524" y="255"/>
                    <a:pt x="524" y="254"/>
                  </a:cubicBezTo>
                  <a:cubicBezTo>
                    <a:pt x="524" y="254"/>
                    <a:pt x="524" y="254"/>
                    <a:pt x="524" y="254"/>
                  </a:cubicBezTo>
                  <a:cubicBezTo>
                    <a:pt x="471" y="131"/>
                    <a:pt x="471" y="131"/>
                    <a:pt x="471" y="131"/>
                  </a:cubicBezTo>
                  <a:cubicBezTo>
                    <a:pt x="469" y="127"/>
                    <a:pt x="464" y="126"/>
                    <a:pt x="460" y="127"/>
                  </a:cubicBezTo>
                  <a:cubicBezTo>
                    <a:pt x="456" y="129"/>
                    <a:pt x="454" y="134"/>
                    <a:pt x="456" y="138"/>
                  </a:cubicBezTo>
                  <a:cubicBezTo>
                    <a:pt x="505" y="249"/>
                    <a:pt x="505" y="249"/>
                    <a:pt x="505" y="249"/>
                  </a:cubicBezTo>
                  <a:cubicBezTo>
                    <a:pt x="366" y="249"/>
                    <a:pt x="366" y="249"/>
                    <a:pt x="366" y="249"/>
                  </a:cubicBezTo>
                  <a:cubicBezTo>
                    <a:pt x="435" y="90"/>
                    <a:pt x="435" y="90"/>
                    <a:pt x="435" y="90"/>
                  </a:cubicBezTo>
                  <a:cubicBezTo>
                    <a:pt x="445" y="112"/>
                    <a:pt x="445" y="112"/>
                    <a:pt x="445" y="112"/>
                  </a:cubicBezTo>
                  <a:cubicBezTo>
                    <a:pt x="447" y="116"/>
                    <a:pt x="451" y="118"/>
                    <a:pt x="455" y="116"/>
                  </a:cubicBezTo>
                  <a:cubicBezTo>
                    <a:pt x="460" y="115"/>
                    <a:pt x="461" y="110"/>
                    <a:pt x="460" y="106"/>
                  </a:cubicBezTo>
                  <a:cubicBezTo>
                    <a:pt x="460" y="106"/>
                    <a:pt x="460" y="106"/>
                    <a:pt x="460" y="106"/>
                  </a:cubicBezTo>
                  <a:cubicBezTo>
                    <a:pt x="443" y="67"/>
                    <a:pt x="443" y="67"/>
                    <a:pt x="443" y="67"/>
                  </a:cubicBezTo>
                  <a:cubicBezTo>
                    <a:pt x="443" y="67"/>
                    <a:pt x="443" y="67"/>
                    <a:pt x="443" y="67"/>
                  </a:cubicBezTo>
                  <a:cubicBezTo>
                    <a:pt x="443" y="67"/>
                    <a:pt x="443" y="67"/>
                    <a:pt x="443" y="67"/>
                  </a:cubicBezTo>
                  <a:cubicBezTo>
                    <a:pt x="443" y="67"/>
                    <a:pt x="443" y="67"/>
                    <a:pt x="443" y="67"/>
                  </a:cubicBezTo>
                  <a:cubicBezTo>
                    <a:pt x="442" y="66"/>
                    <a:pt x="442" y="66"/>
                    <a:pt x="442" y="65"/>
                  </a:cubicBezTo>
                  <a:cubicBezTo>
                    <a:pt x="442" y="65"/>
                    <a:pt x="441" y="65"/>
                    <a:pt x="441" y="65"/>
                  </a:cubicBezTo>
                  <a:cubicBezTo>
                    <a:pt x="441" y="64"/>
                    <a:pt x="440" y="64"/>
                    <a:pt x="440" y="64"/>
                  </a:cubicBezTo>
                  <a:cubicBezTo>
                    <a:pt x="440" y="64"/>
                    <a:pt x="440" y="63"/>
                    <a:pt x="440" y="63"/>
                  </a:cubicBezTo>
                  <a:cubicBezTo>
                    <a:pt x="439" y="63"/>
                    <a:pt x="439" y="63"/>
                    <a:pt x="438" y="63"/>
                  </a:cubicBezTo>
                  <a:cubicBezTo>
                    <a:pt x="438" y="63"/>
                    <a:pt x="438" y="63"/>
                    <a:pt x="437" y="63"/>
                  </a:cubicBezTo>
                  <a:cubicBezTo>
                    <a:pt x="437" y="62"/>
                    <a:pt x="436" y="62"/>
                    <a:pt x="435" y="62"/>
                  </a:cubicBezTo>
                  <a:cubicBezTo>
                    <a:pt x="435" y="62"/>
                    <a:pt x="435" y="62"/>
                    <a:pt x="435" y="62"/>
                  </a:cubicBezTo>
                  <a:cubicBezTo>
                    <a:pt x="435" y="62"/>
                    <a:pt x="435" y="62"/>
                    <a:pt x="435" y="62"/>
                  </a:cubicBezTo>
                  <a:cubicBezTo>
                    <a:pt x="295" y="62"/>
                    <a:pt x="295" y="62"/>
                    <a:pt x="295" y="62"/>
                  </a:cubicBezTo>
                  <a:cubicBezTo>
                    <a:pt x="300" y="56"/>
                    <a:pt x="303" y="48"/>
                    <a:pt x="303" y="39"/>
                  </a:cubicBezTo>
                  <a:cubicBezTo>
                    <a:pt x="303" y="39"/>
                    <a:pt x="303" y="39"/>
                    <a:pt x="303" y="39"/>
                  </a:cubicBezTo>
                  <a:cubicBezTo>
                    <a:pt x="303" y="18"/>
                    <a:pt x="285" y="0"/>
                    <a:pt x="264" y="0"/>
                  </a:cubicBezTo>
                  <a:cubicBezTo>
                    <a:pt x="242" y="0"/>
                    <a:pt x="225" y="18"/>
                    <a:pt x="225" y="39"/>
                  </a:cubicBezTo>
                  <a:cubicBezTo>
                    <a:pt x="225" y="48"/>
                    <a:pt x="228" y="56"/>
                    <a:pt x="232" y="62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88" y="62"/>
                    <a:pt x="88" y="62"/>
                    <a:pt x="87" y="63"/>
                  </a:cubicBezTo>
                  <a:cubicBezTo>
                    <a:pt x="87" y="63"/>
                    <a:pt x="87" y="63"/>
                    <a:pt x="87" y="63"/>
                  </a:cubicBezTo>
                  <a:cubicBezTo>
                    <a:pt x="86" y="63"/>
                    <a:pt x="85" y="63"/>
                    <a:pt x="85" y="63"/>
                  </a:cubicBezTo>
                  <a:cubicBezTo>
                    <a:pt x="85" y="63"/>
                    <a:pt x="85" y="64"/>
                    <a:pt x="85" y="64"/>
                  </a:cubicBezTo>
                  <a:cubicBezTo>
                    <a:pt x="84" y="64"/>
                    <a:pt x="84" y="64"/>
                    <a:pt x="83" y="65"/>
                  </a:cubicBezTo>
                  <a:cubicBezTo>
                    <a:pt x="83" y="65"/>
                    <a:pt x="83" y="65"/>
                    <a:pt x="83" y="65"/>
                  </a:cubicBezTo>
                  <a:cubicBezTo>
                    <a:pt x="83" y="66"/>
                    <a:pt x="82" y="66"/>
                    <a:pt x="82" y="67"/>
                  </a:cubicBezTo>
                  <a:cubicBezTo>
                    <a:pt x="82" y="67"/>
                    <a:pt x="82" y="67"/>
                    <a:pt x="82" y="67"/>
                  </a:cubicBezTo>
                  <a:cubicBezTo>
                    <a:pt x="0" y="254"/>
                    <a:pt x="0" y="254"/>
                    <a:pt x="0" y="254"/>
                  </a:cubicBezTo>
                  <a:cubicBezTo>
                    <a:pt x="0" y="254"/>
                    <a:pt x="0" y="254"/>
                    <a:pt x="0" y="254"/>
                  </a:cubicBezTo>
                  <a:cubicBezTo>
                    <a:pt x="0" y="255"/>
                    <a:pt x="0" y="255"/>
                    <a:pt x="0" y="255"/>
                  </a:cubicBezTo>
                  <a:cubicBezTo>
                    <a:pt x="0" y="256"/>
                    <a:pt x="0" y="256"/>
                    <a:pt x="0" y="256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0" y="258"/>
                    <a:pt x="0" y="258"/>
                    <a:pt x="0" y="258"/>
                  </a:cubicBezTo>
                  <a:cubicBezTo>
                    <a:pt x="0" y="259"/>
                    <a:pt x="0" y="259"/>
                    <a:pt x="0" y="259"/>
                  </a:cubicBezTo>
                  <a:cubicBezTo>
                    <a:pt x="0" y="260"/>
                    <a:pt x="0" y="260"/>
                    <a:pt x="1" y="260"/>
                  </a:cubicBezTo>
                  <a:cubicBezTo>
                    <a:pt x="1" y="260"/>
                    <a:pt x="1" y="261"/>
                    <a:pt x="1" y="261"/>
                  </a:cubicBezTo>
                  <a:cubicBezTo>
                    <a:pt x="1" y="262"/>
                    <a:pt x="27" y="305"/>
                    <a:pt x="89" y="305"/>
                  </a:cubicBezTo>
                  <a:cubicBezTo>
                    <a:pt x="151" y="305"/>
                    <a:pt x="177" y="262"/>
                    <a:pt x="177" y="261"/>
                  </a:cubicBezTo>
                  <a:cubicBezTo>
                    <a:pt x="178" y="261"/>
                    <a:pt x="178" y="260"/>
                    <a:pt x="178" y="260"/>
                  </a:cubicBezTo>
                  <a:cubicBezTo>
                    <a:pt x="178" y="260"/>
                    <a:pt x="178" y="260"/>
                    <a:pt x="178" y="259"/>
                  </a:cubicBezTo>
                  <a:cubicBezTo>
                    <a:pt x="178" y="259"/>
                    <a:pt x="178" y="259"/>
                    <a:pt x="178" y="258"/>
                  </a:cubicBezTo>
                  <a:cubicBezTo>
                    <a:pt x="178" y="258"/>
                    <a:pt x="178" y="258"/>
                    <a:pt x="178" y="257"/>
                  </a:cubicBezTo>
                  <a:cubicBezTo>
                    <a:pt x="178" y="257"/>
                    <a:pt x="178" y="257"/>
                    <a:pt x="178" y="256"/>
                  </a:cubicBezTo>
                  <a:cubicBezTo>
                    <a:pt x="178" y="256"/>
                    <a:pt x="178" y="256"/>
                    <a:pt x="178" y="255"/>
                  </a:cubicBezTo>
                  <a:cubicBezTo>
                    <a:pt x="178" y="255"/>
                    <a:pt x="178" y="255"/>
                    <a:pt x="178" y="254"/>
                  </a:cubicBezTo>
                  <a:cubicBezTo>
                    <a:pt x="178" y="254"/>
                    <a:pt x="178" y="254"/>
                    <a:pt x="178" y="254"/>
                  </a:cubicBezTo>
                  <a:cubicBezTo>
                    <a:pt x="101" y="78"/>
                    <a:pt x="101" y="78"/>
                    <a:pt x="101" y="78"/>
                  </a:cubicBezTo>
                  <a:cubicBezTo>
                    <a:pt x="245" y="78"/>
                    <a:pt x="245" y="78"/>
                    <a:pt x="245" y="78"/>
                  </a:cubicBezTo>
                  <a:cubicBezTo>
                    <a:pt x="232" y="328"/>
                    <a:pt x="232" y="328"/>
                    <a:pt x="232" y="328"/>
                  </a:cubicBezTo>
                  <a:cubicBezTo>
                    <a:pt x="232" y="328"/>
                    <a:pt x="232" y="328"/>
                    <a:pt x="232" y="328"/>
                  </a:cubicBezTo>
                  <a:cubicBezTo>
                    <a:pt x="232" y="340"/>
                    <a:pt x="224" y="349"/>
                    <a:pt x="214" y="356"/>
                  </a:cubicBezTo>
                  <a:cubicBezTo>
                    <a:pt x="205" y="363"/>
                    <a:pt x="193" y="366"/>
                    <a:pt x="191" y="365"/>
                  </a:cubicBezTo>
                  <a:cubicBezTo>
                    <a:pt x="182" y="365"/>
                    <a:pt x="157" y="365"/>
                    <a:pt x="157" y="365"/>
                  </a:cubicBezTo>
                  <a:cubicBezTo>
                    <a:pt x="148" y="365"/>
                    <a:pt x="141" y="372"/>
                    <a:pt x="141" y="381"/>
                  </a:cubicBezTo>
                  <a:cubicBezTo>
                    <a:pt x="141" y="400"/>
                    <a:pt x="141" y="400"/>
                    <a:pt x="141" y="400"/>
                  </a:cubicBezTo>
                  <a:cubicBezTo>
                    <a:pt x="141" y="408"/>
                    <a:pt x="148" y="415"/>
                    <a:pt x="156" y="416"/>
                  </a:cubicBezTo>
                  <a:cubicBezTo>
                    <a:pt x="156" y="416"/>
                    <a:pt x="156" y="416"/>
                    <a:pt x="157" y="416"/>
                  </a:cubicBezTo>
                  <a:cubicBezTo>
                    <a:pt x="359" y="416"/>
                    <a:pt x="359" y="416"/>
                    <a:pt x="359" y="416"/>
                  </a:cubicBezTo>
                  <a:cubicBezTo>
                    <a:pt x="360" y="416"/>
                    <a:pt x="360" y="416"/>
                    <a:pt x="361" y="416"/>
                  </a:cubicBezTo>
                  <a:cubicBezTo>
                    <a:pt x="369" y="415"/>
                    <a:pt x="375" y="408"/>
                    <a:pt x="375" y="400"/>
                  </a:cubicBezTo>
                  <a:cubicBezTo>
                    <a:pt x="375" y="381"/>
                    <a:pt x="375" y="381"/>
                    <a:pt x="375" y="381"/>
                  </a:cubicBezTo>
                  <a:cubicBezTo>
                    <a:pt x="375" y="372"/>
                    <a:pt x="368" y="365"/>
                    <a:pt x="359" y="365"/>
                  </a:cubicBezTo>
                  <a:cubicBezTo>
                    <a:pt x="359" y="365"/>
                    <a:pt x="337" y="365"/>
                    <a:pt x="325" y="365"/>
                  </a:cubicBezTo>
                  <a:cubicBezTo>
                    <a:pt x="321" y="365"/>
                    <a:pt x="312" y="363"/>
                    <a:pt x="306" y="357"/>
                  </a:cubicBezTo>
                  <a:cubicBezTo>
                    <a:pt x="299" y="352"/>
                    <a:pt x="293" y="343"/>
                    <a:pt x="293" y="328"/>
                  </a:cubicBezTo>
                  <a:cubicBezTo>
                    <a:pt x="293" y="328"/>
                    <a:pt x="293" y="328"/>
                    <a:pt x="293" y="328"/>
                  </a:cubicBezTo>
                  <a:cubicBezTo>
                    <a:pt x="280" y="78"/>
                    <a:pt x="280" y="78"/>
                    <a:pt x="280" y="78"/>
                  </a:cubicBezTo>
                  <a:cubicBezTo>
                    <a:pt x="423" y="78"/>
                    <a:pt x="423" y="78"/>
                    <a:pt x="423" y="78"/>
                  </a:cubicBezTo>
                  <a:cubicBezTo>
                    <a:pt x="347" y="254"/>
                    <a:pt x="347" y="254"/>
                    <a:pt x="347" y="254"/>
                  </a:cubicBezTo>
                  <a:cubicBezTo>
                    <a:pt x="347" y="254"/>
                    <a:pt x="347" y="254"/>
                    <a:pt x="347" y="254"/>
                  </a:cubicBezTo>
                  <a:cubicBezTo>
                    <a:pt x="346" y="255"/>
                    <a:pt x="346" y="255"/>
                    <a:pt x="346" y="255"/>
                  </a:cubicBezTo>
                  <a:cubicBezTo>
                    <a:pt x="346" y="256"/>
                    <a:pt x="346" y="256"/>
                    <a:pt x="346" y="256"/>
                  </a:cubicBezTo>
                  <a:cubicBezTo>
                    <a:pt x="346" y="257"/>
                    <a:pt x="346" y="257"/>
                    <a:pt x="346" y="257"/>
                  </a:cubicBezTo>
                  <a:cubicBezTo>
                    <a:pt x="346" y="258"/>
                    <a:pt x="346" y="258"/>
                    <a:pt x="346" y="258"/>
                  </a:cubicBezTo>
                  <a:cubicBezTo>
                    <a:pt x="346" y="259"/>
                    <a:pt x="346" y="259"/>
                    <a:pt x="346" y="259"/>
                  </a:cubicBezTo>
                  <a:cubicBezTo>
                    <a:pt x="347" y="260"/>
                    <a:pt x="347" y="260"/>
                    <a:pt x="347" y="260"/>
                  </a:cubicBezTo>
                  <a:cubicBezTo>
                    <a:pt x="347" y="261"/>
                    <a:pt x="347" y="261"/>
                    <a:pt x="347" y="261"/>
                  </a:cubicBezTo>
                  <a:cubicBezTo>
                    <a:pt x="348" y="262"/>
                    <a:pt x="373" y="305"/>
                    <a:pt x="435" y="305"/>
                  </a:cubicBezTo>
                  <a:cubicBezTo>
                    <a:pt x="498" y="305"/>
                    <a:pt x="523" y="262"/>
                    <a:pt x="524" y="261"/>
                  </a:cubicBezTo>
                  <a:cubicBezTo>
                    <a:pt x="524" y="261"/>
                    <a:pt x="524" y="260"/>
                    <a:pt x="524" y="260"/>
                  </a:cubicBezTo>
                  <a:cubicBezTo>
                    <a:pt x="524" y="260"/>
                    <a:pt x="524" y="260"/>
                    <a:pt x="524" y="259"/>
                  </a:cubicBezTo>
                  <a:cubicBezTo>
                    <a:pt x="524" y="259"/>
                    <a:pt x="524" y="259"/>
                    <a:pt x="525" y="258"/>
                  </a:cubicBezTo>
                  <a:close/>
                  <a:moveTo>
                    <a:pt x="264" y="16"/>
                  </a:moveTo>
                  <a:cubicBezTo>
                    <a:pt x="276" y="16"/>
                    <a:pt x="287" y="27"/>
                    <a:pt x="287" y="39"/>
                  </a:cubicBezTo>
                  <a:cubicBezTo>
                    <a:pt x="287" y="52"/>
                    <a:pt x="277" y="62"/>
                    <a:pt x="264" y="62"/>
                  </a:cubicBezTo>
                  <a:cubicBezTo>
                    <a:pt x="264" y="62"/>
                    <a:pt x="264" y="62"/>
                    <a:pt x="264" y="62"/>
                  </a:cubicBezTo>
                  <a:cubicBezTo>
                    <a:pt x="251" y="62"/>
                    <a:pt x="241" y="52"/>
                    <a:pt x="241" y="39"/>
                  </a:cubicBezTo>
                  <a:cubicBezTo>
                    <a:pt x="241" y="27"/>
                    <a:pt x="251" y="16"/>
                    <a:pt x="264" y="16"/>
                  </a:cubicBezTo>
                  <a:close/>
                  <a:moveTo>
                    <a:pt x="89" y="289"/>
                  </a:moveTo>
                  <a:cubicBezTo>
                    <a:pt x="62" y="289"/>
                    <a:pt x="44" y="279"/>
                    <a:pt x="32" y="270"/>
                  </a:cubicBezTo>
                  <a:cubicBezTo>
                    <a:pt x="29" y="269"/>
                    <a:pt x="27" y="267"/>
                    <a:pt x="25" y="265"/>
                  </a:cubicBezTo>
                  <a:cubicBezTo>
                    <a:pt x="153" y="265"/>
                    <a:pt x="153" y="265"/>
                    <a:pt x="153" y="265"/>
                  </a:cubicBezTo>
                  <a:cubicBezTo>
                    <a:pt x="142" y="275"/>
                    <a:pt x="122" y="289"/>
                    <a:pt x="89" y="289"/>
                  </a:cubicBezTo>
                  <a:close/>
                  <a:moveTo>
                    <a:pt x="20" y="249"/>
                  </a:moveTo>
                  <a:cubicBezTo>
                    <a:pt x="89" y="90"/>
                    <a:pt x="89" y="90"/>
                    <a:pt x="89" y="90"/>
                  </a:cubicBezTo>
                  <a:cubicBezTo>
                    <a:pt x="158" y="249"/>
                    <a:pt x="158" y="249"/>
                    <a:pt x="158" y="249"/>
                  </a:cubicBezTo>
                  <a:lnTo>
                    <a:pt x="20" y="249"/>
                  </a:lnTo>
                  <a:close/>
                  <a:moveTo>
                    <a:pt x="277" y="329"/>
                  </a:moveTo>
                  <a:cubicBezTo>
                    <a:pt x="277" y="329"/>
                    <a:pt x="277" y="329"/>
                    <a:pt x="277" y="329"/>
                  </a:cubicBezTo>
                  <a:cubicBezTo>
                    <a:pt x="278" y="348"/>
                    <a:pt x="286" y="361"/>
                    <a:pt x="295" y="370"/>
                  </a:cubicBezTo>
                  <a:cubicBezTo>
                    <a:pt x="305" y="378"/>
                    <a:pt x="316" y="381"/>
                    <a:pt x="325" y="381"/>
                  </a:cubicBezTo>
                  <a:cubicBezTo>
                    <a:pt x="337" y="381"/>
                    <a:pt x="359" y="381"/>
                    <a:pt x="359" y="381"/>
                  </a:cubicBezTo>
                  <a:cubicBezTo>
                    <a:pt x="359" y="381"/>
                    <a:pt x="359" y="381"/>
                    <a:pt x="359" y="381"/>
                  </a:cubicBezTo>
                  <a:cubicBezTo>
                    <a:pt x="359" y="400"/>
                    <a:pt x="359" y="400"/>
                    <a:pt x="359" y="400"/>
                  </a:cubicBezTo>
                  <a:cubicBezTo>
                    <a:pt x="359" y="400"/>
                    <a:pt x="359" y="400"/>
                    <a:pt x="359" y="400"/>
                  </a:cubicBezTo>
                  <a:cubicBezTo>
                    <a:pt x="359" y="400"/>
                    <a:pt x="359" y="400"/>
                    <a:pt x="359" y="400"/>
                  </a:cubicBezTo>
                  <a:cubicBezTo>
                    <a:pt x="158" y="400"/>
                    <a:pt x="158" y="400"/>
                    <a:pt x="158" y="400"/>
                  </a:cubicBezTo>
                  <a:cubicBezTo>
                    <a:pt x="158" y="400"/>
                    <a:pt x="157" y="400"/>
                    <a:pt x="157" y="400"/>
                  </a:cubicBezTo>
                  <a:cubicBezTo>
                    <a:pt x="157" y="381"/>
                    <a:pt x="157" y="381"/>
                    <a:pt x="157" y="381"/>
                  </a:cubicBezTo>
                  <a:cubicBezTo>
                    <a:pt x="157" y="381"/>
                    <a:pt x="157" y="381"/>
                    <a:pt x="157" y="381"/>
                  </a:cubicBezTo>
                  <a:cubicBezTo>
                    <a:pt x="157" y="381"/>
                    <a:pt x="163" y="381"/>
                    <a:pt x="171" y="381"/>
                  </a:cubicBezTo>
                  <a:cubicBezTo>
                    <a:pt x="178" y="381"/>
                    <a:pt x="187" y="381"/>
                    <a:pt x="191" y="381"/>
                  </a:cubicBezTo>
                  <a:cubicBezTo>
                    <a:pt x="199" y="381"/>
                    <a:pt x="211" y="377"/>
                    <a:pt x="223" y="369"/>
                  </a:cubicBezTo>
                  <a:cubicBezTo>
                    <a:pt x="235" y="361"/>
                    <a:pt x="247" y="348"/>
                    <a:pt x="248" y="329"/>
                  </a:cubicBezTo>
                  <a:cubicBezTo>
                    <a:pt x="248" y="329"/>
                    <a:pt x="248" y="329"/>
                    <a:pt x="248" y="329"/>
                  </a:cubicBezTo>
                  <a:cubicBezTo>
                    <a:pt x="261" y="78"/>
                    <a:pt x="261" y="78"/>
                    <a:pt x="261" y="78"/>
                  </a:cubicBezTo>
                  <a:cubicBezTo>
                    <a:pt x="264" y="78"/>
                    <a:pt x="264" y="78"/>
                    <a:pt x="264" y="78"/>
                  </a:cubicBezTo>
                  <a:lnTo>
                    <a:pt x="277" y="329"/>
                  </a:lnTo>
                  <a:close/>
                  <a:moveTo>
                    <a:pt x="435" y="289"/>
                  </a:moveTo>
                  <a:cubicBezTo>
                    <a:pt x="408" y="289"/>
                    <a:pt x="390" y="279"/>
                    <a:pt x="378" y="270"/>
                  </a:cubicBezTo>
                  <a:cubicBezTo>
                    <a:pt x="375" y="269"/>
                    <a:pt x="373" y="267"/>
                    <a:pt x="371" y="265"/>
                  </a:cubicBezTo>
                  <a:cubicBezTo>
                    <a:pt x="500" y="265"/>
                    <a:pt x="500" y="265"/>
                    <a:pt x="500" y="265"/>
                  </a:cubicBezTo>
                  <a:cubicBezTo>
                    <a:pt x="488" y="275"/>
                    <a:pt x="468" y="289"/>
                    <a:pt x="435" y="289"/>
                  </a:cubicBezTo>
                  <a:close/>
                </a:path>
              </a:pathLst>
            </a:custGeom>
            <a:blipFill dpi="0" rotWithShape="0">
              <a:blip r:embed="rId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695" name="Text Box 11"/>
            <p:cNvSpPr txBox="1">
              <a:spLocks noChangeArrowheads="1"/>
            </p:cNvSpPr>
            <p:nvPr/>
          </p:nvSpPr>
          <p:spPr bwMode="auto">
            <a:xfrm>
              <a:off x="4130" y="2191"/>
              <a:ext cx="678" cy="2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E4275"/>
                  </a:solidFill>
                </a14:hiddenFill>
              </a:ext>
              <a:ext uri="{91240B29-F687-4F45-9708-019B960494DF}">
                <a14:hiddenLine xmlns:a14="http://schemas.microsoft.com/office/drawing/2010/main" w="38100" algn="ctr">
                  <a:solidFill>
                    <a:srgbClr val="E32119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rIns="0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sv-SE" sz="1800">
                  <a:solidFill>
                    <a:srgbClr val="00285F"/>
                  </a:solidFill>
                </a:rPr>
                <a:t>Elastic</a:t>
              </a:r>
              <a:endParaRPr lang="en-US" sz="1800">
                <a:solidFill>
                  <a:srgbClr val="00285F"/>
                </a:solidFill>
              </a:endParaRPr>
            </a:p>
          </p:txBody>
        </p:sp>
      </p:grpSp>
      <p:grpSp>
        <p:nvGrpSpPr>
          <p:cNvPr id="27654" name="Group 12"/>
          <p:cNvGrpSpPr>
            <a:grpSpLocks/>
          </p:cNvGrpSpPr>
          <p:nvPr/>
        </p:nvGrpSpPr>
        <p:grpSpPr bwMode="auto">
          <a:xfrm>
            <a:off x="7855757" y="3816859"/>
            <a:ext cx="1979083" cy="1452563"/>
            <a:chOff x="5255" y="2692"/>
            <a:chExt cx="911" cy="897"/>
          </a:xfrm>
        </p:grpSpPr>
        <p:sp>
          <p:nvSpPr>
            <p:cNvPr id="27692" name="Freeform 13" descr="bpct-blend6"/>
            <p:cNvSpPr>
              <a:spLocks noChangeAspect="1" noEditPoints="1"/>
            </p:cNvSpPr>
            <p:nvPr/>
          </p:nvSpPr>
          <p:spPr bwMode="auto">
            <a:xfrm>
              <a:off x="5391" y="2692"/>
              <a:ext cx="639" cy="640"/>
            </a:xfrm>
            <a:custGeom>
              <a:avLst/>
              <a:gdLst>
                <a:gd name="T0" fmla="*/ 340 w 380"/>
                <a:gd name="T1" fmla="*/ 254 h 380"/>
                <a:gd name="T2" fmla="*/ 350 w 380"/>
                <a:gd name="T3" fmla="*/ 219 h 380"/>
                <a:gd name="T4" fmla="*/ 330 w 380"/>
                <a:gd name="T5" fmla="*/ 168 h 380"/>
                <a:gd name="T6" fmla="*/ 298 w 380"/>
                <a:gd name="T7" fmla="*/ 150 h 380"/>
                <a:gd name="T8" fmla="*/ 227 w 380"/>
                <a:gd name="T9" fmla="*/ 113 h 380"/>
                <a:gd name="T10" fmla="*/ 173 w 380"/>
                <a:gd name="T11" fmla="*/ 150 h 380"/>
                <a:gd name="T12" fmla="*/ 141 w 380"/>
                <a:gd name="T13" fmla="*/ 168 h 380"/>
                <a:gd name="T14" fmla="*/ 111 w 380"/>
                <a:gd name="T15" fmla="*/ 229 h 380"/>
                <a:gd name="T16" fmla="*/ 138 w 380"/>
                <a:gd name="T17" fmla="*/ 278 h 380"/>
                <a:gd name="T18" fmla="*/ 155 w 380"/>
                <a:gd name="T19" fmla="*/ 330 h 380"/>
                <a:gd name="T20" fmla="*/ 178 w 380"/>
                <a:gd name="T21" fmla="*/ 327 h 380"/>
                <a:gd name="T22" fmla="*/ 217 w 380"/>
                <a:gd name="T23" fmla="*/ 352 h 380"/>
                <a:gd name="T24" fmla="*/ 254 w 380"/>
                <a:gd name="T25" fmla="*/ 342 h 380"/>
                <a:gd name="T26" fmla="*/ 318 w 380"/>
                <a:gd name="T27" fmla="*/ 330 h 380"/>
                <a:gd name="T28" fmla="*/ 338 w 380"/>
                <a:gd name="T29" fmla="*/ 263 h 380"/>
                <a:gd name="T30" fmla="*/ 205 w 380"/>
                <a:gd name="T31" fmla="*/ 312 h 380"/>
                <a:gd name="T32" fmla="*/ 266 w 380"/>
                <a:gd name="T33" fmla="*/ 162 h 380"/>
                <a:gd name="T34" fmla="*/ 252 w 380"/>
                <a:gd name="T35" fmla="*/ 477 h 380"/>
                <a:gd name="T36" fmla="*/ 244 w 380"/>
                <a:gd name="T37" fmla="*/ 453 h 380"/>
                <a:gd name="T38" fmla="*/ 225 w 380"/>
                <a:gd name="T39" fmla="*/ 413 h 380"/>
                <a:gd name="T40" fmla="*/ 183 w 380"/>
                <a:gd name="T41" fmla="*/ 419 h 380"/>
                <a:gd name="T42" fmla="*/ 166 w 380"/>
                <a:gd name="T43" fmla="*/ 438 h 380"/>
                <a:gd name="T44" fmla="*/ 141 w 380"/>
                <a:gd name="T45" fmla="*/ 470 h 380"/>
                <a:gd name="T46" fmla="*/ 172 w 380"/>
                <a:gd name="T47" fmla="*/ 504 h 380"/>
                <a:gd name="T48" fmla="*/ 188 w 380"/>
                <a:gd name="T49" fmla="*/ 520 h 380"/>
                <a:gd name="T50" fmla="*/ 232 w 380"/>
                <a:gd name="T51" fmla="*/ 520 h 380"/>
                <a:gd name="T52" fmla="*/ 242 w 380"/>
                <a:gd name="T53" fmla="*/ 488 h 380"/>
                <a:gd name="T54" fmla="*/ 178 w 380"/>
                <a:gd name="T55" fmla="*/ 450 h 380"/>
                <a:gd name="T56" fmla="*/ 420 w 380"/>
                <a:gd name="T57" fmla="*/ 177 h 380"/>
                <a:gd name="T58" fmla="*/ 441 w 380"/>
                <a:gd name="T59" fmla="*/ 160 h 380"/>
                <a:gd name="T60" fmla="*/ 452 w 380"/>
                <a:gd name="T61" fmla="*/ 147 h 380"/>
                <a:gd name="T62" fmla="*/ 456 w 380"/>
                <a:gd name="T63" fmla="*/ 118 h 380"/>
                <a:gd name="T64" fmla="*/ 429 w 380"/>
                <a:gd name="T65" fmla="*/ 108 h 380"/>
                <a:gd name="T66" fmla="*/ 412 w 380"/>
                <a:gd name="T67" fmla="*/ 103 h 380"/>
                <a:gd name="T68" fmla="*/ 395 w 380"/>
                <a:gd name="T69" fmla="*/ 113 h 380"/>
                <a:gd name="T70" fmla="*/ 390 w 380"/>
                <a:gd name="T71" fmla="*/ 130 h 380"/>
                <a:gd name="T72" fmla="*/ 385 w 380"/>
                <a:gd name="T73" fmla="*/ 158 h 380"/>
                <a:gd name="T74" fmla="*/ 410 w 380"/>
                <a:gd name="T75" fmla="*/ 170 h 380"/>
                <a:gd name="T76" fmla="*/ 430 w 380"/>
                <a:gd name="T77" fmla="*/ 123 h 380"/>
                <a:gd name="T78" fmla="*/ 520 w 380"/>
                <a:gd name="T79" fmla="*/ 227 h 380"/>
                <a:gd name="T80" fmla="*/ 494 w 380"/>
                <a:gd name="T81" fmla="*/ 214 h 380"/>
                <a:gd name="T82" fmla="*/ 478 w 380"/>
                <a:gd name="T83" fmla="*/ 217 h 380"/>
                <a:gd name="T84" fmla="*/ 451 w 380"/>
                <a:gd name="T85" fmla="*/ 226 h 380"/>
                <a:gd name="T86" fmla="*/ 454 w 380"/>
                <a:gd name="T87" fmla="*/ 256 h 380"/>
                <a:gd name="T88" fmla="*/ 459 w 380"/>
                <a:gd name="T89" fmla="*/ 271 h 380"/>
                <a:gd name="T90" fmla="*/ 481 w 380"/>
                <a:gd name="T91" fmla="*/ 288 h 380"/>
                <a:gd name="T92" fmla="*/ 499 w 380"/>
                <a:gd name="T93" fmla="*/ 275 h 380"/>
                <a:gd name="T94" fmla="*/ 521 w 380"/>
                <a:gd name="T95" fmla="*/ 266 h 380"/>
                <a:gd name="T96" fmla="*/ 520 w 380"/>
                <a:gd name="T97" fmla="*/ 237 h 380"/>
                <a:gd name="T98" fmla="*/ 471 w 380"/>
                <a:gd name="T99" fmla="*/ 236 h 380"/>
                <a:gd name="T100" fmla="*/ 547 w 380"/>
                <a:gd name="T101" fmla="*/ 113 h 380"/>
                <a:gd name="T102" fmla="*/ 548 w 380"/>
                <a:gd name="T103" fmla="*/ 482 h 380"/>
                <a:gd name="T104" fmla="*/ 506 w 380"/>
                <a:gd name="T105" fmla="*/ 376 h 380"/>
                <a:gd name="T106" fmla="*/ 390 w 380"/>
                <a:gd name="T107" fmla="*/ 322 h 380"/>
                <a:gd name="T108" fmla="*/ 419 w 380"/>
                <a:gd name="T109" fmla="*/ 428 h 380"/>
                <a:gd name="T110" fmla="*/ 306 w 380"/>
                <a:gd name="T111" fmla="*/ 397 h 380"/>
                <a:gd name="T112" fmla="*/ 380 w 380"/>
                <a:gd name="T113" fmla="*/ 515 h 380"/>
                <a:gd name="T114" fmla="*/ 474 w 380"/>
                <a:gd name="T115" fmla="*/ 569 h 380"/>
                <a:gd name="T116" fmla="*/ 113 w 380"/>
                <a:gd name="T117" fmla="*/ 113 h 380"/>
                <a:gd name="T118" fmla="*/ 525 w 380"/>
                <a:gd name="T119" fmla="*/ 76 h 380"/>
                <a:gd name="T120" fmla="*/ 320 w 380"/>
                <a:gd name="T121" fmla="*/ 640 h 380"/>
                <a:gd name="T122" fmla="*/ 639 w 380"/>
                <a:gd name="T123" fmla="*/ 320 h 38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80" h="380">
                  <a:moveTo>
                    <a:pt x="201" y="155"/>
                  </a:moveTo>
                  <a:cubicBezTo>
                    <a:pt x="201" y="155"/>
                    <a:pt x="201" y="154"/>
                    <a:pt x="202" y="154"/>
                  </a:cubicBezTo>
                  <a:cubicBezTo>
                    <a:pt x="202" y="153"/>
                    <a:pt x="202" y="152"/>
                    <a:pt x="202" y="151"/>
                  </a:cubicBezTo>
                  <a:cubicBezTo>
                    <a:pt x="202" y="151"/>
                    <a:pt x="202" y="151"/>
                    <a:pt x="202" y="151"/>
                  </a:cubicBezTo>
                  <a:cubicBezTo>
                    <a:pt x="208" y="151"/>
                    <a:pt x="208" y="151"/>
                    <a:pt x="208" y="151"/>
                  </a:cubicBezTo>
                  <a:cubicBezTo>
                    <a:pt x="211" y="151"/>
                    <a:pt x="214" y="149"/>
                    <a:pt x="214" y="146"/>
                  </a:cubicBezTo>
                  <a:cubicBezTo>
                    <a:pt x="214" y="136"/>
                    <a:pt x="214" y="136"/>
                    <a:pt x="214" y="136"/>
                  </a:cubicBezTo>
                  <a:cubicBezTo>
                    <a:pt x="214" y="133"/>
                    <a:pt x="211" y="130"/>
                    <a:pt x="208" y="130"/>
                  </a:cubicBezTo>
                  <a:cubicBezTo>
                    <a:pt x="202" y="130"/>
                    <a:pt x="202" y="130"/>
                    <a:pt x="202" y="130"/>
                  </a:cubicBezTo>
                  <a:cubicBezTo>
                    <a:pt x="201" y="125"/>
                    <a:pt x="200" y="120"/>
                    <a:pt x="198" y="116"/>
                  </a:cubicBezTo>
                  <a:cubicBezTo>
                    <a:pt x="196" y="112"/>
                    <a:pt x="194" y="108"/>
                    <a:pt x="192" y="104"/>
                  </a:cubicBezTo>
                  <a:cubicBezTo>
                    <a:pt x="196" y="100"/>
                    <a:pt x="196" y="100"/>
                    <a:pt x="196" y="100"/>
                  </a:cubicBezTo>
                  <a:cubicBezTo>
                    <a:pt x="198" y="98"/>
                    <a:pt x="198" y="94"/>
                    <a:pt x="196" y="92"/>
                  </a:cubicBezTo>
                  <a:cubicBezTo>
                    <a:pt x="189" y="85"/>
                    <a:pt x="189" y="85"/>
                    <a:pt x="189" y="85"/>
                  </a:cubicBezTo>
                  <a:cubicBezTo>
                    <a:pt x="186" y="83"/>
                    <a:pt x="183" y="83"/>
                    <a:pt x="181" y="85"/>
                  </a:cubicBezTo>
                  <a:cubicBezTo>
                    <a:pt x="177" y="89"/>
                    <a:pt x="177" y="89"/>
                    <a:pt x="177" y="89"/>
                  </a:cubicBezTo>
                  <a:cubicBezTo>
                    <a:pt x="169" y="84"/>
                    <a:pt x="160" y="80"/>
                    <a:pt x="151" y="78"/>
                  </a:cubicBezTo>
                  <a:cubicBezTo>
                    <a:pt x="151" y="73"/>
                    <a:pt x="151" y="73"/>
                    <a:pt x="151" y="73"/>
                  </a:cubicBezTo>
                  <a:cubicBezTo>
                    <a:pt x="151" y="70"/>
                    <a:pt x="148" y="67"/>
                    <a:pt x="145" y="67"/>
                  </a:cubicBezTo>
                  <a:cubicBezTo>
                    <a:pt x="135" y="67"/>
                    <a:pt x="135" y="67"/>
                    <a:pt x="135" y="67"/>
                  </a:cubicBezTo>
                  <a:cubicBezTo>
                    <a:pt x="132" y="67"/>
                    <a:pt x="129" y="70"/>
                    <a:pt x="129" y="73"/>
                  </a:cubicBezTo>
                  <a:cubicBezTo>
                    <a:pt x="129" y="78"/>
                    <a:pt x="129" y="78"/>
                    <a:pt x="129" y="78"/>
                  </a:cubicBezTo>
                  <a:cubicBezTo>
                    <a:pt x="125" y="79"/>
                    <a:pt x="120" y="80"/>
                    <a:pt x="115" y="82"/>
                  </a:cubicBezTo>
                  <a:cubicBezTo>
                    <a:pt x="111" y="84"/>
                    <a:pt x="107" y="86"/>
                    <a:pt x="103" y="89"/>
                  </a:cubicBezTo>
                  <a:cubicBezTo>
                    <a:pt x="100" y="85"/>
                    <a:pt x="100" y="85"/>
                    <a:pt x="100" y="85"/>
                  </a:cubicBezTo>
                  <a:cubicBezTo>
                    <a:pt x="97" y="83"/>
                    <a:pt x="94" y="83"/>
                    <a:pt x="91" y="85"/>
                  </a:cubicBezTo>
                  <a:cubicBezTo>
                    <a:pt x="84" y="92"/>
                    <a:pt x="84" y="92"/>
                    <a:pt x="84" y="92"/>
                  </a:cubicBezTo>
                  <a:cubicBezTo>
                    <a:pt x="82" y="94"/>
                    <a:pt x="82" y="98"/>
                    <a:pt x="84" y="100"/>
                  </a:cubicBezTo>
                  <a:cubicBezTo>
                    <a:pt x="88" y="104"/>
                    <a:pt x="88" y="104"/>
                    <a:pt x="88" y="104"/>
                  </a:cubicBezTo>
                  <a:cubicBezTo>
                    <a:pt x="83" y="112"/>
                    <a:pt x="79" y="121"/>
                    <a:pt x="78" y="130"/>
                  </a:cubicBezTo>
                  <a:cubicBezTo>
                    <a:pt x="72" y="130"/>
                    <a:pt x="72" y="130"/>
                    <a:pt x="72" y="130"/>
                  </a:cubicBezTo>
                  <a:cubicBezTo>
                    <a:pt x="69" y="130"/>
                    <a:pt x="66" y="133"/>
                    <a:pt x="66" y="136"/>
                  </a:cubicBezTo>
                  <a:cubicBezTo>
                    <a:pt x="66" y="146"/>
                    <a:pt x="66" y="146"/>
                    <a:pt x="66" y="146"/>
                  </a:cubicBezTo>
                  <a:cubicBezTo>
                    <a:pt x="66" y="149"/>
                    <a:pt x="69" y="152"/>
                    <a:pt x="72" y="152"/>
                  </a:cubicBezTo>
                  <a:cubicBezTo>
                    <a:pt x="78" y="152"/>
                    <a:pt x="78" y="152"/>
                    <a:pt x="78" y="152"/>
                  </a:cubicBezTo>
                  <a:cubicBezTo>
                    <a:pt x="79" y="156"/>
                    <a:pt x="80" y="160"/>
                    <a:pt x="82" y="165"/>
                  </a:cubicBezTo>
                  <a:cubicBezTo>
                    <a:pt x="84" y="169"/>
                    <a:pt x="86" y="173"/>
                    <a:pt x="89" y="177"/>
                  </a:cubicBezTo>
                  <a:cubicBezTo>
                    <a:pt x="85" y="181"/>
                    <a:pt x="85" y="181"/>
                    <a:pt x="85" y="181"/>
                  </a:cubicBezTo>
                  <a:cubicBezTo>
                    <a:pt x="82" y="183"/>
                    <a:pt x="82" y="187"/>
                    <a:pt x="85" y="189"/>
                  </a:cubicBezTo>
                  <a:cubicBezTo>
                    <a:pt x="92" y="196"/>
                    <a:pt x="92" y="196"/>
                    <a:pt x="92" y="196"/>
                  </a:cubicBezTo>
                  <a:cubicBezTo>
                    <a:pt x="94" y="199"/>
                    <a:pt x="98" y="199"/>
                    <a:pt x="100" y="196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5" y="193"/>
                    <a:pt x="106" y="193"/>
                    <a:pt x="106" y="194"/>
                  </a:cubicBezTo>
                  <a:cubicBezTo>
                    <a:pt x="107" y="194"/>
                    <a:pt x="107" y="194"/>
                    <a:pt x="108" y="195"/>
                  </a:cubicBezTo>
                  <a:cubicBezTo>
                    <a:pt x="108" y="195"/>
                    <a:pt x="108" y="195"/>
                    <a:pt x="108" y="195"/>
                  </a:cubicBezTo>
                  <a:cubicBezTo>
                    <a:pt x="115" y="199"/>
                    <a:pt x="122" y="201"/>
                    <a:pt x="129" y="203"/>
                  </a:cubicBezTo>
                  <a:cubicBezTo>
                    <a:pt x="129" y="209"/>
                    <a:pt x="129" y="209"/>
                    <a:pt x="129" y="209"/>
                  </a:cubicBezTo>
                  <a:cubicBezTo>
                    <a:pt x="129" y="212"/>
                    <a:pt x="132" y="214"/>
                    <a:pt x="135" y="214"/>
                  </a:cubicBezTo>
                  <a:cubicBezTo>
                    <a:pt x="145" y="214"/>
                    <a:pt x="145" y="214"/>
                    <a:pt x="145" y="214"/>
                  </a:cubicBezTo>
                  <a:cubicBezTo>
                    <a:pt x="148" y="214"/>
                    <a:pt x="151" y="212"/>
                    <a:pt x="151" y="209"/>
                  </a:cubicBezTo>
                  <a:cubicBezTo>
                    <a:pt x="151" y="203"/>
                    <a:pt x="151" y="203"/>
                    <a:pt x="151" y="203"/>
                  </a:cubicBezTo>
                  <a:cubicBezTo>
                    <a:pt x="156" y="202"/>
                    <a:pt x="160" y="200"/>
                    <a:pt x="165" y="199"/>
                  </a:cubicBezTo>
                  <a:cubicBezTo>
                    <a:pt x="169" y="197"/>
                    <a:pt x="173" y="195"/>
                    <a:pt x="176" y="192"/>
                  </a:cubicBezTo>
                  <a:cubicBezTo>
                    <a:pt x="181" y="196"/>
                    <a:pt x="181" y="196"/>
                    <a:pt x="181" y="196"/>
                  </a:cubicBezTo>
                  <a:cubicBezTo>
                    <a:pt x="183" y="199"/>
                    <a:pt x="187" y="199"/>
                    <a:pt x="189" y="196"/>
                  </a:cubicBezTo>
                  <a:cubicBezTo>
                    <a:pt x="196" y="189"/>
                    <a:pt x="196" y="189"/>
                    <a:pt x="196" y="189"/>
                  </a:cubicBezTo>
                  <a:cubicBezTo>
                    <a:pt x="198" y="187"/>
                    <a:pt x="198" y="183"/>
                    <a:pt x="196" y="181"/>
                  </a:cubicBezTo>
                  <a:cubicBezTo>
                    <a:pt x="192" y="177"/>
                    <a:pt x="192" y="177"/>
                    <a:pt x="192" y="177"/>
                  </a:cubicBezTo>
                  <a:cubicBezTo>
                    <a:pt x="196" y="170"/>
                    <a:pt x="199" y="163"/>
                    <a:pt x="201" y="156"/>
                  </a:cubicBezTo>
                  <a:cubicBezTo>
                    <a:pt x="201" y="155"/>
                    <a:pt x="201" y="155"/>
                    <a:pt x="201" y="155"/>
                  </a:cubicBezTo>
                  <a:close/>
                  <a:moveTo>
                    <a:pt x="184" y="158"/>
                  </a:moveTo>
                  <a:cubicBezTo>
                    <a:pt x="180" y="170"/>
                    <a:pt x="171" y="179"/>
                    <a:pt x="159" y="184"/>
                  </a:cubicBezTo>
                  <a:cubicBezTo>
                    <a:pt x="146" y="190"/>
                    <a:pt x="133" y="189"/>
                    <a:pt x="122" y="185"/>
                  </a:cubicBezTo>
                  <a:cubicBezTo>
                    <a:pt x="111" y="180"/>
                    <a:pt x="101" y="171"/>
                    <a:pt x="96" y="159"/>
                  </a:cubicBezTo>
                  <a:cubicBezTo>
                    <a:pt x="91" y="147"/>
                    <a:pt x="91" y="134"/>
                    <a:pt x="96" y="122"/>
                  </a:cubicBezTo>
                  <a:cubicBezTo>
                    <a:pt x="100" y="111"/>
                    <a:pt x="109" y="101"/>
                    <a:pt x="121" y="96"/>
                  </a:cubicBezTo>
                  <a:cubicBezTo>
                    <a:pt x="134" y="91"/>
                    <a:pt x="147" y="91"/>
                    <a:pt x="158" y="96"/>
                  </a:cubicBezTo>
                  <a:cubicBezTo>
                    <a:pt x="169" y="101"/>
                    <a:pt x="179" y="109"/>
                    <a:pt x="184" y="122"/>
                  </a:cubicBezTo>
                  <a:cubicBezTo>
                    <a:pt x="189" y="134"/>
                    <a:pt x="189" y="147"/>
                    <a:pt x="184" y="158"/>
                  </a:cubicBezTo>
                  <a:close/>
                  <a:moveTo>
                    <a:pt x="147" y="283"/>
                  </a:moveTo>
                  <a:cubicBezTo>
                    <a:pt x="150" y="283"/>
                    <a:pt x="150" y="283"/>
                    <a:pt x="150" y="283"/>
                  </a:cubicBezTo>
                  <a:cubicBezTo>
                    <a:pt x="153" y="283"/>
                    <a:pt x="155" y="280"/>
                    <a:pt x="155" y="277"/>
                  </a:cubicBezTo>
                  <a:cubicBezTo>
                    <a:pt x="155" y="273"/>
                    <a:pt x="155" y="273"/>
                    <a:pt x="155" y="273"/>
                  </a:cubicBezTo>
                  <a:cubicBezTo>
                    <a:pt x="155" y="270"/>
                    <a:pt x="152" y="268"/>
                    <a:pt x="149" y="268"/>
                  </a:cubicBezTo>
                  <a:cubicBezTo>
                    <a:pt x="145" y="269"/>
                    <a:pt x="145" y="269"/>
                    <a:pt x="145" y="269"/>
                  </a:cubicBezTo>
                  <a:cubicBezTo>
                    <a:pt x="144" y="264"/>
                    <a:pt x="141" y="260"/>
                    <a:pt x="137" y="257"/>
                  </a:cubicBezTo>
                  <a:cubicBezTo>
                    <a:pt x="139" y="254"/>
                    <a:pt x="139" y="254"/>
                    <a:pt x="139" y="254"/>
                  </a:cubicBezTo>
                  <a:cubicBezTo>
                    <a:pt x="140" y="251"/>
                    <a:pt x="139" y="247"/>
                    <a:pt x="136" y="246"/>
                  </a:cubicBezTo>
                  <a:cubicBezTo>
                    <a:pt x="134" y="245"/>
                    <a:pt x="134" y="245"/>
                    <a:pt x="134" y="245"/>
                  </a:cubicBezTo>
                  <a:cubicBezTo>
                    <a:pt x="131" y="244"/>
                    <a:pt x="128" y="245"/>
                    <a:pt x="127" y="248"/>
                  </a:cubicBezTo>
                  <a:cubicBezTo>
                    <a:pt x="125" y="251"/>
                    <a:pt x="125" y="251"/>
                    <a:pt x="125" y="251"/>
                  </a:cubicBezTo>
                  <a:cubicBezTo>
                    <a:pt x="120" y="250"/>
                    <a:pt x="115" y="250"/>
                    <a:pt x="111" y="252"/>
                  </a:cubicBezTo>
                  <a:cubicBezTo>
                    <a:pt x="109" y="249"/>
                    <a:pt x="109" y="249"/>
                    <a:pt x="109" y="249"/>
                  </a:cubicBezTo>
                  <a:cubicBezTo>
                    <a:pt x="107" y="246"/>
                    <a:pt x="104" y="246"/>
                    <a:pt x="101" y="247"/>
                  </a:cubicBezTo>
                  <a:cubicBezTo>
                    <a:pt x="98" y="249"/>
                    <a:pt x="98" y="249"/>
                    <a:pt x="98" y="249"/>
                  </a:cubicBezTo>
                  <a:cubicBezTo>
                    <a:pt x="96" y="251"/>
                    <a:pt x="95" y="255"/>
                    <a:pt x="97" y="257"/>
                  </a:cubicBezTo>
                  <a:cubicBezTo>
                    <a:pt x="99" y="260"/>
                    <a:pt x="99" y="260"/>
                    <a:pt x="99" y="260"/>
                  </a:cubicBezTo>
                  <a:cubicBezTo>
                    <a:pt x="97" y="262"/>
                    <a:pt x="96" y="264"/>
                    <a:pt x="95" y="266"/>
                  </a:cubicBezTo>
                  <a:cubicBezTo>
                    <a:pt x="93" y="268"/>
                    <a:pt x="93" y="271"/>
                    <a:pt x="92" y="273"/>
                  </a:cubicBezTo>
                  <a:cubicBezTo>
                    <a:pt x="89" y="273"/>
                    <a:pt x="89" y="273"/>
                    <a:pt x="89" y="273"/>
                  </a:cubicBezTo>
                  <a:cubicBezTo>
                    <a:pt x="86" y="274"/>
                    <a:pt x="83" y="276"/>
                    <a:pt x="84" y="279"/>
                  </a:cubicBezTo>
                  <a:cubicBezTo>
                    <a:pt x="84" y="283"/>
                    <a:pt x="84" y="283"/>
                    <a:pt x="84" y="283"/>
                  </a:cubicBezTo>
                  <a:cubicBezTo>
                    <a:pt x="84" y="286"/>
                    <a:pt x="87" y="288"/>
                    <a:pt x="90" y="288"/>
                  </a:cubicBezTo>
                  <a:cubicBezTo>
                    <a:pt x="94" y="288"/>
                    <a:pt x="94" y="288"/>
                    <a:pt x="94" y="288"/>
                  </a:cubicBezTo>
                  <a:cubicBezTo>
                    <a:pt x="95" y="292"/>
                    <a:pt x="98" y="296"/>
                    <a:pt x="102" y="299"/>
                  </a:cubicBezTo>
                  <a:cubicBezTo>
                    <a:pt x="100" y="303"/>
                    <a:pt x="100" y="303"/>
                    <a:pt x="100" y="303"/>
                  </a:cubicBezTo>
                  <a:cubicBezTo>
                    <a:pt x="99" y="306"/>
                    <a:pt x="100" y="309"/>
                    <a:pt x="103" y="310"/>
                  </a:cubicBezTo>
                  <a:cubicBezTo>
                    <a:pt x="105" y="311"/>
                    <a:pt x="105" y="311"/>
                    <a:pt x="105" y="311"/>
                  </a:cubicBezTo>
                  <a:cubicBezTo>
                    <a:pt x="108" y="313"/>
                    <a:pt x="111" y="312"/>
                    <a:pt x="112" y="309"/>
                  </a:cubicBezTo>
                  <a:cubicBezTo>
                    <a:pt x="114" y="305"/>
                    <a:pt x="114" y="305"/>
                    <a:pt x="114" y="305"/>
                  </a:cubicBezTo>
                  <a:cubicBezTo>
                    <a:pt x="119" y="306"/>
                    <a:pt x="124" y="306"/>
                    <a:pt x="128" y="304"/>
                  </a:cubicBezTo>
                  <a:cubicBezTo>
                    <a:pt x="130" y="307"/>
                    <a:pt x="130" y="307"/>
                    <a:pt x="130" y="307"/>
                  </a:cubicBezTo>
                  <a:cubicBezTo>
                    <a:pt x="132" y="310"/>
                    <a:pt x="135" y="311"/>
                    <a:pt x="138" y="309"/>
                  </a:cubicBezTo>
                  <a:cubicBezTo>
                    <a:pt x="141" y="307"/>
                    <a:pt x="141" y="307"/>
                    <a:pt x="141" y="307"/>
                  </a:cubicBezTo>
                  <a:cubicBezTo>
                    <a:pt x="143" y="305"/>
                    <a:pt x="144" y="302"/>
                    <a:pt x="142" y="299"/>
                  </a:cubicBezTo>
                  <a:cubicBezTo>
                    <a:pt x="140" y="296"/>
                    <a:pt x="140" y="296"/>
                    <a:pt x="140" y="296"/>
                  </a:cubicBezTo>
                  <a:cubicBezTo>
                    <a:pt x="142" y="294"/>
                    <a:pt x="143" y="292"/>
                    <a:pt x="144" y="290"/>
                  </a:cubicBezTo>
                  <a:cubicBezTo>
                    <a:pt x="145" y="288"/>
                    <a:pt x="146" y="286"/>
                    <a:pt x="147" y="283"/>
                  </a:cubicBezTo>
                  <a:close/>
                  <a:moveTo>
                    <a:pt x="133" y="289"/>
                  </a:moveTo>
                  <a:cubicBezTo>
                    <a:pt x="126" y="297"/>
                    <a:pt x="116" y="297"/>
                    <a:pt x="108" y="291"/>
                  </a:cubicBezTo>
                  <a:cubicBezTo>
                    <a:pt x="101" y="285"/>
                    <a:pt x="100" y="274"/>
                    <a:pt x="106" y="267"/>
                  </a:cubicBezTo>
                  <a:cubicBezTo>
                    <a:pt x="112" y="260"/>
                    <a:pt x="123" y="259"/>
                    <a:pt x="131" y="265"/>
                  </a:cubicBezTo>
                  <a:cubicBezTo>
                    <a:pt x="138" y="271"/>
                    <a:pt x="139" y="282"/>
                    <a:pt x="133" y="289"/>
                  </a:cubicBezTo>
                  <a:close/>
                  <a:moveTo>
                    <a:pt x="248" y="105"/>
                  </a:moveTo>
                  <a:cubicBezTo>
                    <a:pt x="250" y="105"/>
                    <a:pt x="250" y="105"/>
                    <a:pt x="250" y="105"/>
                  </a:cubicBezTo>
                  <a:cubicBezTo>
                    <a:pt x="252" y="105"/>
                    <a:pt x="254" y="104"/>
                    <a:pt x="254" y="102"/>
                  </a:cubicBezTo>
                  <a:cubicBezTo>
                    <a:pt x="254" y="99"/>
                    <a:pt x="254" y="99"/>
                    <a:pt x="254" y="99"/>
                  </a:cubicBezTo>
                  <a:cubicBezTo>
                    <a:pt x="255" y="99"/>
                    <a:pt x="257" y="98"/>
                    <a:pt x="258" y="98"/>
                  </a:cubicBezTo>
                  <a:cubicBezTo>
                    <a:pt x="260" y="97"/>
                    <a:pt x="261" y="96"/>
                    <a:pt x="262" y="95"/>
                  </a:cubicBezTo>
                  <a:cubicBezTo>
                    <a:pt x="264" y="96"/>
                    <a:pt x="264" y="96"/>
                    <a:pt x="264" y="96"/>
                  </a:cubicBezTo>
                  <a:cubicBezTo>
                    <a:pt x="266" y="97"/>
                    <a:pt x="268" y="96"/>
                    <a:pt x="269" y="95"/>
                  </a:cubicBezTo>
                  <a:cubicBezTo>
                    <a:pt x="271" y="93"/>
                    <a:pt x="271" y="93"/>
                    <a:pt x="271" y="93"/>
                  </a:cubicBezTo>
                  <a:cubicBezTo>
                    <a:pt x="272" y="91"/>
                    <a:pt x="271" y="88"/>
                    <a:pt x="269" y="87"/>
                  </a:cubicBezTo>
                  <a:cubicBezTo>
                    <a:pt x="267" y="86"/>
                    <a:pt x="267" y="86"/>
                    <a:pt x="267" y="86"/>
                  </a:cubicBezTo>
                  <a:cubicBezTo>
                    <a:pt x="268" y="83"/>
                    <a:pt x="268" y="80"/>
                    <a:pt x="267" y="77"/>
                  </a:cubicBezTo>
                  <a:cubicBezTo>
                    <a:pt x="270" y="75"/>
                    <a:pt x="270" y="75"/>
                    <a:pt x="270" y="75"/>
                  </a:cubicBezTo>
                  <a:cubicBezTo>
                    <a:pt x="272" y="74"/>
                    <a:pt x="272" y="72"/>
                    <a:pt x="271" y="70"/>
                  </a:cubicBezTo>
                  <a:cubicBezTo>
                    <a:pt x="270" y="69"/>
                    <a:pt x="270" y="69"/>
                    <a:pt x="270" y="69"/>
                  </a:cubicBezTo>
                  <a:cubicBezTo>
                    <a:pt x="269" y="67"/>
                    <a:pt x="267" y="66"/>
                    <a:pt x="265" y="67"/>
                  </a:cubicBezTo>
                  <a:cubicBezTo>
                    <a:pt x="263" y="69"/>
                    <a:pt x="263" y="69"/>
                    <a:pt x="263" y="69"/>
                  </a:cubicBezTo>
                  <a:cubicBezTo>
                    <a:pt x="261" y="66"/>
                    <a:pt x="258" y="65"/>
                    <a:pt x="255" y="64"/>
                  </a:cubicBezTo>
                  <a:cubicBezTo>
                    <a:pt x="255" y="61"/>
                    <a:pt x="255" y="61"/>
                    <a:pt x="255" y="61"/>
                  </a:cubicBezTo>
                  <a:cubicBezTo>
                    <a:pt x="255" y="59"/>
                    <a:pt x="253" y="57"/>
                    <a:pt x="251" y="57"/>
                  </a:cubicBezTo>
                  <a:cubicBezTo>
                    <a:pt x="249" y="57"/>
                    <a:pt x="249" y="57"/>
                    <a:pt x="249" y="57"/>
                  </a:cubicBezTo>
                  <a:cubicBezTo>
                    <a:pt x="247" y="57"/>
                    <a:pt x="245" y="59"/>
                    <a:pt x="245" y="61"/>
                  </a:cubicBezTo>
                  <a:cubicBezTo>
                    <a:pt x="245" y="63"/>
                    <a:pt x="245" y="63"/>
                    <a:pt x="245" y="63"/>
                  </a:cubicBezTo>
                  <a:cubicBezTo>
                    <a:pt x="244" y="64"/>
                    <a:pt x="242" y="64"/>
                    <a:pt x="241" y="65"/>
                  </a:cubicBezTo>
                  <a:cubicBezTo>
                    <a:pt x="239" y="66"/>
                    <a:pt x="238" y="67"/>
                    <a:pt x="237" y="68"/>
                  </a:cubicBezTo>
                  <a:cubicBezTo>
                    <a:pt x="235" y="67"/>
                    <a:pt x="235" y="67"/>
                    <a:pt x="235" y="67"/>
                  </a:cubicBezTo>
                  <a:cubicBezTo>
                    <a:pt x="233" y="66"/>
                    <a:pt x="231" y="66"/>
                    <a:pt x="229" y="68"/>
                  </a:cubicBezTo>
                  <a:cubicBezTo>
                    <a:pt x="228" y="70"/>
                    <a:pt x="228" y="70"/>
                    <a:pt x="228" y="70"/>
                  </a:cubicBezTo>
                  <a:cubicBezTo>
                    <a:pt x="227" y="72"/>
                    <a:pt x="228" y="74"/>
                    <a:pt x="230" y="75"/>
                  </a:cubicBezTo>
                  <a:cubicBezTo>
                    <a:pt x="232" y="77"/>
                    <a:pt x="232" y="77"/>
                    <a:pt x="232" y="77"/>
                  </a:cubicBezTo>
                  <a:cubicBezTo>
                    <a:pt x="231" y="80"/>
                    <a:pt x="231" y="83"/>
                    <a:pt x="232" y="86"/>
                  </a:cubicBezTo>
                  <a:cubicBezTo>
                    <a:pt x="229" y="87"/>
                    <a:pt x="229" y="87"/>
                    <a:pt x="229" y="87"/>
                  </a:cubicBezTo>
                  <a:cubicBezTo>
                    <a:pt x="227" y="88"/>
                    <a:pt x="227" y="91"/>
                    <a:pt x="228" y="92"/>
                  </a:cubicBezTo>
                  <a:cubicBezTo>
                    <a:pt x="229" y="94"/>
                    <a:pt x="229" y="94"/>
                    <a:pt x="229" y="94"/>
                  </a:cubicBezTo>
                  <a:cubicBezTo>
                    <a:pt x="230" y="96"/>
                    <a:pt x="232" y="96"/>
                    <a:pt x="234" y="95"/>
                  </a:cubicBezTo>
                  <a:cubicBezTo>
                    <a:pt x="236" y="94"/>
                    <a:pt x="236" y="94"/>
                    <a:pt x="236" y="94"/>
                  </a:cubicBezTo>
                  <a:cubicBezTo>
                    <a:pt x="238" y="96"/>
                    <a:pt x="241" y="98"/>
                    <a:pt x="244" y="99"/>
                  </a:cubicBezTo>
                  <a:cubicBezTo>
                    <a:pt x="244" y="101"/>
                    <a:pt x="244" y="101"/>
                    <a:pt x="244" y="101"/>
                  </a:cubicBezTo>
                  <a:cubicBezTo>
                    <a:pt x="244" y="104"/>
                    <a:pt x="246" y="105"/>
                    <a:pt x="248" y="105"/>
                  </a:cubicBezTo>
                  <a:close/>
                  <a:moveTo>
                    <a:pt x="243" y="89"/>
                  </a:moveTo>
                  <a:cubicBezTo>
                    <a:pt x="238" y="86"/>
                    <a:pt x="238" y="79"/>
                    <a:pt x="241" y="74"/>
                  </a:cubicBezTo>
                  <a:cubicBezTo>
                    <a:pt x="245" y="70"/>
                    <a:pt x="252" y="69"/>
                    <a:pt x="256" y="73"/>
                  </a:cubicBezTo>
                  <a:cubicBezTo>
                    <a:pt x="261" y="77"/>
                    <a:pt x="261" y="84"/>
                    <a:pt x="258" y="88"/>
                  </a:cubicBezTo>
                  <a:cubicBezTo>
                    <a:pt x="254" y="93"/>
                    <a:pt x="247" y="93"/>
                    <a:pt x="243" y="89"/>
                  </a:cubicBezTo>
                  <a:close/>
                  <a:moveTo>
                    <a:pt x="310" y="136"/>
                  </a:moveTo>
                  <a:cubicBezTo>
                    <a:pt x="309" y="135"/>
                    <a:pt x="309" y="135"/>
                    <a:pt x="309" y="135"/>
                  </a:cubicBezTo>
                  <a:cubicBezTo>
                    <a:pt x="308" y="133"/>
                    <a:pt x="306" y="132"/>
                    <a:pt x="304" y="133"/>
                  </a:cubicBezTo>
                  <a:cubicBezTo>
                    <a:pt x="302" y="134"/>
                    <a:pt x="302" y="134"/>
                    <a:pt x="302" y="134"/>
                  </a:cubicBezTo>
                  <a:cubicBezTo>
                    <a:pt x="300" y="132"/>
                    <a:pt x="297" y="130"/>
                    <a:pt x="294" y="129"/>
                  </a:cubicBezTo>
                  <a:cubicBezTo>
                    <a:pt x="294" y="127"/>
                    <a:pt x="294" y="127"/>
                    <a:pt x="294" y="127"/>
                  </a:cubicBezTo>
                  <a:cubicBezTo>
                    <a:pt x="294" y="125"/>
                    <a:pt x="292" y="123"/>
                    <a:pt x="290" y="123"/>
                  </a:cubicBezTo>
                  <a:cubicBezTo>
                    <a:pt x="288" y="123"/>
                    <a:pt x="288" y="123"/>
                    <a:pt x="288" y="123"/>
                  </a:cubicBezTo>
                  <a:cubicBezTo>
                    <a:pt x="286" y="123"/>
                    <a:pt x="284" y="125"/>
                    <a:pt x="284" y="127"/>
                  </a:cubicBezTo>
                  <a:cubicBezTo>
                    <a:pt x="284" y="129"/>
                    <a:pt x="284" y="129"/>
                    <a:pt x="284" y="129"/>
                  </a:cubicBezTo>
                  <a:cubicBezTo>
                    <a:pt x="282" y="129"/>
                    <a:pt x="281" y="130"/>
                    <a:pt x="279" y="131"/>
                  </a:cubicBezTo>
                  <a:cubicBezTo>
                    <a:pt x="278" y="132"/>
                    <a:pt x="277" y="133"/>
                    <a:pt x="275" y="134"/>
                  </a:cubicBezTo>
                  <a:cubicBezTo>
                    <a:pt x="274" y="133"/>
                    <a:pt x="274" y="133"/>
                    <a:pt x="274" y="133"/>
                  </a:cubicBezTo>
                  <a:cubicBezTo>
                    <a:pt x="272" y="131"/>
                    <a:pt x="269" y="132"/>
                    <a:pt x="268" y="134"/>
                  </a:cubicBezTo>
                  <a:cubicBezTo>
                    <a:pt x="267" y="136"/>
                    <a:pt x="267" y="136"/>
                    <a:pt x="267" y="136"/>
                  </a:cubicBezTo>
                  <a:cubicBezTo>
                    <a:pt x="266" y="138"/>
                    <a:pt x="267" y="140"/>
                    <a:pt x="268" y="141"/>
                  </a:cubicBezTo>
                  <a:cubicBezTo>
                    <a:pt x="270" y="142"/>
                    <a:pt x="270" y="142"/>
                    <a:pt x="270" y="142"/>
                  </a:cubicBezTo>
                  <a:cubicBezTo>
                    <a:pt x="270" y="145"/>
                    <a:pt x="270" y="149"/>
                    <a:pt x="270" y="152"/>
                  </a:cubicBezTo>
                  <a:cubicBezTo>
                    <a:pt x="268" y="153"/>
                    <a:pt x="268" y="153"/>
                    <a:pt x="268" y="153"/>
                  </a:cubicBezTo>
                  <a:cubicBezTo>
                    <a:pt x="266" y="154"/>
                    <a:pt x="266" y="156"/>
                    <a:pt x="267" y="158"/>
                  </a:cubicBezTo>
                  <a:cubicBezTo>
                    <a:pt x="267" y="160"/>
                    <a:pt x="267" y="160"/>
                    <a:pt x="267" y="160"/>
                  </a:cubicBezTo>
                  <a:cubicBezTo>
                    <a:pt x="268" y="161"/>
                    <a:pt x="271" y="162"/>
                    <a:pt x="273" y="161"/>
                  </a:cubicBezTo>
                  <a:cubicBezTo>
                    <a:pt x="275" y="160"/>
                    <a:pt x="275" y="160"/>
                    <a:pt x="275" y="160"/>
                  </a:cubicBezTo>
                  <a:cubicBezTo>
                    <a:pt x="277" y="162"/>
                    <a:pt x="280" y="164"/>
                    <a:pt x="283" y="165"/>
                  </a:cubicBezTo>
                  <a:cubicBezTo>
                    <a:pt x="283" y="167"/>
                    <a:pt x="283" y="167"/>
                    <a:pt x="283" y="167"/>
                  </a:cubicBezTo>
                  <a:cubicBezTo>
                    <a:pt x="283" y="169"/>
                    <a:pt x="284" y="171"/>
                    <a:pt x="286" y="171"/>
                  </a:cubicBezTo>
                  <a:cubicBezTo>
                    <a:pt x="289" y="171"/>
                    <a:pt x="289" y="171"/>
                    <a:pt x="289" y="171"/>
                  </a:cubicBezTo>
                  <a:cubicBezTo>
                    <a:pt x="291" y="171"/>
                    <a:pt x="293" y="169"/>
                    <a:pt x="293" y="167"/>
                  </a:cubicBezTo>
                  <a:cubicBezTo>
                    <a:pt x="293" y="165"/>
                    <a:pt x="293" y="165"/>
                    <a:pt x="293" y="165"/>
                  </a:cubicBezTo>
                  <a:cubicBezTo>
                    <a:pt x="294" y="165"/>
                    <a:pt x="296" y="164"/>
                    <a:pt x="297" y="163"/>
                  </a:cubicBezTo>
                  <a:cubicBezTo>
                    <a:pt x="299" y="163"/>
                    <a:pt x="300" y="162"/>
                    <a:pt x="301" y="160"/>
                  </a:cubicBezTo>
                  <a:cubicBezTo>
                    <a:pt x="303" y="162"/>
                    <a:pt x="303" y="162"/>
                    <a:pt x="303" y="162"/>
                  </a:cubicBezTo>
                  <a:cubicBezTo>
                    <a:pt x="305" y="163"/>
                    <a:pt x="307" y="162"/>
                    <a:pt x="308" y="160"/>
                  </a:cubicBezTo>
                  <a:cubicBezTo>
                    <a:pt x="310" y="158"/>
                    <a:pt x="310" y="158"/>
                    <a:pt x="310" y="158"/>
                  </a:cubicBezTo>
                  <a:cubicBezTo>
                    <a:pt x="311" y="156"/>
                    <a:pt x="310" y="154"/>
                    <a:pt x="308" y="153"/>
                  </a:cubicBezTo>
                  <a:cubicBezTo>
                    <a:pt x="306" y="152"/>
                    <a:pt x="306" y="152"/>
                    <a:pt x="306" y="152"/>
                  </a:cubicBezTo>
                  <a:cubicBezTo>
                    <a:pt x="307" y="149"/>
                    <a:pt x="307" y="146"/>
                    <a:pt x="306" y="142"/>
                  </a:cubicBezTo>
                  <a:cubicBezTo>
                    <a:pt x="309" y="141"/>
                    <a:pt x="309" y="141"/>
                    <a:pt x="309" y="141"/>
                  </a:cubicBezTo>
                  <a:cubicBezTo>
                    <a:pt x="310" y="140"/>
                    <a:pt x="311" y="138"/>
                    <a:pt x="310" y="136"/>
                  </a:cubicBezTo>
                  <a:close/>
                  <a:moveTo>
                    <a:pt x="296" y="154"/>
                  </a:moveTo>
                  <a:cubicBezTo>
                    <a:pt x="293" y="158"/>
                    <a:pt x="286" y="159"/>
                    <a:pt x="282" y="155"/>
                  </a:cubicBezTo>
                  <a:cubicBezTo>
                    <a:pt x="277" y="151"/>
                    <a:pt x="277" y="145"/>
                    <a:pt x="280" y="140"/>
                  </a:cubicBezTo>
                  <a:cubicBezTo>
                    <a:pt x="284" y="136"/>
                    <a:pt x="291" y="135"/>
                    <a:pt x="295" y="139"/>
                  </a:cubicBezTo>
                  <a:cubicBezTo>
                    <a:pt x="300" y="143"/>
                    <a:pt x="300" y="149"/>
                    <a:pt x="296" y="154"/>
                  </a:cubicBezTo>
                  <a:close/>
                  <a:moveTo>
                    <a:pt x="336" y="68"/>
                  </a:moveTo>
                  <a:cubicBezTo>
                    <a:pt x="333" y="65"/>
                    <a:pt x="328" y="65"/>
                    <a:pt x="325" y="67"/>
                  </a:cubicBezTo>
                  <a:cubicBezTo>
                    <a:pt x="321" y="70"/>
                    <a:pt x="321" y="75"/>
                    <a:pt x="324" y="79"/>
                  </a:cubicBezTo>
                  <a:cubicBezTo>
                    <a:pt x="349" y="109"/>
                    <a:pt x="364" y="148"/>
                    <a:pt x="364" y="190"/>
                  </a:cubicBezTo>
                  <a:cubicBezTo>
                    <a:pt x="364" y="226"/>
                    <a:pt x="353" y="259"/>
                    <a:pt x="335" y="287"/>
                  </a:cubicBezTo>
                  <a:cubicBezTo>
                    <a:pt x="333" y="289"/>
                    <a:pt x="330" y="289"/>
                    <a:pt x="326" y="286"/>
                  </a:cubicBezTo>
                  <a:cubicBezTo>
                    <a:pt x="299" y="258"/>
                    <a:pt x="299" y="258"/>
                    <a:pt x="299" y="258"/>
                  </a:cubicBezTo>
                  <a:cubicBezTo>
                    <a:pt x="296" y="256"/>
                    <a:pt x="297" y="252"/>
                    <a:pt x="297" y="252"/>
                  </a:cubicBezTo>
                  <a:cubicBezTo>
                    <a:pt x="303" y="229"/>
                    <a:pt x="303" y="229"/>
                    <a:pt x="303" y="229"/>
                  </a:cubicBezTo>
                  <a:cubicBezTo>
                    <a:pt x="303" y="227"/>
                    <a:pt x="303" y="224"/>
                    <a:pt x="301" y="223"/>
                  </a:cubicBezTo>
                  <a:cubicBezTo>
                    <a:pt x="260" y="181"/>
                    <a:pt x="260" y="181"/>
                    <a:pt x="260" y="181"/>
                  </a:cubicBezTo>
                  <a:cubicBezTo>
                    <a:pt x="258" y="179"/>
                    <a:pt x="255" y="179"/>
                    <a:pt x="253" y="179"/>
                  </a:cubicBezTo>
                  <a:cubicBezTo>
                    <a:pt x="233" y="185"/>
                    <a:pt x="233" y="185"/>
                    <a:pt x="233" y="185"/>
                  </a:cubicBezTo>
                  <a:cubicBezTo>
                    <a:pt x="233" y="185"/>
                    <a:pt x="226" y="186"/>
                    <a:pt x="232" y="191"/>
                  </a:cubicBezTo>
                  <a:cubicBezTo>
                    <a:pt x="237" y="196"/>
                    <a:pt x="258" y="218"/>
                    <a:pt x="258" y="218"/>
                  </a:cubicBezTo>
                  <a:cubicBezTo>
                    <a:pt x="259" y="219"/>
                    <a:pt x="260" y="220"/>
                    <a:pt x="259" y="222"/>
                  </a:cubicBezTo>
                  <a:cubicBezTo>
                    <a:pt x="251" y="252"/>
                    <a:pt x="251" y="252"/>
                    <a:pt x="251" y="252"/>
                  </a:cubicBezTo>
                  <a:cubicBezTo>
                    <a:pt x="251" y="253"/>
                    <a:pt x="250" y="254"/>
                    <a:pt x="249" y="254"/>
                  </a:cubicBezTo>
                  <a:cubicBezTo>
                    <a:pt x="219" y="262"/>
                    <a:pt x="219" y="262"/>
                    <a:pt x="219" y="262"/>
                  </a:cubicBezTo>
                  <a:cubicBezTo>
                    <a:pt x="217" y="263"/>
                    <a:pt x="216" y="262"/>
                    <a:pt x="215" y="261"/>
                  </a:cubicBezTo>
                  <a:cubicBezTo>
                    <a:pt x="215" y="261"/>
                    <a:pt x="193" y="239"/>
                    <a:pt x="188" y="235"/>
                  </a:cubicBezTo>
                  <a:cubicBezTo>
                    <a:pt x="183" y="230"/>
                    <a:pt x="182" y="236"/>
                    <a:pt x="182" y="236"/>
                  </a:cubicBezTo>
                  <a:cubicBezTo>
                    <a:pt x="176" y="256"/>
                    <a:pt x="176" y="256"/>
                    <a:pt x="176" y="256"/>
                  </a:cubicBezTo>
                  <a:cubicBezTo>
                    <a:pt x="176" y="258"/>
                    <a:pt x="176" y="261"/>
                    <a:pt x="178" y="263"/>
                  </a:cubicBezTo>
                  <a:cubicBezTo>
                    <a:pt x="219" y="304"/>
                    <a:pt x="219" y="304"/>
                    <a:pt x="219" y="304"/>
                  </a:cubicBezTo>
                  <a:cubicBezTo>
                    <a:pt x="221" y="306"/>
                    <a:pt x="224" y="306"/>
                    <a:pt x="226" y="306"/>
                  </a:cubicBezTo>
                  <a:cubicBezTo>
                    <a:pt x="249" y="300"/>
                    <a:pt x="249" y="300"/>
                    <a:pt x="249" y="300"/>
                  </a:cubicBezTo>
                  <a:cubicBezTo>
                    <a:pt x="249" y="300"/>
                    <a:pt x="252" y="299"/>
                    <a:pt x="255" y="302"/>
                  </a:cubicBezTo>
                  <a:cubicBezTo>
                    <a:pt x="282" y="329"/>
                    <a:pt x="282" y="329"/>
                    <a:pt x="282" y="329"/>
                  </a:cubicBezTo>
                  <a:cubicBezTo>
                    <a:pt x="286" y="333"/>
                    <a:pt x="285" y="336"/>
                    <a:pt x="282" y="338"/>
                  </a:cubicBezTo>
                  <a:cubicBezTo>
                    <a:pt x="255" y="354"/>
                    <a:pt x="224" y="364"/>
                    <a:pt x="190" y="364"/>
                  </a:cubicBezTo>
                  <a:cubicBezTo>
                    <a:pt x="142" y="364"/>
                    <a:pt x="99" y="345"/>
                    <a:pt x="67" y="313"/>
                  </a:cubicBezTo>
                  <a:cubicBezTo>
                    <a:pt x="36" y="282"/>
                    <a:pt x="17" y="238"/>
                    <a:pt x="16" y="190"/>
                  </a:cubicBezTo>
                  <a:cubicBezTo>
                    <a:pt x="17" y="142"/>
                    <a:pt x="36" y="99"/>
                    <a:pt x="67" y="67"/>
                  </a:cubicBezTo>
                  <a:cubicBezTo>
                    <a:pt x="99" y="36"/>
                    <a:pt x="142" y="16"/>
                    <a:pt x="190" y="16"/>
                  </a:cubicBezTo>
                  <a:cubicBezTo>
                    <a:pt x="233" y="16"/>
                    <a:pt x="272" y="32"/>
                    <a:pt x="302" y="57"/>
                  </a:cubicBezTo>
                  <a:cubicBezTo>
                    <a:pt x="305" y="60"/>
                    <a:pt x="310" y="59"/>
                    <a:pt x="313" y="56"/>
                  </a:cubicBezTo>
                  <a:cubicBezTo>
                    <a:pt x="316" y="53"/>
                    <a:pt x="316" y="48"/>
                    <a:pt x="312" y="45"/>
                  </a:cubicBezTo>
                  <a:cubicBezTo>
                    <a:pt x="312" y="45"/>
                    <a:pt x="312" y="45"/>
                    <a:pt x="312" y="45"/>
                  </a:cubicBezTo>
                  <a:cubicBezTo>
                    <a:pt x="279" y="17"/>
                    <a:pt x="237" y="0"/>
                    <a:pt x="190" y="0"/>
                  </a:cubicBezTo>
                  <a:cubicBezTo>
                    <a:pt x="85" y="0"/>
                    <a:pt x="1" y="85"/>
                    <a:pt x="0" y="190"/>
                  </a:cubicBezTo>
                  <a:cubicBezTo>
                    <a:pt x="1" y="295"/>
                    <a:pt x="85" y="380"/>
                    <a:pt x="190" y="380"/>
                  </a:cubicBezTo>
                  <a:cubicBezTo>
                    <a:pt x="224" y="380"/>
                    <a:pt x="255" y="371"/>
                    <a:pt x="282" y="356"/>
                  </a:cubicBezTo>
                  <a:cubicBezTo>
                    <a:pt x="283" y="356"/>
                    <a:pt x="283" y="356"/>
                    <a:pt x="283" y="356"/>
                  </a:cubicBezTo>
                  <a:cubicBezTo>
                    <a:pt x="284" y="355"/>
                    <a:pt x="284" y="355"/>
                    <a:pt x="284" y="355"/>
                  </a:cubicBezTo>
                  <a:cubicBezTo>
                    <a:pt x="341" y="323"/>
                    <a:pt x="380" y="261"/>
                    <a:pt x="380" y="190"/>
                  </a:cubicBezTo>
                  <a:cubicBezTo>
                    <a:pt x="380" y="144"/>
                    <a:pt x="364" y="101"/>
                    <a:pt x="336" y="68"/>
                  </a:cubicBezTo>
                  <a:close/>
                </a:path>
              </a:pathLst>
            </a:custGeom>
            <a:blipFill dpi="0" rotWithShape="0">
              <a:blip r:embed="rId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693" name="Text Box 14"/>
            <p:cNvSpPr txBox="1">
              <a:spLocks noChangeArrowheads="1"/>
            </p:cNvSpPr>
            <p:nvPr/>
          </p:nvSpPr>
          <p:spPr bwMode="auto">
            <a:xfrm>
              <a:off x="5255" y="3363"/>
              <a:ext cx="911" cy="2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E4275"/>
                  </a:solidFill>
                </a14:hiddenFill>
              </a:ext>
              <a:ext uri="{91240B29-F687-4F45-9708-019B960494DF}">
                <a14:hiddenLine xmlns:a14="http://schemas.microsoft.com/office/drawing/2010/main" w="38100" algn="ctr">
                  <a:solidFill>
                    <a:srgbClr val="E32119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rIns="0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sv-SE" sz="1800">
                  <a:solidFill>
                    <a:srgbClr val="E32119"/>
                  </a:solidFill>
                </a:rPr>
                <a:t>Operations</a:t>
              </a:r>
              <a:endParaRPr lang="en-US" sz="1000">
                <a:solidFill>
                  <a:srgbClr val="E32119"/>
                </a:solidFill>
              </a:endParaRPr>
            </a:p>
          </p:txBody>
        </p:sp>
      </p:grpSp>
      <p:grpSp>
        <p:nvGrpSpPr>
          <p:cNvPr id="27655" name="Group 15"/>
          <p:cNvGrpSpPr>
            <a:grpSpLocks/>
          </p:cNvGrpSpPr>
          <p:nvPr/>
        </p:nvGrpSpPr>
        <p:grpSpPr bwMode="auto">
          <a:xfrm>
            <a:off x="5647255" y="1413706"/>
            <a:ext cx="6316133" cy="862013"/>
            <a:chOff x="-197" y="797"/>
            <a:chExt cx="3576" cy="533"/>
          </a:xfrm>
        </p:grpSpPr>
        <p:sp>
          <p:nvSpPr>
            <p:cNvPr id="27683" name="Rectangle 16" descr="bpct-blend3"/>
            <p:cNvSpPr>
              <a:spLocks noChangeArrowheads="1"/>
            </p:cNvSpPr>
            <p:nvPr/>
          </p:nvSpPr>
          <p:spPr bwMode="auto">
            <a:xfrm flipH="1">
              <a:off x="-197" y="843"/>
              <a:ext cx="3536" cy="389"/>
            </a:xfrm>
            <a:prstGeom prst="rect">
              <a:avLst/>
            </a:prstGeom>
            <a:blipFill dpi="0" rotWithShape="0">
              <a:blip r:embed="rId3"/>
              <a:srcRect/>
              <a:stretch>
                <a:fillRect/>
              </a:stretch>
            </a:blip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8575" cap="rnd" algn="ctr">
                  <a:solidFill>
                    <a:srgbClr val="58585A"/>
                  </a:solidFill>
                  <a:prstDash val="sysDot"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rIns="72000" anchor="ctr"/>
            <a:lstStyle/>
            <a:p>
              <a:pPr algn="ctr"/>
              <a:r>
                <a:rPr lang="en-US">
                  <a:solidFill>
                    <a:srgbClr val="FFFFFF"/>
                  </a:solidFill>
                  <a:latin typeface="Ericsson Capital TT" pitchFamily="2" charset="0"/>
                </a:rPr>
                <a:t>Cloud Business drivers</a:t>
              </a:r>
            </a:p>
          </p:txBody>
        </p:sp>
        <p:sp>
          <p:nvSpPr>
            <p:cNvPr id="27684" name="Freeform 17"/>
            <p:cNvSpPr>
              <a:spLocks noChangeAspect="1"/>
            </p:cNvSpPr>
            <p:nvPr/>
          </p:nvSpPr>
          <p:spPr bwMode="auto">
            <a:xfrm>
              <a:off x="-139" y="862"/>
              <a:ext cx="278" cy="174"/>
            </a:xfrm>
            <a:custGeom>
              <a:avLst/>
              <a:gdLst>
                <a:gd name="T0" fmla="*/ 266 w 474"/>
                <a:gd name="T1" fmla="*/ 107 h 295"/>
                <a:gd name="T2" fmla="*/ 273 w 474"/>
                <a:gd name="T3" fmla="*/ 80 h 295"/>
                <a:gd name="T4" fmla="*/ 253 w 474"/>
                <a:gd name="T5" fmla="*/ 36 h 295"/>
                <a:gd name="T6" fmla="*/ 246 w 474"/>
                <a:gd name="T7" fmla="*/ 37 h 295"/>
                <a:gd name="T8" fmla="*/ 248 w 474"/>
                <a:gd name="T9" fmla="*/ 44 h 295"/>
                <a:gd name="T10" fmla="*/ 248 w 474"/>
                <a:gd name="T11" fmla="*/ 44 h 295"/>
                <a:gd name="T12" fmla="*/ 264 w 474"/>
                <a:gd name="T13" fmla="*/ 80 h 295"/>
                <a:gd name="T14" fmla="*/ 256 w 474"/>
                <a:gd name="T15" fmla="*/ 106 h 295"/>
                <a:gd name="T16" fmla="*/ 257 w 474"/>
                <a:gd name="T17" fmla="*/ 111 h 295"/>
                <a:gd name="T18" fmla="*/ 269 w 474"/>
                <a:gd name="T19" fmla="*/ 136 h 295"/>
                <a:gd name="T20" fmla="*/ 261 w 474"/>
                <a:gd name="T21" fmla="*/ 155 h 295"/>
                <a:gd name="T22" fmla="*/ 240 w 474"/>
                <a:gd name="T23" fmla="*/ 165 h 295"/>
                <a:gd name="T24" fmla="*/ 205 w 474"/>
                <a:gd name="T25" fmla="*/ 165 h 295"/>
                <a:gd name="T26" fmla="*/ 43 w 474"/>
                <a:gd name="T27" fmla="*/ 165 h 295"/>
                <a:gd name="T28" fmla="*/ 19 w 474"/>
                <a:gd name="T29" fmla="*/ 151 h 295"/>
                <a:gd name="T30" fmla="*/ 9 w 474"/>
                <a:gd name="T31" fmla="*/ 123 h 295"/>
                <a:gd name="T32" fmla="*/ 45 w 474"/>
                <a:gd name="T33" fmla="*/ 79 h 295"/>
                <a:gd name="T34" fmla="*/ 49 w 474"/>
                <a:gd name="T35" fmla="*/ 75 h 295"/>
                <a:gd name="T36" fmla="*/ 121 w 474"/>
                <a:gd name="T37" fmla="*/ 9 h 295"/>
                <a:gd name="T38" fmla="*/ 179 w 474"/>
                <a:gd name="T39" fmla="*/ 39 h 295"/>
                <a:gd name="T40" fmla="*/ 185 w 474"/>
                <a:gd name="T41" fmla="*/ 40 h 295"/>
                <a:gd name="T42" fmla="*/ 214 w 474"/>
                <a:gd name="T43" fmla="*/ 31 h 295"/>
                <a:gd name="T44" fmla="*/ 232 w 474"/>
                <a:gd name="T45" fmla="*/ 34 h 295"/>
                <a:gd name="T46" fmla="*/ 232 w 474"/>
                <a:gd name="T47" fmla="*/ 34 h 295"/>
                <a:gd name="T48" fmla="*/ 238 w 474"/>
                <a:gd name="T49" fmla="*/ 32 h 295"/>
                <a:gd name="T50" fmla="*/ 239 w 474"/>
                <a:gd name="T51" fmla="*/ 29 h 295"/>
                <a:gd name="T52" fmla="*/ 236 w 474"/>
                <a:gd name="T53" fmla="*/ 25 h 295"/>
                <a:gd name="T54" fmla="*/ 214 w 474"/>
                <a:gd name="T55" fmla="*/ 21 h 295"/>
                <a:gd name="T56" fmla="*/ 184 w 474"/>
                <a:gd name="T57" fmla="*/ 30 h 295"/>
                <a:gd name="T58" fmla="*/ 121 w 474"/>
                <a:gd name="T59" fmla="*/ 0 h 295"/>
                <a:gd name="T60" fmla="*/ 40 w 474"/>
                <a:gd name="T61" fmla="*/ 71 h 295"/>
                <a:gd name="T62" fmla="*/ 0 w 474"/>
                <a:gd name="T63" fmla="*/ 123 h 295"/>
                <a:gd name="T64" fmla="*/ 12 w 474"/>
                <a:gd name="T65" fmla="*/ 157 h 295"/>
                <a:gd name="T66" fmla="*/ 43 w 474"/>
                <a:gd name="T67" fmla="*/ 174 h 295"/>
                <a:gd name="T68" fmla="*/ 205 w 474"/>
                <a:gd name="T69" fmla="*/ 174 h 295"/>
                <a:gd name="T70" fmla="*/ 206 w 474"/>
                <a:gd name="T71" fmla="*/ 174 h 295"/>
                <a:gd name="T72" fmla="*/ 224 w 474"/>
                <a:gd name="T73" fmla="*/ 174 h 295"/>
                <a:gd name="T74" fmla="*/ 224 w 474"/>
                <a:gd name="T75" fmla="*/ 174 h 295"/>
                <a:gd name="T76" fmla="*/ 224 w 474"/>
                <a:gd name="T77" fmla="*/ 174 h 295"/>
                <a:gd name="T78" fmla="*/ 240 w 474"/>
                <a:gd name="T79" fmla="*/ 174 h 295"/>
                <a:gd name="T80" fmla="*/ 268 w 474"/>
                <a:gd name="T81" fmla="*/ 161 h 295"/>
                <a:gd name="T82" fmla="*/ 278 w 474"/>
                <a:gd name="T83" fmla="*/ 136 h 295"/>
                <a:gd name="T84" fmla="*/ 266 w 474"/>
                <a:gd name="T85" fmla="*/ 107 h 29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474" h="295">
                  <a:moveTo>
                    <a:pt x="454" y="182"/>
                  </a:moveTo>
                  <a:cubicBezTo>
                    <a:pt x="461" y="168"/>
                    <a:pt x="466" y="153"/>
                    <a:pt x="466" y="136"/>
                  </a:cubicBezTo>
                  <a:cubicBezTo>
                    <a:pt x="466" y="106"/>
                    <a:pt x="452" y="80"/>
                    <a:pt x="432" y="61"/>
                  </a:cubicBezTo>
                  <a:cubicBezTo>
                    <a:pt x="428" y="58"/>
                    <a:pt x="423" y="59"/>
                    <a:pt x="420" y="63"/>
                  </a:cubicBezTo>
                  <a:cubicBezTo>
                    <a:pt x="418" y="66"/>
                    <a:pt x="418" y="71"/>
                    <a:pt x="422" y="74"/>
                  </a:cubicBezTo>
                  <a:cubicBezTo>
                    <a:pt x="422" y="74"/>
                    <a:pt x="422" y="74"/>
                    <a:pt x="422" y="74"/>
                  </a:cubicBezTo>
                  <a:cubicBezTo>
                    <a:pt x="439" y="90"/>
                    <a:pt x="450" y="112"/>
                    <a:pt x="450" y="136"/>
                  </a:cubicBezTo>
                  <a:cubicBezTo>
                    <a:pt x="450" y="152"/>
                    <a:pt x="445" y="167"/>
                    <a:pt x="437" y="179"/>
                  </a:cubicBezTo>
                  <a:cubicBezTo>
                    <a:pt x="435" y="183"/>
                    <a:pt x="436" y="187"/>
                    <a:pt x="439" y="189"/>
                  </a:cubicBezTo>
                  <a:cubicBezTo>
                    <a:pt x="450" y="200"/>
                    <a:pt x="458" y="214"/>
                    <a:pt x="458" y="230"/>
                  </a:cubicBezTo>
                  <a:cubicBezTo>
                    <a:pt x="458" y="240"/>
                    <a:pt x="453" y="253"/>
                    <a:pt x="445" y="262"/>
                  </a:cubicBezTo>
                  <a:cubicBezTo>
                    <a:pt x="436" y="272"/>
                    <a:pt x="424" y="279"/>
                    <a:pt x="410" y="279"/>
                  </a:cubicBezTo>
                  <a:cubicBezTo>
                    <a:pt x="350" y="279"/>
                    <a:pt x="350" y="279"/>
                    <a:pt x="350" y="279"/>
                  </a:cubicBezTo>
                  <a:cubicBezTo>
                    <a:pt x="74" y="279"/>
                    <a:pt x="74" y="279"/>
                    <a:pt x="74" y="279"/>
                  </a:cubicBezTo>
                  <a:cubicBezTo>
                    <a:pt x="58" y="279"/>
                    <a:pt x="44" y="270"/>
                    <a:pt x="33" y="256"/>
                  </a:cubicBezTo>
                  <a:cubicBezTo>
                    <a:pt x="22" y="243"/>
                    <a:pt x="16" y="225"/>
                    <a:pt x="16" y="209"/>
                  </a:cubicBezTo>
                  <a:cubicBezTo>
                    <a:pt x="16" y="172"/>
                    <a:pt x="42" y="141"/>
                    <a:pt x="77" y="134"/>
                  </a:cubicBezTo>
                  <a:cubicBezTo>
                    <a:pt x="81" y="133"/>
                    <a:pt x="83" y="130"/>
                    <a:pt x="84" y="127"/>
                  </a:cubicBezTo>
                  <a:cubicBezTo>
                    <a:pt x="90" y="65"/>
                    <a:pt x="142" y="16"/>
                    <a:pt x="206" y="16"/>
                  </a:cubicBezTo>
                  <a:cubicBezTo>
                    <a:pt x="247" y="16"/>
                    <a:pt x="282" y="36"/>
                    <a:pt x="305" y="66"/>
                  </a:cubicBezTo>
                  <a:cubicBezTo>
                    <a:pt x="308" y="70"/>
                    <a:pt x="313" y="70"/>
                    <a:pt x="316" y="68"/>
                  </a:cubicBezTo>
                  <a:cubicBezTo>
                    <a:pt x="330" y="58"/>
                    <a:pt x="347" y="52"/>
                    <a:pt x="365" y="52"/>
                  </a:cubicBezTo>
                  <a:cubicBezTo>
                    <a:pt x="376" y="52"/>
                    <a:pt x="386" y="54"/>
                    <a:pt x="395" y="57"/>
                  </a:cubicBezTo>
                  <a:cubicBezTo>
                    <a:pt x="395" y="57"/>
                    <a:pt x="396" y="58"/>
                    <a:pt x="396" y="58"/>
                  </a:cubicBezTo>
                  <a:cubicBezTo>
                    <a:pt x="400" y="59"/>
                    <a:pt x="405" y="58"/>
                    <a:pt x="406" y="54"/>
                  </a:cubicBezTo>
                  <a:cubicBezTo>
                    <a:pt x="407" y="52"/>
                    <a:pt x="407" y="51"/>
                    <a:pt x="407" y="49"/>
                  </a:cubicBezTo>
                  <a:cubicBezTo>
                    <a:pt x="407" y="47"/>
                    <a:pt x="405" y="44"/>
                    <a:pt x="403" y="43"/>
                  </a:cubicBezTo>
                  <a:cubicBezTo>
                    <a:pt x="391" y="38"/>
                    <a:pt x="378" y="36"/>
                    <a:pt x="365" y="36"/>
                  </a:cubicBezTo>
                  <a:cubicBezTo>
                    <a:pt x="346" y="36"/>
                    <a:pt x="328" y="41"/>
                    <a:pt x="313" y="51"/>
                  </a:cubicBezTo>
                  <a:cubicBezTo>
                    <a:pt x="288" y="20"/>
                    <a:pt x="249" y="0"/>
                    <a:pt x="206" y="0"/>
                  </a:cubicBezTo>
                  <a:cubicBezTo>
                    <a:pt x="136" y="0"/>
                    <a:pt x="78" y="52"/>
                    <a:pt x="68" y="120"/>
                  </a:cubicBezTo>
                  <a:cubicBezTo>
                    <a:pt x="29" y="130"/>
                    <a:pt x="0" y="166"/>
                    <a:pt x="0" y="209"/>
                  </a:cubicBezTo>
                  <a:cubicBezTo>
                    <a:pt x="0" y="229"/>
                    <a:pt x="7" y="250"/>
                    <a:pt x="20" y="266"/>
                  </a:cubicBezTo>
                  <a:cubicBezTo>
                    <a:pt x="33" y="283"/>
                    <a:pt x="52" y="295"/>
                    <a:pt x="74" y="295"/>
                  </a:cubicBezTo>
                  <a:cubicBezTo>
                    <a:pt x="350" y="295"/>
                    <a:pt x="350" y="295"/>
                    <a:pt x="350" y="295"/>
                  </a:cubicBezTo>
                  <a:cubicBezTo>
                    <a:pt x="350" y="295"/>
                    <a:pt x="351" y="295"/>
                    <a:pt x="351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410" y="295"/>
                    <a:pt x="410" y="295"/>
                    <a:pt x="410" y="295"/>
                  </a:cubicBezTo>
                  <a:cubicBezTo>
                    <a:pt x="430" y="295"/>
                    <a:pt x="446" y="286"/>
                    <a:pt x="457" y="273"/>
                  </a:cubicBezTo>
                  <a:cubicBezTo>
                    <a:pt x="468" y="260"/>
                    <a:pt x="474" y="244"/>
                    <a:pt x="474" y="230"/>
                  </a:cubicBezTo>
                  <a:cubicBezTo>
                    <a:pt x="474" y="211"/>
                    <a:pt x="466" y="194"/>
                    <a:pt x="454" y="182"/>
                  </a:cubicBezTo>
                  <a:close/>
                </a:path>
              </a:pathLst>
            </a:custGeom>
            <a:solidFill>
              <a:srgbClr val="FFFFFF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685" name="Freeform 18"/>
            <p:cNvSpPr>
              <a:spLocks noChangeAspect="1"/>
            </p:cNvSpPr>
            <p:nvPr/>
          </p:nvSpPr>
          <p:spPr bwMode="auto">
            <a:xfrm>
              <a:off x="173" y="917"/>
              <a:ext cx="471" cy="294"/>
            </a:xfrm>
            <a:custGeom>
              <a:avLst/>
              <a:gdLst>
                <a:gd name="T0" fmla="*/ 451 w 474"/>
                <a:gd name="T1" fmla="*/ 181 h 295"/>
                <a:gd name="T2" fmla="*/ 463 w 474"/>
                <a:gd name="T3" fmla="*/ 136 h 295"/>
                <a:gd name="T4" fmla="*/ 429 w 474"/>
                <a:gd name="T5" fmla="*/ 61 h 295"/>
                <a:gd name="T6" fmla="*/ 417 w 474"/>
                <a:gd name="T7" fmla="*/ 63 h 295"/>
                <a:gd name="T8" fmla="*/ 419 w 474"/>
                <a:gd name="T9" fmla="*/ 74 h 295"/>
                <a:gd name="T10" fmla="*/ 419 w 474"/>
                <a:gd name="T11" fmla="*/ 74 h 295"/>
                <a:gd name="T12" fmla="*/ 447 w 474"/>
                <a:gd name="T13" fmla="*/ 136 h 295"/>
                <a:gd name="T14" fmla="*/ 434 w 474"/>
                <a:gd name="T15" fmla="*/ 178 h 295"/>
                <a:gd name="T16" fmla="*/ 436 w 474"/>
                <a:gd name="T17" fmla="*/ 188 h 295"/>
                <a:gd name="T18" fmla="*/ 455 w 474"/>
                <a:gd name="T19" fmla="*/ 229 h 295"/>
                <a:gd name="T20" fmla="*/ 442 w 474"/>
                <a:gd name="T21" fmla="*/ 261 h 295"/>
                <a:gd name="T22" fmla="*/ 407 w 474"/>
                <a:gd name="T23" fmla="*/ 278 h 295"/>
                <a:gd name="T24" fmla="*/ 348 w 474"/>
                <a:gd name="T25" fmla="*/ 278 h 295"/>
                <a:gd name="T26" fmla="*/ 74 w 474"/>
                <a:gd name="T27" fmla="*/ 278 h 295"/>
                <a:gd name="T28" fmla="*/ 33 w 474"/>
                <a:gd name="T29" fmla="*/ 255 h 295"/>
                <a:gd name="T30" fmla="*/ 16 w 474"/>
                <a:gd name="T31" fmla="*/ 208 h 295"/>
                <a:gd name="T32" fmla="*/ 77 w 474"/>
                <a:gd name="T33" fmla="*/ 134 h 295"/>
                <a:gd name="T34" fmla="*/ 83 w 474"/>
                <a:gd name="T35" fmla="*/ 127 h 295"/>
                <a:gd name="T36" fmla="*/ 205 w 474"/>
                <a:gd name="T37" fmla="*/ 16 h 295"/>
                <a:gd name="T38" fmla="*/ 303 w 474"/>
                <a:gd name="T39" fmla="*/ 66 h 295"/>
                <a:gd name="T40" fmla="*/ 314 w 474"/>
                <a:gd name="T41" fmla="*/ 68 h 295"/>
                <a:gd name="T42" fmla="*/ 363 w 474"/>
                <a:gd name="T43" fmla="*/ 52 h 295"/>
                <a:gd name="T44" fmla="*/ 393 w 474"/>
                <a:gd name="T45" fmla="*/ 57 h 295"/>
                <a:gd name="T46" fmla="*/ 393 w 474"/>
                <a:gd name="T47" fmla="*/ 58 h 295"/>
                <a:gd name="T48" fmla="*/ 403 w 474"/>
                <a:gd name="T49" fmla="*/ 54 h 295"/>
                <a:gd name="T50" fmla="*/ 404 w 474"/>
                <a:gd name="T51" fmla="*/ 49 h 295"/>
                <a:gd name="T52" fmla="*/ 400 w 474"/>
                <a:gd name="T53" fmla="*/ 43 h 295"/>
                <a:gd name="T54" fmla="*/ 363 w 474"/>
                <a:gd name="T55" fmla="*/ 36 h 295"/>
                <a:gd name="T56" fmla="*/ 311 w 474"/>
                <a:gd name="T57" fmla="*/ 51 h 295"/>
                <a:gd name="T58" fmla="*/ 205 w 474"/>
                <a:gd name="T59" fmla="*/ 0 h 295"/>
                <a:gd name="T60" fmla="*/ 68 w 474"/>
                <a:gd name="T61" fmla="*/ 120 h 295"/>
                <a:gd name="T62" fmla="*/ 0 w 474"/>
                <a:gd name="T63" fmla="*/ 208 h 295"/>
                <a:gd name="T64" fmla="*/ 20 w 474"/>
                <a:gd name="T65" fmla="*/ 265 h 295"/>
                <a:gd name="T66" fmla="*/ 74 w 474"/>
                <a:gd name="T67" fmla="*/ 294 h 295"/>
                <a:gd name="T68" fmla="*/ 348 w 474"/>
                <a:gd name="T69" fmla="*/ 294 h 295"/>
                <a:gd name="T70" fmla="*/ 349 w 474"/>
                <a:gd name="T71" fmla="*/ 294 h 295"/>
                <a:gd name="T72" fmla="*/ 380 w 474"/>
                <a:gd name="T73" fmla="*/ 294 h 295"/>
                <a:gd name="T74" fmla="*/ 380 w 474"/>
                <a:gd name="T75" fmla="*/ 294 h 295"/>
                <a:gd name="T76" fmla="*/ 380 w 474"/>
                <a:gd name="T77" fmla="*/ 294 h 295"/>
                <a:gd name="T78" fmla="*/ 407 w 474"/>
                <a:gd name="T79" fmla="*/ 294 h 295"/>
                <a:gd name="T80" fmla="*/ 454 w 474"/>
                <a:gd name="T81" fmla="*/ 272 h 295"/>
                <a:gd name="T82" fmla="*/ 471 w 474"/>
                <a:gd name="T83" fmla="*/ 229 h 295"/>
                <a:gd name="T84" fmla="*/ 451 w 474"/>
                <a:gd name="T85" fmla="*/ 181 h 29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474" h="295">
                  <a:moveTo>
                    <a:pt x="454" y="182"/>
                  </a:moveTo>
                  <a:cubicBezTo>
                    <a:pt x="461" y="168"/>
                    <a:pt x="466" y="153"/>
                    <a:pt x="466" y="136"/>
                  </a:cubicBezTo>
                  <a:cubicBezTo>
                    <a:pt x="466" y="106"/>
                    <a:pt x="452" y="80"/>
                    <a:pt x="432" y="61"/>
                  </a:cubicBezTo>
                  <a:cubicBezTo>
                    <a:pt x="428" y="58"/>
                    <a:pt x="423" y="59"/>
                    <a:pt x="420" y="63"/>
                  </a:cubicBezTo>
                  <a:cubicBezTo>
                    <a:pt x="418" y="66"/>
                    <a:pt x="418" y="71"/>
                    <a:pt x="422" y="74"/>
                  </a:cubicBezTo>
                  <a:cubicBezTo>
                    <a:pt x="422" y="74"/>
                    <a:pt x="422" y="74"/>
                    <a:pt x="422" y="74"/>
                  </a:cubicBezTo>
                  <a:cubicBezTo>
                    <a:pt x="439" y="90"/>
                    <a:pt x="450" y="112"/>
                    <a:pt x="450" y="136"/>
                  </a:cubicBezTo>
                  <a:cubicBezTo>
                    <a:pt x="450" y="152"/>
                    <a:pt x="445" y="167"/>
                    <a:pt x="437" y="179"/>
                  </a:cubicBezTo>
                  <a:cubicBezTo>
                    <a:pt x="435" y="183"/>
                    <a:pt x="436" y="187"/>
                    <a:pt x="439" y="189"/>
                  </a:cubicBezTo>
                  <a:cubicBezTo>
                    <a:pt x="450" y="200"/>
                    <a:pt x="458" y="214"/>
                    <a:pt x="458" y="230"/>
                  </a:cubicBezTo>
                  <a:cubicBezTo>
                    <a:pt x="458" y="240"/>
                    <a:pt x="453" y="253"/>
                    <a:pt x="445" y="262"/>
                  </a:cubicBezTo>
                  <a:cubicBezTo>
                    <a:pt x="436" y="272"/>
                    <a:pt x="424" y="279"/>
                    <a:pt x="410" y="279"/>
                  </a:cubicBezTo>
                  <a:cubicBezTo>
                    <a:pt x="350" y="279"/>
                    <a:pt x="350" y="279"/>
                    <a:pt x="350" y="279"/>
                  </a:cubicBezTo>
                  <a:cubicBezTo>
                    <a:pt x="74" y="279"/>
                    <a:pt x="74" y="279"/>
                    <a:pt x="74" y="279"/>
                  </a:cubicBezTo>
                  <a:cubicBezTo>
                    <a:pt x="58" y="279"/>
                    <a:pt x="44" y="270"/>
                    <a:pt x="33" y="256"/>
                  </a:cubicBezTo>
                  <a:cubicBezTo>
                    <a:pt x="22" y="243"/>
                    <a:pt x="16" y="225"/>
                    <a:pt x="16" y="209"/>
                  </a:cubicBezTo>
                  <a:cubicBezTo>
                    <a:pt x="16" y="172"/>
                    <a:pt x="42" y="141"/>
                    <a:pt x="77" y="134"/>
                  </a:cubicBezTo>
                  <a:cubicBezTo>
                    <a:pt x="81" y="133"/>
                    <a:pt x="83" y="130"/>
                    <a:pt x="84" y="127"/>
                  </a:cubicBezTo>
                  <a:cubicBezTo>
                    <a:pt x="90" y="65"/>
                    <a:pt x="142" y="16"/>
                    <a:pt x="206" y="16"/>
                  </a:cubicBezTo>
                  <a:cubicBezTo>
                    <a:pt x="247" y="16"/>
                    <a:pt x="282" y="36"/>
                    <a:pt x="305" y="66"/>
                  </a:cubicBezTo>
                  <a:cubicBezTo>
                    <a:pt x="308" y="70"/>
                    <a:pt x="313" y="70"/>
                    <a:pt x="316" y="68"/>
                  </a:cubicBezTo>
                  <a:cubicBezTo>
                    <a:pt x="330" y="58"/>
                    <a:pt x="347" y="52"/>
                    <a:pt x="365" y="52"/>
                  </a:cubicBezTo>
                  <a:cubicBezTo>
                    <a:pt x="376" y="52"/>
                    <a:pt x="386" y="54"/>
                    <a:pt x="395" y="57"/>
                  </a:cubicBezTo>
                  <a:cubicBezTo>
                    <a:pt x="395" y="57"/>
                    <a:pt x="396" y="58"/>
                    <a:pt x="396" y="58"/>
                  </a:cubicBezTo>
                  <a:cubicBezTo>
                    <a:pt x="400" y="59"/>
                    <a:pt x="405" y="58"/>
                    <a:pt x="406" y="54"/>
                  </a:cubicBezTo>
                  <a:cubicBezTo>
                    <a:pt x="407" y="52"/>
                    <a:pt x="407" y="51"/>
                    <a:pt x="407" y="49"/>
                  </a:cubicBezTo>
                  <a:cubicBezTo>
                    <a:pt x="407" y="47"/>
                    <a:pt x="405" y="44"/>
                    <a:pt x="403" y="43"/>
                  </a:cubicBezTo>
                  <a:cubicBezTo>
                    <a:pt x="391" y="38"/>
                    <a:pt x="378" y="36"/>
                    <a:pt x="365" y="36"/>
                  </a:cubicBezTo>
                  <a:cubicBezTo>
                    <a:pt x="346" y="36"/>
                    <a:pt x="328" y="41"/>
                    <a:pt x="313" y="51"/>
                  </a:cubicBezTo>
                  <a:cubicBezTo>
                    <a:pt x="288" y="20"/>
                    <a:pt x="249" y="0"/>
                    <a:pt x="206" y="0"/>
                  </a:cubicBezTo>
                  <a:cubicBezTo>
                    <a:pt x="136" y="0"/>
                    <a:pt x="78" y="52"/>
                    <a:pt x="68" y="120"/>
                  </a:cubicBezTo>
                  <a:cubicBezTo>
                    <a:pt x="29" y="130"/>
                    <a:pt x="0" y="166"/>
                    <a:pt x="0" y="209"/>
                  </a:cubicBezTo>
                  <a:cubicBezTo>
                    <a:pt x="0" y="229"/>
                    <a:pt x="7" y="250"/>
                    <a:pt x="20" y="266"/>
                  </a:cubicBezTo>
                  <a:cubicBezTo>
                    <a:pt x="33" y="283"/>
                    <a:pt x="52" y="295"/>
                    <a:pt x="74" y="295"/>
                  </a:cubicBezTo>
                  <a:cubicBezTo>
                    <a:pt x="350" y="295"/>
                    <a:pt x="350" y="295"/>
                    <a:pt x="350" y="295"/>
                  </a:cubicBezTo>
                  <a:cubicBezTo>
                    <a:pt x="350" y="295"/>
                    <a:pt x="351" y="295"/>
                    <a:pt x="351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410" y="295"/>
                    <a:pt x="410" y="295"/>
                    <a:pt x="410" y="295"/>
                  </a:cubicBezTo>
                  <a:cubicBezTo>
                    <a:pt x="430" y="295"/>
                    <a:pt x="446" y="286"/>
                    <a:pt x="457" y="273"/>
                  </a:cubicBezTo>
                  <a:cubicBezTo>
                    <a:pt x="468" y="260"/>
                    <a:pt x="474" y="244"/>
                    <a:pt x="474" y="230"/>
                  </a:cubicBezTo>
                  <a:cubicBezTo>
                    <a:pt x="474" y="211"/>
                    <a:pt x="466" y="194"/>
                    <a:pt x="454" y="182"/>
                  </a:cubicBezTo>
                  <a:close/>
                </a:path>
              </a:pathLst>
            </a:custGeom>
            <a:solidFill>
              <a:srgbClr val="FFFFFF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686" name="Freeform 19"/>
            <p:cNvSpPr>
              <a:spLocks noChangeAspect="1"/>
            </p:cNvSpPr>
            <p:nvPr/>
          </p:nvSpPr>
          <p:spPr bwMode="auto">
            <a:xfrm>
              <a:off x="3079" y="881"/>
              <a:ext cx="300" cy="187"/>
            </a:xfrm>
            <a:custGeom>
              <a:avLst/>
              <a:gdLst>
                <a:gd name="T0" fmla="*/ 287 w 474"/>
                <a:gd name="T1" fmla="*/ 115 h 295"/>
                <a:gd name="T2" fmla="*/ 295 w 474"/>
                <a:gd name="T3" fmla="*/ 86 h 295"/>
                <a:gd name="T4" fmla="*/ 273 w 474"/>
                <a:gd name="T5" fmla="*/ 39 h 295"/>
                <a:gd name="T6" fmla="*/ 266 w 474"/>
                <a:gd name="T7" fmla="*/ 40 h 295"/>
                <a:gd name="T8" fmla="*/ 267 w 474"/>
                <a:gd name="T9" fmla="*/ 47 h 295"/>
                <a:gd name="T10" fmla="*/ 267 w 474"/>
                <a:gd name="T11" fmla="*/ 47 h 295"/>
                <a:gd name="T12" fmla="*/ 285 w 474"/>
                <a:gd name="T13" fmla="*/ 86 h 295"/>
                <a:gd name="T14" fmla="*/ 277 w 474"/>
                <a:gd name="T15" fmla="*/ 113 h 295"/>
                <a:gd name="T16" fmla="*/ 278 w 474"/>
                <a:gd name="T17" fmla="*/ 120 h 295"/>
                <a:gd name="T18" fmla="*/ 290 w 474"/>
                <a:gd name="T19" fmla="*/ 146 h 295"/>
                <a:gd name="T20" fmla="*/ 282 w 474"/>
                <a:gd name="T21" fmla="*/ 166 h 295"/>
                <a:gd name="T22" fmla="*/ 259 w 474"/>
                <a:gd name="T23" fmla="*/ 177 h 295"/>
                <a:gd name="T24" fmla="*/ 222 w 474"/>
                <a:gd name="T25" fmla="*/ 177 h 295"/>
                <a:gd name="T26" fmla="*/ 47 w 474"/>
                <a:gd name="T27" fmla="*/ 177 h 295"/>
                <a:gd name="T28" fmla="*/ 21 w 474"/>
                <a:gd name="T29" fmla="*/ 162 h 295"/>
                <a:gd name="T30" fmla="*/ 10 w 474"/>
                <a:gd name="T31" fmla="*/ 132 h 295"/>
                <a:gd name="T32" fmla="*/ 49 w 474"/>
                <a:gd name="T33" fmla="*/ 85 h 295"/>
                <a:gd name="T34" fmla="*/ 53 w 474"/>
                <a:gd name="T35" fmla="*/ 81 h 295"/>
                <a:gd name="T36" fmla="*/ 130 w 474"/>
                <a:gd name="T37" fmla="*/ 10 h 295"/>
                <a:gd name="T38" fmla="*/ 193 w 474"/>
                <a:gd name="T39" fmla="*/ 42 h 295"/>
                <a:gd name="T40" fmla="*/ 200 w 474"/>
                <a:gd name="T41" fmla="*/ 43 h 295"/>
                <a:gd name="T42" fmla="*/ 231 w 474"/>
                <a:gd name="T43" fmla="*/ 33 h 295"/>
                <a:gd name="T44" fmla="*/ 250 w 474"/>
                <a:gd name="T45" fmla="*/ 36 h 295"/>
                <a:gd name="T46" fmla="*/ 251 w 474"/>
                <a:gd name="T47" fmla="*/ 37 h 295"/>
                <a:gd name="T48" fmla="*/ 257 w 474"/>
                <a:gd name="T49" fmla="*/ 34 h 295"/>
                <a:gd name="T50" fmla="*/ 258 w 474"/>
                <a:gd name="T51" fmla="*/ 31 h 295"/>
                <a:gd name="T52" fmla="*/ 255 w 474"/>
                <a:gd name="T53" fmla="*/ 27 h 295"/>
                <a:gd name="T54" fmla="*/ 231 w 474"/>
                <a:gd name="T55" fmla="*/ 23 h 295"/>
                <a:gd name="T56" fmla="*/ 198 w 474"/>
                <a:gd name="T57" fmla="*/ 32 h 295"/>
                <a:gd name="T58" fmla="*/ 130 w 474"/>
                <a:gd name="T59" fmla="*/ 0 h 295"/>
                <a:gd name="T60" fmla="*/ 43 w 474"/>
                <a:gd name="T61" fmla="*/ 76 h 295"/>
                <a:gd name="T62" fmla="*/ 0 w 474"/>
                <a:gd name="T63" fmla="*/ 132 h 295"/>
                <a:gd name="T64" fmla="*/ 13 w 474"/>
                <a:gd name="T65" fmla="*/ 169 h 295"/>
                <a:gd name="T66" fmla="*/ 47 w 474"/>
                <a:gd name="T67" fmla="*/ 187 h 295"/>
                <a:gd name="T68" fmla="*/ 222 w 474"/>
                <a:gd name="T69" fmla="*/ 187 h 295"/>
                <a:gd name="T70" fmla="*/ 222 w 474"/>
                <a:gd name="T71" fmla="*/ 187 h 295"/>
                <a:gd name="T72" fmla="*/ 242 w 474"/>
                <a:gd name="T73" fmla="*/ 187 h 295"/>
                <a:gd name="T74" fmla="*/ 242 w 474"/>
                <a:gd name="T75" fmla="*/ 187 h 295"/>
                <a:gd name="T76" fmla="*/ 242 w 474"/>
                <a:gd name="T77" fmla="*/ 187 h 295"/>
                <a:gd name="T78" fmla="*/ 259 w 474"/>
                <a:gd name="T79" fmla="*/ 187 h 295"/>
                <a:gd name="T80" fmla="*/ 289 w 474"/>
                <a:gd name="T81" fmla="*/ 173 h 295"/>
                <a:gd name="T82" fmla="*/ 300 w 474"/>
                <a:gd name="T83" fmla="*/ 146 h 295"/>
                <a:gd name="T84" fmla="*/ 287 w 474"/>
                <a:gd name="T85" fmla="*/ 115 h 29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474" h="295">
                  <a:moveTo>
                    <a:pt x="454" y="182"/>
                  </a:moveTo>
                  <a:cubicBezTo>
                    <a:pt x="461" y="168"/>
                    <a:pt x="466" y="153"/>
                    <a:pt x="466" y="136"/>
                  </a:cubicBezTo>
                  <a:cubicBezTo>
                    <a:pt x="466" y="106"/>
                    <a:pt x="452" y="80"/>
                    <a:pt x="432" y="61"/>
                  </a:cubicBezTo>
                  <a:cubicBezTo>
                    <a:pt x="428" y="58"/>
                    <a:pt x="423" y="59"/>
                    <a:pt x="420" y="63"/>
                  </a:cubicBezTo>
                  <a:cubicBezTo>
                    <a:pt x="418" y="66"/>
                    <a:pt x="418" y="71"/>
                    <a:pt x="422" y="74"/>
                  </a:cubicBezTo>
                  <a:cubicBezTo>
                    <a:pt x="422" y="74"/>
                    <a:pt x="422" y="74"/>
                    <a:pt x="422" y="74"/>
                  </a:cubicBezTo>
                  <a:cubicBezTo>
                    <a:pt x="439" y="90"/>
                    <a:pt x="450" y="112"/>
                    <a:pt x="450" y="136"/>
                  </a:cubicBezTo>
                  <a:cubicBezTo>
                    <a:pt x="450" y="152"/>
                    <a:pt x="445" y="167"/>
                    <a:pt x="437" y="179"/>
                  </a:cubicBezTo>
                  <a:cubicBezTo>
                    <a:pt x="435" y="183"/>
                    <a:pt x="436" y="187"/>
                    <a:pt x="439" y="189"/>
                  </a:cubicBezTo>
                  <a:cubicBezTo>
                    <a:pt x="450" y="200"/>
                    <a:pt x="458" y="214"/>
                    <a:pt x="458" y="230"/>
                  </a:cubicBezTo>
                  <a:cubicBezTo>
                    <a:pt x="458" y="240"/>
                    <a:pt x="453" y="253"/>
                    <a:pt x="445" y="262"/>
                  </a:cubicBezTo>
                  <a:cubicBezTo>
                    <a:pt x="436" y="272"/>
                    <a:pt x="424" y="279"/>
                    <a:pt x="410" y="279"/>
                  </a:cubicBezTo>
                  <a:cubicBezTo>
                    <a:pt x="350" y="279"/>
                    <a:pt x="350" y="279"/>
                    <a:pt x="350" y="279"/>
                  </a:cubicBezTo>
                  <a:cubicBezTo>
                    <a:pt x="74" y="279"/>
                    <a:pt x="74" y="279"/>
                    <a:pt x="74" y="279"/>
                  </a:cubicBezTo>
                  <a:cubicBezTo>
                    <a:pt x="58" y="279"/>
                    <a:pt x="44" y="270"/>
                    <a:pt x="33" y="256"/>
                  </a:cubicBezTo>
                  <a:cubicBezTo>
                    <a:pt x="22" y="243"/>
                    <a:pt x="16" y="225"/>
                    <a:pt x="16" y="209"/>
                  </a:cubicBezTo>
                  <a:cubicBezTo>
                    <a:pt x="16" y="172"/>
                    <a:pt x="42" y="141"/>
                    <a:pt x="77" y="134"/>
                  </a:cubicBezTo>
                  <a:cubicBezTo>
                    <a:pt x="81" y="133"/>
                    <a:pt x="83" y="130"/>
                    <a:pt x="84" y="127"/>
                  </a:cubicBezTo>
                  <a:cubicBezTo>
                    <a:pt x="90" y="65"/>
                    <a:pt x="142" y="16"/>
                    <a:pt x="206" y="16"/>
                  </a:cubicBezTo>
                  <a:cubicBezTo>
                    <a:pt x="247" y="16"/>
                    <a:pt x="282" y="36"/>
                    <a:pt x="305" y="66"/>
                  </a:cubicBezTo>
                  <a:cubicBezTo>
                    <a:pt x="308" y="70"/>
                    <a:pt x="313" y="70"/>
                    <a:pt x="316" y="68"/>
                  </a:cubicBezTo>
                  <a:cubicBezTo>
                    <a:pt x="330" y="58"/>
                    <a:pt x="347" y="52"/>
                    <a:pt x="365" y="52"/>
                  </a:cubicBezTo>
                  <a:cubicBezTo>
                    <a:pt x="376" y="52"/>
                    <a:pt x="386" y="54"/>
                    <a:pt x="395" y="57"/>
                  </a:cubicBezTo>
                  <a:cubicBezTo>
                    <a:pt x="395" y="57"/>
                    <a:pt x="396" y="58"/>
                    <a:pt x="396" y="58"/>
                  </a:cubicBezTo>
                  <a:cubicBezTo>
                    <a:pt x="400" y="59"/>
                    <a:pt x="405" y="58"/>
                    <a:pt x="406" y="54"/>
                  </a:cubicBezTo>
                  <a:cubicBezTo>
                    <a:pt x="407" y="52"/>
                    <a:pt x="407" y="51"/>
                    <a:pt x="407" y="49"/>
                  </a:cubicBezTo>
                  <a:cubicBezTo>
                    <a:pt x="407" y="47"/>
                    <a:pt x="405" y="44"/>
                    <a:pt x="403" y="43"/>
                  </a:cubicBezTo>
                  <a:cubicBezTo>
                    <a:pt x="391" y="38"/>
                    <a:pt x="378" y="36"/>
                    <a:pt x="365" y="36"/>
                  </a:cubicBezTo>
                  <a:cubicBezTo>
                    <a:pt x="346" y="36"/>
                    <a:pt x="328" y="41"/>
                    <a:pt x="313" y="51"/>
                  </a:cubicBezTo>
                  <a:cubicBezTo>
                    <a:pt x="288" y="20"/>
                    <a:pt x="249" y="0"/>
                    <a:pt x="206" y="0"/>
                  </a:cubicBezTo>
                  <a:cubicBezTo>
                    <a:pt x="136" y="0"/>
                    <a:pt x="78" y="52"/>
                    <a:pt x="68" y="120"/>
                  </a:cubicBezTo>
                  <a:cubicBezTo>
                    <a:pt x="29" y="130"/>
                    <a:pt x="0" y="166"/>
                    <a:pt x="0" y="209"/>
                  </a:cubicBezTo>
                  <a:cubicBezTo>
                    <a:pt x="0" y="229"/>
                    <a:pt x="7" y="250"/>
                    <a:pt x="20" y="266"/>
                  </a:cubicBezTo>
                  <a:cubicBezTo>
                    <a:pt x="33" y="283"/>
                    <a:pt x="52" y="295"/>
                    <a:pt x="74" y="295"/>
                  </a:cubicBezTo>
                  <a:cubicBezTo>
                    <a:pt x="350" y="295"/>
                    <a:pt x="350" y="295"/>
                    <a:pt x="350" y="295"/>
                  </a:cubicBezTo>
                  <a:cubicBezTo>
                    <a:pt x="350" y="295"/>
                    <a:pt x="351" y="295"/>
                    <a:pt x="351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410" y="295"/>
                    <a:pt x="410" y="295"/>
                    <a:pt x="410" y="295"/>
                  </a:cubicBezTo>
                  <a:cubicBezTo>
                    <a:pt x="430" y="295"/>
                    <a:pt x="446" y="286"/>
                    <a:pt x="457" y="273"/>
                  </a:cubicBezTo>
                  <a:cubicBezTo>
                    <a:pt x="468" y="260"/>
                    <a:pt x="474" y="244"/>
                    <a:pt x="474" y="230"/>
                  </a:cubicBezTo>
                  <a:cubicBezTo>
                    <a:pt x="474" y="211"/>
                    <a:pt x="466" y="194"/>
                    <a:pt x="454" y="182"/>
                  </a:cubicBezTo>
                  <a:close/>
                </a:path>
              </a:pathLst>
            </a:custGeom>
            <a:solidFill>
              <a:srgbClr val="FFFFFF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687" name="Freeform 20"/>
            <p:cNvSpPr>
              <a:spLocks noChangeAspect="1"/>
            </p:cNvSpPr>
            <p:nvPr/>
          </p:nvSpPr>
          <p:spPr bwMode="auto">
            <a:xfrm>
              <a:off x="2629" y="1009"/>
              <a:ext cx="418" cy="261"/>
            </a:xfrm>
            <a:custGeom>
              <a:avLst/>
              <a:gdLst>
                <a:gd name="T0" fmla="*/ 400 w 474"/>
                <a:gd name="T1" fmla="*/ 161 h 295"/>
                <a:gd name="T2" fmla="*/ 411 w 474"/>
                <a:gd name="T3" fmla="*/ 120 h 295"/>
                <a:gd name="T4" fmla="*/ 381 w 474"/>
                <a:gd name="T5" fmla="*/ 54 h 295"/>
                <a:gd name="T6" fmla="*/ 370 w 474"/>
                <a:gd name="T7" fmla="*/ 56 h 295"/>
                <a:gd name="T8" fmla="*/ 372 w 474"/>
                <a:gd name="T9" fmla="*/ 65 h 295"/>
                <a:gd name="T10" fmla="*/ 372 w 474"/>
                <a:gd name="T11" fmla="*/ 65 h 295"/>
                <a:gd name="T12" fmla="*/ 397 w 474"/>
                <a:gd name="T13" fmla="*/ 120 h 295"/>
                <a:gd name="T14" fmla="*/ 385 w 474"/>
                <a:gd name="T15" fmla="*/ 158 h 295"/>
                <a:gd name="T16" fmla="*/ 387 w 474"/>
                <a:gd name="T17" fmla="*/ 167 h 295"/>
                <a:gd name="T18" fmla="*/ 404 w 474"/>
                <a:gd name="T19" fmla="*/ 203 h 295"/>
                <a:gd name="T20" fmla="*/ 392 w 474"/>
                <a:gd name="T21" fmla="*/ 232 h 295"/>
                <a:gd name="T22" fmla="*/ 362 w 474"/>
                <a:gd name="T23" fmla="*/ 247 h 295"/>
                <a:gd name="T24" fmla="*/ 309 w 474"/>
                <a:gd name="T25" fmla="*/ 247 h 295"/>
                <a:gd name="T26" fmla="*/ 65 w 474"/>
                <a:gd name="T27" fmla="*/ 247 h 295"/>
                <a:gd name="T28" fmla="*/ 29 w 474"/>
                <a:gd name="T29" fmla="*/ 226 h 295"/>
                <a:gd name="T30" fmla="*/ 14 w 474"/>
                <a:gd name="T31" fmla="*/ 185 h 295"/>
                <a:gd name="T32" fmla="*/ 68 w 474"/>
                <a:gd name="T33" fmla="*/ 119 h 295"/>
                <a:gd name="T34" fmla="*/ 74 w 474"/>
                <a:gd name="T35" fmla="*/ 112 h 295"/>
                <a:gd name="T36" fmla="*/ 182 w 474"/>
                <a:gd name="T37" fmla="*/ 14 h 295"/>
                <a:gd name="T38" fmla="*/ 269 w 474"/>
                <a:gd name="T39" fmla="*/ 58 h 295"/>
                <a:gd name="T40" fmla="*/ 279 w 474"/>
                <a:gd name="T41" fmla="*/ 60 h 295"/>
                <a:gd name="T42" fmla="*/ 322 w 474"/>
                <a:gd name="T43" fmla="*/ 46 h 295"/>
                <a:gd name="T44" fmla="*/ 348 w 474"/>
                <a:gd name="T45" fmla="*/ 50 h 295"/>
                <a:gd name="T46" fmla="*/ 349 w 474"/>
                <a:gd name="T47" fmla="*/ 51 h 295"/>
                <a:gd name="T48" fmla="*/ 358 w 474"/>
                <a:gd name="T49" fmla="*/ 48 h 295"/>
                <a:gd name="T50" fmla="*/ 359 w 474"/>
                <a:gd name="T51" fmla="*/ 43 h 295"/>
                <a:gd name="T52" fmla="*/ 355 w 474"/>
                <a:gd name="T53" fmla="*/ 38 h 295"/>
                <a:gd name="T54" fmla="*/ 322 w 474"/>
                <a:gd name="T55" fmla="*/ 32 h 295"/>
                <a:gd name="T56" fmla="*/ 276 w 474"/>
                <a:gd name="T57" fmla="*/ 45 h 295"/>
                <a:gd name="T58" fmla="*/ 182 w 474"/>
                <a:gd name="T59" fmla="*/ 0 h 295"/>
                <a:gd name="T60" fmla="*/ 60 w 474"/>
                <a:gd name="T61" fmla="*/ 106 h 295"/>
                <a:gd name="T62" fmla="*/ 0 w 474"/>
                <a:gd name="T63" fmla="*/ 185 h 295"/>
                <a:gd name="T64" fmla="*/ 18 w 474"/>
                <a:gd name="T65" fmla="*/ 235 h 295"/>
                <a:gd name="T66" fmla="*/ 65 w 474"/>
                <a:gd name="T67" fmla="*/ 261 h 295"/>
                <a:gd name="T68" fmla="*/ 309 w 474"/>
                <a:gd name="T69" fmla="*/ 261 h 295"/>
                <a:gd name="T70" fmla="*/ 310 w 474"/>
                <a:gd name="T71" fmla="*/ 261 h 295"/>
                <a:gd name="T72" fmla="*/ 337 w 474"/>
                <a:gd name="T73" fmla="*/ 261 h 295"/>
                <a:gd name="T74" fmla="*/ 337 w 474"/>
                <a:gd name="T75" fmla="*/ 261 h 295"/>
                <a:gd name="T76" fmla="*/ 337 w 474"/>
                <a:gd name="T77" fmla="*/ 261 h 295"/>
                <a:gd name="T78" fmla="*/ 362 w 474"/>
                <a:gd name="T79" fmla="*/ 261 h 295"/>
                <a:gd name="T80" fmla="*/ 403 w 474"/>
                <a:gd name="T81" fmla="*/ 242 h 295"/>
                <a:gd name="T82" fmla="*/ 418 w 474"/>
                <a:gd name="T83" fmla="*/ 203 h 295"/>
                <a:gd name="T84" fmla="*/ 400 w 474"/>
                <a:gd name="T85" fmla="*/ 161 h 29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474" h="295">
                  <a:moveTo>
                    <a:pt x="454" y="182"/>
                  </a:moveTo>
                  <a:cubicBezTo>
                    <a:pt x="461" y="168"/>
                    <a:pt x="466" y="153"/>
                    <a:pt x="466" y="136"/>
                  </a:cubicBezTo>
                  <a:cubicBezTo>
                    <a:pt x="466" y="106"/>
                    <a:pt x="452" y="80"/>
                    <a:pt x="432" y="61"/>
                  </a:cubicBezTo>
                  <a:cubicBezTo>
                    <a:pt x="428" y="58"/>
                    <a:pt x="423" y="59"/>
                    <a:pt x="420" y="63"/>
                  </a:cubicBezTo>
                  <a:cubicBezTo>
                    <a:pt x="418" y="66"/>
                    <a:pt x="418" y="71"/>
                    <a:pt x="422" y="74"/>
                  </a:cubicBezTo>
                  <a:cubicBezTo>
                    <a:pt x="422" y="74"/>
                    <a:pt x="422" y="74"/>
                    <a:pt x="422" y="74"/>
                  </a:cubicBezTo>
                  <a:cubicBezTo>
                    <a:pt x="439" y="90"/>
                    <a:pt x="450" y="112"/>
                    <a:pt x="450" y="136"/>
                  </a:cubicBezTo>
                  <a:cubicBezTo>
                    <a:pt x="450" y="152"/>
                    <a:pt x="445" y="167"/>
                    <a:pt x="437" y="179"/>
                  </a:cubicBezTo>
                  <a:cubicBezTo>
                    <a:pt x="435" y="183"/>
                    <a:pt x="436" y="187"/>
                    <a:pt x="439" y="189"/>
                  </a:cubicBezTo>
                  <a:cubicBezTo>
                    <a:pt x="450" y="200"/>
                    <a:pt x="458" y="214"/>
                    <a:pt x="458" y="230"/>
                  </a:cubicBezTo>
                  <a:cubicBezTo>
                    <a:pt x="458" y="240"/>
                    <a:pt x="453" y="253"/>
                    <a:pt x="445" y="262"/>
                  </a:cubicBezTo>
                  <a:cubicBezTo>
                    <a:pt x="436" y="272"/>
                    <a:pt x="424" y="279"/>
                    <a:pt x="410" y="279"/>
                  </a:cubicBezTo>
                  <a:cubicBezTo>
                    <a:pt x="350" y="279"/>
                    <a:pt x="350" y="279"/>
                    <a:pt x="350" y="279"/>
                  </a:cubicBezTo>
                  <a:cubicBezTo>
                    <a:pt x="74" y="279"/>
                    <a:pt x="74" y="279"/>
                    <a:pt x="74" y="279"/>
                  </a:cubicBezTo>
                  <a:cubicBezTo>
                    <a:pt x="58" y="279"/>
                    <a:pt x="44" y="270"/>
                    <a:pt x="33" y="256"/>
                  </a:cubicBezTo>
                  <a:cubicBezTo>
                    <a:pt x="22" y="243"/>
                    <a:pt x="16" y="225"/>
                    <a:pt x="16" y="209"/>
                  </a:cubicBezTo>
                  <a:cubicBezTo>
                    <a:pt x="16" y="172"/>
                    <a:pt x="42" y="141"/>
                    <a:pt x="77" y="134"/>
                  </a:cubicBezTo>
                  <a:cubicBezTo>
                    <a:pt x="81" y="133"/>
                    <a:pt x="83" y="130"/>
                    <a:pt x="84" y="127"/>
                  </a:cubicBezTo>
                  <a:cubicBezTo>
                    <a:pt x="90" y="65"/>
                    <a:pt x="142" y="16"/>
                    <a:pt x="206" y="16"/>
                  </a:cubicBezTo>
                  <a:cubicBezTo>
                    <a:pt x="247" y="16"/>
                    <a:pt x="282" y="36"/>
                    <a:pt x="305" y="66"/>
                  </a:cubicBezTo>
                  <a:cubicBezTo>
                    <a:pt x="308" y="70"/>
                    <a:pt x="313" y="70"/>
                    <a:pt x="316" y="68"/>
                  </a:cubicBezTo>
                  <a:cubicBezTo>
                    <a:pt x="330" y="58"/>
                    <a:pt x="347" y="52"/>
                    <a:pt x="365" y="52"/>
                  </a:cubicBezTo>
                  <a:cubicBezTo>
                    <a:pt x="376" y="52"/>
                    <a:pt x="386" y="54"/>
                    <a:pt x="395" y="57"/>
                  </a:cubicBezTo>
                  <a:cubicBezTo>
                    <a:pt x="395" y="57"/>
                    <a:pt x="396" y="58"/>
                    <a:pt x="396" y="58"/>
                  </a:cubicBezTo>
                  <a:cubicBezTo>
                    <a:pt x="400" y="59"/>
                    <a:pt x="405" y="58"/>
                    <a:pt x="406" y="54"/>
                  </a:cubicBezTo>
                  <a:cubicBezTo>
                    <a:pt x="407" y="52"/>
                    <a:pt x="407" y="51"/>
                    <a:pt x="407" y="49"/>
                  </a:cubicBezTo>
                  <a:cubicBezTo>
                    <a:pt x="407" y="47"/>
                    <a:pt x="405" y="44"/>
                    <a:pt x="403" y="43"/>
                  </a:cubicBezTo>
                  <a:cubicBezTo>
                    <a:pt x="391" y="38"/>
                    <a:pt x="378" y="36"/>
                    <a:pt x="365" y="36"/>
                  </a:cubicBezTo>
                  <a:cubicBezTo>
                    <a:pt x="346" y="36"/>
                    <a:pt x="328" y="41"/>
                    <a:pt x="313" y="51"/>
                  </a:cubicBezTo>
                  <a:cubicBezTo>
                    <a:pt x="288" y="20"/>
                    <a:pt x="249" y="0"/>
                    <a:pt x="206" y="0"/>
                  </a:cubicBezTo>
                  <a:cubicBezTo>
                    <a:pt x="136" y="0"/>
                    <a:pt x="78" y="52"/>
                    <a:pt x="68" y="120"/>
                  </a:cubicBezTo>
                  <a:cubicBezTo>
                    <a:pt x="29" y="130"/>
                    <a:pt x="0" y="166"/>
                    <a:pt x="0" y="209"/>
                  </a:cubicBezTo>
                  <a:cubicBezTo>
                    <a:pt x="0" y="229"/>
                    <a:pt x="7" y="250"/>
                    <a:pt x="20" y="266"/>
                  </a:cubicBezTo>
                  <a:cubicBezTo>
                    <a:pt x="33" y="283"/>
                    <a:pt x="52" y="295"/>
                    <a:pt x="74" y="295"/>
                  </a:cubicBezTo>
                  <a:cubicBezTo>
                    <a:pt x="350" y="295"/>
                    <a:pt x="350" y="295"/>
                    <a:pt x="350" y="295"/>
                  </a:cubicBezTo>
                  <a:cubicBezTo>
                    <a:pt x="350" y="295"/>
                    <a:pt x="351" y="295"/>
                    <a:pt x="351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410" y="295"/>
                    <a:pt x="410" y="295"/>
                    <a:pt x="410" y="295"/>
                  </a:cubicBezTo>
                  <a:cubicBezTo>
                    <a:pt x="430" y="295"/>
                    <a:pt x="446" y="286"/>
                    <a:pt x="457" y="273"/>
                  </a:cubicBezTo>
                  <a:cubicBezTo>
                    <a:pt x="468" y="260"/>
                    <a:pt x="474" y="244"/>
                    <a:pt x="474" y="230"/>
                  </a:cubicBezTo>
                  <a:cubicBezTo>
                    <a:pt x="474" y="211"/>
                    <a:pt x="466" y="194"/>
                    <a:pt x="454" y="182"/>
                  </a:cubicBezTo>
                  <a:close/>
                </a:path>
              </a:pathLst>
            </a:custGeom>
            <a:solidFill>
              <a:srgbClr val="FFFFFF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688" name="Freeform 21"/>
            <p:cNvSpPr>
              <a:spLocks noChangeAspect="1"/>
            </p:cNvSpPr>
            <p:nvPr/>
          </p:nvSpPr>
          <p:spPr bwMode="auto">
            <a:xfrm>
              <a:off x="2220" y="895"/>
              <a:ext cx="380" cy="237"/>
            </a:xfrm>
            <a:custGeom>
              <a:avLst/>
              <a:gdLst>
                <a:gd name="T0" fmla="*/ 364 w 474"/>
                <a:gd name="T1" fmla="*/ 146 h 295"/>
                <a:gd name="T2" fmla="*/ 374 w 474"/>
                <a:gd name="T3" fmla="*/ 109 h 295"/>
                <a:gd name="T4" fmla="*/ 346 w 474"/>
                <a:gd name="T5" fmla="*/ 49 h 295"/>
                <a:gd name="T6" fmla="*/ 337 w 474"/>
                <a:gd name="T7" fmla="*/ 51 h 295"/>
                <a:gd name="T8" fmla="*/ 338 w 474"/>
                <a:gd name="T9" fmla="*/ 59 h 295"/>
                <a:gd name="T10" fmla="*/ 338 w 474"/>
                <a:gd name="T11" fmla="*/ 59 h 295"/>
                <a:gd name="T12" fmla="*/ 361 w 474"/>
                <a:gd name="T13" fmla="*/ 109 h 295"/>
                <a:gd name="T14" fmla="*/ 350 w 474"/>
                <a:gd name="T15" fmla="*/ 144 h 295"/>
                <a:gd name="T16" fmla="*/ 352 w 474"/>
                <a:gd name="T17" fmla="*/ 152 h 295"/>
                <a:gd name="T18" fmla="*/ 367 w 474"/>
                <a:gd name="T19" fmla="*/ 185 h 295"/>
                <a:gd name="T20" fmla="*/ 357 w 474"/>
                <a:gd name="T21" fmla="*/ 210 h 295"/>
                <a:gd name="T22" fmla="*/ 329 w 474"/>
                <a:gd name="T23" fmla="*/ 224 h 295"/>
                <a:gd name="T24" fmla="*/ 281 w 474"/>
                <a:gd name="T25" fmla="*/ 224 h 295"/>
                <a:gd name="T26" fmla="*/ 59 w 474"/>
                <a:gd name="T27" fmla="*/ 224 h 295"/>
                <a:gd name="T28" fmla="*/ 26 w 474"/>
                <a:gd name="T29" fmla="*/ 206 h 295"/>
                <a:gd name="T30" fmla="*/ 13 w 474"/>
                <a:gd name="T31" fmla="*/ 168 h 295"/>
                <a:gd name="T32" fmla="*/ 62 w 474"/>
                <a:gd name="T33" fmla="*/ 108 h 295"/>
                <a:gd name="T34" fmla="*/ 67 w 474"/>
                <a:gd name="T35" fmla="*/ 102 h 295"/>
                <a:gd name="T36" fmla="*/ 165 w 474"/>
                <a:gd name="T37" fmla="*/ 13 h 295"/>
                <a:gd name="T38" fmla="*/ 245 w 474"/>
                <a:gd name="T39" fmla="*/ 53 h 295"/>
                <a:gd name="T40" fmla="*/ 253 w 474"/>
                <a:gd name="T41" fmla="*/ 55 h 295"/>
                <a:gd name="T42" fmla="*/ 293 w 474"/>
                <a:gd name="T43" fmla="*/ 42 h 295"/>
                <a:gd name="T44" fmla="*/ 317 w 474"/>
                <a:gd name="T45" fmla="*/ 46 h 295"/>
                <a:gd name="T46" fmla="*/ 317 w 474"/>
                <a:gd name="T47" fmla="*/ 47 h 295"/>
                <a:gd name="T48" fmla="*/ 325 w 474"/>
                <a:gd name="T49" fmla="*/ 43 h 295"/>
                <a:gd name="T50" fmla="*/ 326 w 474"/>
                <a:gd name="T51" fmla="*/ 39 h 295"/>
                <a:gd name="T52" fmla="*/ 323 w 474"/>
                <a:gd name="T53" fmla="*/ 35 h 295"/>
                <a:gd name="T54" fmla="*/ 293 w 474"/>
                <a:gd name="T55" fmla="*/ 29 h 295"/>
                <a:gd name="T56" fmla="*/ 251 w 474"/>
                <a:gd name="T57" fmla="*/ 41 h 295"/>
                <a:gd name="T58" fmla="*/ 165 w 474"/>
                <a:gd name="T59" fmla="*/ 0 h 295"/>
                <a:gd name="T60" fmla="*/ 55 w 474"/>
                <a:gd name="T61" fmla="*/ 96 h 295"/>
                <a:gd name="T62" fmla="*/ 0 w 474"/>
                <a:gd name="T63" fmla="*/ 168 h 295"/>
                <a:gd name="T64" fmla="*/ 16 w 474"/>
                <a:gd name="T65" fmla="*/ 214 h 295"/>
                <a:gd name="T66" fmla="*/ 59 w 474"/>
                <a:gd name="T67" fmla="*/ 237 h 295"/>
                <a:gd name="T68" fmla="*/ 281 w 474"/>
                <a:gd name="T69" fmla="*/ 237 h 295"/>
                <a:gd name="T70" fmla="*/ 281 w 474"/>
                <a:gd name="T71" fmla="*/ 237 h 295"/>
                <a:gd name="T72" fmla="*/ 306 w 474"/>
                <a:gd name="T73" fmla="*/ 237 h 295"/>
                <a:gd name="T74" fmla="*/ 306 w 474"/>
                <a:gd name="T75" fmla="*/ 237 h 295"/>
                <a:gd name="T76" fmla="*/ 306 w 474"/>
                <a:gd name="T77" fmla="*/ 237 h 295"/>
                <a:gd name="T78" fmla="*/ 329 w 474"/>
                <a:gd name="T79" fmla="*/ 237 h 295"/>
                <a:gd name="T80" fmla="*/ 366 w 474"/>
                <a:gd name="T81" fmla="*/ 219 h 295"/>
                <a:gd name="T82" fmla="*/ 380 w 474"/>
                <a:gd name="T83" fmla="*/ 185 h 295"/>
                <a:gd name="T84" fmla="*/ 364 w 474"/>
                <a:gd name="T85" fmla="*/ 146 h 29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474" h="295">
                  <a:moveTo>
                    <a:pt x="454" y="182"/>
                  </a:moveTo>
                  <a:cubicBezTo>
                    <a:pt x="461" y="168"/>
                    <a:pt x="466" y="153"/>
                    <a:pt x="466" y="136"/>
                  </a:cubicBezTo>
                  <a:cubicBezTo>
                    <a:pt x="466" y="106"/>
                    <a:pt x="452" y="80"/>
                    <a:pt x="432" y="61"/>
                  </a:cubicBezTo>
                  <a:cubicBezTo>
                    <a:pt x="428" y="58"/>
                    <a:pt x="423" y="59"/>
                    <a:pt x="420" y="63"/>
                  </a:cubicBezTo>
                  <a:cubicBezTo>
                    <a:pt x="418" y="66"/>
                    <a:pt x="418" y="71"/>
                    <a:pt x="422" y="74"/>
                  </a:cubicBezTo>
                  <a:cubicBezTo>
                    <a:pt x="422" y="74"/>
                    <a:pt x="422" y="74"/>
                    <a:pt x="422" y="74"/>
                  </a:cubicBezTo>
                  <a:cubicBezTo>
                    <a:pt x="439" y="90"/>
                    <a:pt x="450" y="112"/>
                    <a:pt x="450" y="136"/>
                  </a:cubicBezTo>
                  <a:cubicBezTo>
                    <a:pt x="450" y="152"/>
                    <a:pt x="445" y="167"/>
                    <a:pt x="437" y="179"/>
                  </a:cubicBezTo>
                  <a:cubicBezTo>
                    <a:pt x="435" y="183"/>
                    <a:pt x="436" y="187"/>
                    <a:pt x="439" y="189"/>
                  </a:cubicBezTo>
                  <a:cubicBezTo>
                    <a:pt x="450" y="200"/>
                    <a:pt x="458" y="214"/>
                    <a:pt x="458" y="230"/>
                  </a:cubicBezTo>
                  <a:cubicBezTo>
                    <a:pt x="458" y="240"/>
                    <a:pt x="453" y="253"/>
                    <a:pt x="445" y="262"/>
                  </a:cubicBezTo>
                  <a:cubicBezTo>
                    <a:pt x="436" y="272"/>
                    <a:pt x="424" y="279"/>
                    <a:pt x="410" y="279"/>
                  </a:cubicBezTo>
                  <a:cubicBezTo>
                    <a:pt x="350" y="279"/>
                    <a:pt x="350" y="279"/>
                    <a:pt x="350" y="279"/>
                  </a:cubicBezTo>
                  <a:cubicBezTo>
                    <a:pt x="74" y="279"/>
                    <a:pt x="74" y="279"/>
                    <a:pt x="74" y="279"/>
                  </a:cubicBezTo>
                  <a:cubicBezTo>
                    <a:pt x="58" y="279"/>
                    <a:pt x="44" y="270"/>
                    <a:pt x="33" y="256"/>
                  </a:cubicBezTo>
                  <a:cubicBezTo>
                    <a:pt x="22" y="243"/>
                    <a:pt x="16" y="225"/>
                    <a:pt x="16" y="209"/>
                  </a:cubicBezTo>
                  <a:cubicBezTo>
                    <a:pt x="16" y="172"/>
                    <a:pt x="42" y="141"/>
                    <a:pt x="77" y="134"/>
                  </a:cubicBezTo>
                  <a:cubicBezTo>
                    <a:pt x="81" y="133"/>
                    <a:pt x="83" y="130"/>
                    <a:pt x="84" y="127"/>
                  </a:cubicBezTo>
                  <a:cubicBezTo>
                    <a:pt x="90" y="65"/>
                    <a:pt x="142" y="16"/>
                    <a:pt x="206" y="16"/>
                  </a:cubicBezTo>
                  <a:cubicBezTo>
                    <a:pt x="247" y="16"/>
                    <a:pt x="282" y="36"/>
                    <a:pt x="305" y="66"/>
                  </a:cubicBezTo>
                  <a:cubicBezTo>
                    <a:pt x="308" y="70"/>
                    <a:pt x="313" y="70"/>
                    <a:pt x="316" y="68"/>
                  </a:cubicBezTo>
                  <a:cubicBezTo>
                    <a:pt x="330" y="58"/>
                    <a:pt x="347" y="52"/>
                    <a:pt x="365" y="52"/>
                  </a:cubicBezTo>
                  <a:cubicBezTo>
                    <a:pt x="376" y="52"/>
                    <a:pt x="386" y="54"/>
                    <a:pt x="395" y="57"/>
                  </a:cubicBezTo>
                  <a:cubicBezTo>
                    <a:pt x="395" y="57"/>
                    <a:pt x="396" y="58"/>
                    <a:pt x="396" y="58"/>
                  </a:cubicBezTo>
                  <a:cubicBezTo>
                    <a:pt x="400" y="59"/>
                    <a:pt x="405" y="58"/>
                    <a:pt x="406" y="54"/>
                  </a:cubicBezTo>
                  <a:cubicBezTo>
                    <a:pt x="407" y="52"/>
                    <a:pt x="407" y="51"/>
                    <a:pt x="407" y="49"/>
                  </a:cubicBezTo>
                  <a:cubicBezTo>
                    <a:pt x="407" y="47"/>
                    <a:pt x="405" y="44"/>
                    <a:pt x="403" y="43"/>
                  </a:cubicBezTo>
                  <a:cubicBezTo>
                    <a:pt x="391" y="38"/>
                    <a:pt x="378" y="36"/>
                    <a:pt x="365" y="36"/>
                  </a:cubicBezTo>
                  <a:cubicBezTo>
                    <a:pt x="346" y="36"/>
                    <a:pt x="328" y="41"/>
                    <a:pt x="313" y="51"/>
                  </a:cubicBezTo>
                  <a:cubicBezTo>
                    <a:pt x="288" y="20"/>
                    <a:pt x="249" y="0"/>
                    <a:pt x="206" y="0"/>
                  </a:cubicBezTo>
                  <a:cubicBezTo>
                    <a:pt x="136" y="0"/>
                    <a:pt x="78" y="52"/>
                    <a:pt x="68" y="120"/>
                  </a:cubicBezTo>
                  <a:cubicBezTo>
                    <a:pt x="29" y="130"/>
                    <a:pt x="0" y="166"/>
                    <a:pt x="0" y="209"/>
                  </a:cubicBezTo>
                  <a:cubicBezTo>
                    <a:pt x="0" y="229"/>
                    <a:pt x="7" y="250"/>
                    <a:pt x="20" y="266"/>
                  </a:cubicBezTo>
                  <a:cubicBezTo>
                    <a:pt x="33" y="283"/>
                    <a:pt x="52" y="295"/>
                    <a:pt x="74" y="295"/>
                  </a:cubicBezTo>
                  <a:cubicBezTo>
                    <a:pt x="350" y="295"/>
                    <a:pt x="350" y="295"/>
                    <a:pt x="350" y="295"/>
                  </a:cubicBezTo>
                  <a:cubicBezTo>
                    <a:pt x="350" y="295"/>
                    <a:pt x="351" y="295"/>
                    <a:pt x="351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410" y="295"/>
                    <a:pt x="410" y="295"/>
                    <a:pt x="410" y="295"/>
                  </a:cubicBezTo>
                  <a:cubicBezTo>
                    <a:pt x="430" y="295"/>
                    <a:pt x="446" y="286"/>
                    <a:pt x="457" y="273"/>
                  </a:cubicBezTo>
                  <a:cubicBezTo>
                    <a:pt x="468" y="260"/>
                    <a:pt x="474" y="244"/>
                    <a:pt x="474" y="230"/>
                  </a:cubicBezTo>
                  <a:cubicBezTo>
                    <a:pt x="474" y="211"/>
                    <a:pt x="466" y="194"/>
                    <a:pt x="454" y="182"/>
                  </a:cubicBezTo>
                  <a:close/>
                </a:path>
              </a:pathLst>
            </a:custGeom>
            <a:solidFill>
              <a:srgbClr val="FFFFFF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689" name="Freeform 22"/>
            <p:cNvSpPr>
              <a:spLocks noChangeAspect="1"/>
            </p:cNvSpPr>
            <p:nvPr/>
          </p:nvSpPr>
          <p:spPr bwMode="auto">
            <a:xfrm>
              <a:off x="1451" y="868"/>
              <a:ext cx="740" cy="462"/>
            </a:xfrm>
            <a:custGeom>
              <a:avLst/>
              <a:gdLst>
                <a:gd name="T0" fmla="*/ 709 w 474"/>
                <a:gd name="T1" fmla="*/ 285 h 295"/>
                <a:gd name="T2" fmla="*/ 728 w 474"/>
                <a:gd name="T3" fmla="*/ 213 h 295"/>
                <a:gd name="T4" fmla="*/ 674 w 474"/>
                <a:gd name="T5" fmla="*/ 96 h 295"/>
                <a:gd name="T6" fmla="*/ 656 w 474"/>
                <a:gd name="T7" fmla="*/ 99 h 295"/>
                <a:gd name="T8" fmla="*/ 659 w 474"/>
                <a:gd name="T9" fmla="*/ 116 h 295"/>
                <a:gd name="T10" fmla="*/ 659 w 474"/>
                <a:gd name="T11" fmla="*/ 116 h 295"/>
                <a:gd name="T12" fmla="*/ 703 w 474"/>
                <a:gd name="T13" fmla="*/ 213 h 295"/>
                <a:gd name="T14" fmla="*/ 682 w 474"/>
                <a:gd name="T15" fmla="*/ 280 h 295"/>
                <a:gd name="T16" fmla="*/ 685 w 474"/>
                <a:gd name="T17" fmla="*/ 296 h 295"/>
                <a:gd name="T18" fmla="*/ 715 w 474"/>
                <a:gd name="T19" fmla="*/ 360 h 295"/>
                <a:gd name="T20" fmla="*/ 695 w 474"/>
                <a:gd name="T21" fmla="*/ 410 h 295"/>
                <a:gd name="T22" fmla="*/ 640 w 474"/>
                <a:gd name="T23" fmla="*/ 437 h 295"/>
                <a:gd name="T24" fmla="*/ 546 w 474"/>
                <a:gd name="T25" fmla="*/ 437 h 295"/>
                <a:gd name="T26" fmla="*/ 116 w 474"/>
                <a:gd name="T27" fmla="*/ 437 h 295"/>
                <a:gd name="T28" fmla="*/ 52 w 474"/>
                <a:gd name="T29" fmla="*/ 401 h 295"/>
                <a:gd name="T30" fmla="*/ 25 w 474"/>
                <a:gd name="T31" fmla="*/ 327 h 295"/>
                <a:gd name="T32" fmla="*/ 120 w 474"/>
                <a:gd name="T33" fmla="*/ 210 h 295"/>
                <a:gd name="T34" fmla="*/ 131 w 474"/>
                <a:gd name="T35" fmla="*/ 199 h 295"/>
                <a:gd name="T36" fmla="*/ 322 w 474"/>
                <a:gd name="T37" fmla="*/ 25 h 295"/>
                <a:gd name="T38" fmla="*/ 476 w 474"/>
                <a:gd name="T39" fmla="*/ 103 h 295"/>
                <a:gd name="T40" fmla="*/ 493 w 474"/>
                <a:gd name="T41" fmla="*/ 106 h 295"/>
                <a:gd name="T42" fmla="*/ 570 w 474"/>
                <a:gd name="T43" fmla="*/ 81 h 295"/>
                <a:gd name="T44" fmla="*/ 617 w 474"/>
                <a:gd name="T45" fmla="*/ 89 h 295"/>
                <a:gd name="T46" fmla="*/ 618 w 474"/>
                <a:gd name="T47" fmla="*/ 91 h 295"/>
                <a:gd name="T48" fmla="*/ 634 w 474"/>
                <a:gd name="T49" fmla="*/ 85 h 295"/>
                <a:gd name="T50" fmla="*/ 635 w 474"/>
                <a:gd name="T51" fmla="*/ 77 h 295"/>
                <a:gd name="T52" fmla="*/ 629 w 474"/>
                <a:gd name="T53" fmla="*/ 67 h 295"/>
                <a:gd name="T54" fmla="*/ 570 w 474"/>
                <a:gd name="T55" fmla="*/ 56 h 295"/>
                <a:gd name="T56" fmla="*/ 489 w 474"/>
                <a:gd name="T57" fmla="*/ 80 h 295"/>
                <a:gd name="T58" fmla="*/ 322 w 474"/>
                <a:gd name="T59" fmla="*/ 0 h 295"/>
                <a:gd name="T60" fmla="*/ 106 w 474"/>
                <a:gd name="T61" fmla="*/ 188 h 295"/>
                <a:gd name="T62" fmla="*/ 0 w 474"/>
                <a:gd name="T63" fmla="*/ 327 h 295"/>
                <a:gd name="T64" fmla="*/ 31 w 474"/>
                <a:gd name="T65" fmla="*/ 417 h 295"/>
                <a:gd name="T66" fmla="*/ 116 w 474"/>
                <a:gd name="T67" fmla="*/ 462 h 295"/>
                <a:gd name="T68" fmla="*/ 546 w 474"/>
                <a:gd name="T69" fmla="*/ 462 h 295"/>
                <a:gd name="T70" fmla="*/ 548 w 474"/>
                <a:gd name="T71" fmla="*/ 462 h 295"/>
                <a:gd name="T72" fmla="*/ 596 w 474"/>
                <a:gd name="T73" fmla="*/ 462 h 295"/>
                <a:gd name="T74" fmla="*/ 596 w 474"/>
                <a:gd name="T75" fmla="*/ 462 h 295"/>
                <a:gd name="T76" fmla="*/ 596 w 474"/>
                <a:gd name="T77" fmla="*/ 462 h 295"/>
                <a:gd name="T78" fmla="*/ 640 w 474"/>
                <a:gd name="T79" fmla="*/ 462 h 295"/>
                <a:gd name="T80" fmla="*/ 713 w 474"/>
                <a:gd name="T81" fmla="*/ 428 h 295"/>
                <a:gd name="T82" fmla="*/ 740 w 474"/>
                <a:gd name="T83" fmla="*/ 360 h 295"/>
                <a:gd name="T84" fmla="*/ 709 w 474"/>
                <a:gd name="T85" fmla="*/ 285 h 29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474" h="295">
                  <a:moveTo>
                    <a:pt x="454" y="182"/>
                  </a:moveTo>
                  <a:cubicBezTo>
                    <a:pt x="461" y="168"/>
                    <a:pt x="466" y="153"/>
                    <a:pt x="466" y="136"/>
                  </a:cubicBezTo>
                  <a:cubicBezTo>
                    <a:pt x="466" y="106"/>
                    <a:pt x="452" y="80"/>
                    <a:pt x="432" y="61"/>
                  </a:cubicBezTo>
                  <a:cubicBezTo>
                    <a:pt x="428" y="58"/>
                    <a:pt x="423" y="59"/>
                    <a:pt x="420" y="63"/>
                  </a:cubicBezTo>
                  <a:cubicBezTo>
                    <a:pt x="418" y="66"/>
                    <a:pt x="418" y="71"/>
                    <a:pt x="422" y="74"/>
                  </a:cubicBezTo>
                  <a:cubicBezTo>
                    <a:pt x="422" y="74"/>
                    <a:pt x="422" y="74"/>
                    <a:pt x="422" y="74"/>
                  </a:cubicBezTo>
                  <a:cubicBezTo>
                    <a:pt x="439" y="90"/>
                    <a:pt x="450" y="112"/>
                    <a:pt x="450" y="136"/>
                  </a:cubicBezTo>
                  <a:cubicBezTo>
                    <a:pt x="450" y="152"/>
                    <a:pt x="445" y="167"/>
                    <a:pt x="437" y="179"/>
                  </a:cubicBezTo>
                  <a:cubicBezTo>
                    <a:pt x="435" y="183"/>
                    <a:pt x="436" y="187"/>
                    <a:pt x="439" y="189"/>
                  </a:cubicBezTo>
                  <a:cubicBezTo>
                    <a:pt x="450" y="200"/>
                    <a:pt x="458" y="214"/>
                    <a:pt x="458" y="230"/>
                  </a:cubicBezTo>
                  <a:cubicBezTo>
                    <a:pt x="458" y="240"/>
                    <a:pt x="453" y="253"/>
                    <a:pt x="445" y="262"/>
                  </a:cubicBezTo>
                  <a:cubicBezTo>
                    <a:pt x="436" y="272"/>
                    <a:pt x="424" y="279"/>
                    <a:pt x="410" y="279"/>
                  </a:cubicBezTo>
                  <a:cubicBezTo>
                    <a:pt x="350" y="279"/>
                    <a:pt x="350" y="279"/>
                    <a:pt x="350" y="279"/>
                  </a:cubicBezTo>
                  <a:cubicBezTo>
                    <a:pt x="74" y="279"/>
                    <a:pt x="74" y="279"/>
                    <a:pt x="74" y="279"/>
                  </a:cubicBezTo>
                  <a:cubicBezTo>
                    <a:pt x="58" y="279"/>
                    <a:pt x="44" y="270"/>
                    <a:pt x="33" y="256"/>
                  </a:cubicBezTo>
                  <a:cubicBezTo>
                    <a:pt x="22" y="243"/>
                    <a:pt x="16" y="225"/>
                    <a:pt x="16" y="209"/>
                  </a:cubicBezTo>
                  <a:cubicBezTo>
                    <a:pt x="16" y="172"/>
                    <a:pt x="42" y="141"/>
                    <a:pt x="77" y="134"/>
                  </a:cubicBezTo>
                  <a:cubicBezTo>
                    <a:pt x="81" y="133"/>
                    <a:pt x="83" y="130"/>
                    <a:pt x="84" y="127"/>
                  </a:cubicBezTo>
                  <a:cubicBezTo>
                    <a:pt x="90" y="65"/>
                    <a:pt x="142" y="16"/>
                    <a:pt x="206" y="16"/>
                  </a:cubicBezTo>
                  <a:cubicBezTo>
                    <a:pt x="247" y="16"/>
                    <a:pt x="282" y="36"/>
                    <a:pt x="305" y="66"/>
                  </a:cubicBezTo>
                  <a:cubicBezTo>
                    <a:pt x="308" y="70"/>
                    <a:pt x="313" y="70"/>
                    <a:pt x="316" y="68"/>
                  </a:cubicBezTo>
                  <a:cubicBezTo>
                    <a:pt x="330" y="58"/>
                    <a:pt x="347" y="52"/>
                    <a:pt x="365" y="52"/>
                  </a:cubicBezTo>
                  <a:cubicBezTo>
                    <a:pt x="376" y="52"/>
                    <a:pt x="386" y="54"/>
                    <a:pt x="395" y="57"/>
                  </a:cubicBezTo>
                  <a:cubicBezTo>
                    <a:pt x="395" y="57"/>
                    <a:pt x="396" y="58"/>
                    <a:pt x="396" y="58"/>
                  </a:cubicBezTo>
                  <a:cubicBezTo>
                    <a:pt x="400" y="59"/>
                    <a:pt x="405" y="58"/>
                    <a:pt x="406" y="54"/>
                  </a:cubicBezTo>
                  <a:cubicBezTo>
                    <a:pt x="407" y="52"/>
                    <a:pt x="407" y="51"/>
                    <a:pt x="407" y="49"/>
                  </a:cubicBezTo>
                  <a:cubicBezTo>
                    <a:pt x="407" y="47"/>
                    <a:pt x="405" y="44"/>
                    <a:pt x="403" y="43"/>
                  </a:cubicBezTo>
                  <a:cubicBezTo>
                    <a:pt x="391" y="38"/>
                    <a:pt x="378" y="36"/>
                    <a:pt x="365" y="36"/>
                  </a:cubicBezTo>
                  <a:cubicBezTo>
                    <a:pt x="346" y="36"/>
                    <a:pt x="328" y="41"/>
                    <a:pt x="313" y="51"/>
                  </a:cubicBezTo>
                  <a:cubicBezTo>
                    <a:pt x="288" y="20"/>
                    <a:pt x="249" y="0"/>
                    <a:pt x="206" y="0"/>
                  </a:cubicBezTo>
                  <a:cubicBezTo>
                    <a:pt x="136" y="0"/>
                    <a:pt x="78" y="52"/>
                    <a:pt x="68" y="120"/>
                  </a:cubicBezTo>
                  <a:cubicBezTo>
                    <a:pt x="29" y="130"/>
                    <a:pt x="0" y="166"/>
                    <a:pt x="0" y="209"/>
                  </a:cubicBezTo>
                  <a:cubicBezTo>
                    <a:pt x="0" y="229"/>
                    <a:pt x="7" y="250"/>
                    <a:pt x="20" y="266"/>
                  </a:cubicBezTo>
                  <a:cubicBezTo>
                    <a:pt x="33" y="283"/>
                    <a:pt x="52" y="295"/>
                    <a:pt x="74" y="295"/>
                  </a:cubicBezTo>
                  <a:cubicBezTo>
                    <a:pt x="350" y="295"/>
                    <a:pt x="350" y="295"/>
                    <a:pt x="350" y="295"/>
                  </a:cubicBezTo>
                  <a:cubicBezTo>
                    <a:pt x="350" y="295"/>
                    <a:pt x="351" y="295"/>
                    <a:pt x="351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410" y="295"/>
                    <a:pt x="410" y="295"/>
                    <a:pt x="410" y="295"/>
                  </a:cubicBezTo>
                  <a:cubicBezTo>
                    <a:pt x="430" y="295"/>
                    <a:pt x="446" y="286"/>
                    <a:pt x="457" y="273"/>
                  </a:cubicBezTo>
                  <a:cubicBezTo>
                    <a:pt x="468" y="260"/>
                    <a:pt x="474" y="244"/>
                    <a:pt x="474" y="230"/>
                  </a:cubicBezTo>
                  <a:cubicBezTo>
                    <a:pt x="474" y="211"/>
                    <a:pt x="466" y="194"/>
                    <a:pt x="454" y="182"/>
                  </a:cubicBezTo>
                  <a:close/>
                </a:path>
              </a:pathLst>
            </a:custGeom>
            <a:solidFill>
              <a:srgbClr val="FFFFFF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690" name="Freeform 23"/>
            <p:cNvSpPr>
              <a:spLocks noChangeAspect="1"/>
            </p:cNvSpPr>
            <p:nvPr/>
          </p:nvSpPr>
          <p:spPr bwMode="auto">
            <a:xfrm>
              <a:off x="1099" y="797"/>
              <a:ext cx="425" cy="265"/>
            </a:xfrm>
            <a:custGeom>
              <a:avLst/>
              <a:gdLst>
                <a:gd name="T0" fmla="*/ 407 w 474"/>
                <a:gd name="T1" fmla="*/ 163 h 295"/>
                <a:gd name="T2" fmla="*/ 418 w 474"/>
                <a:gd name="T3" fmla="*/ 122 h 295"/>
                <a:gd name="T4" fmla="*/ 387 w 474"/>
                <a:gd name="T5" fmla="*/ 55 h 295"/>
                <a:gd name="T6" fmla="*/ 377 w 474"/>
                <a:gd name="T7" fmla="*/ 57 h 295"/>
                <a:gd name="T8" fmla="*/ 378 w 474"/>
                <a:gd name="T9" fmla="*/ 66 h 295"/>
                <a:gd name="T10" fmla="*/ 378 w 474"/>
                <a:gd name="T11" fmla="*/ 66 h 295"/>
                <a:gd name="T12" fmla="*/ 403 w 474"/>
                <a:gd name="T13" fmla="*/ 122 h 295"/>
                <a:gd name="T14" fmla="*/ 392 w 474"/>
                <a:gd name="T15" fmla="*/ 161 h 295"/>
                <a:gd name="T16" fmla="*/ 394 w 474"/>
                <a:gd name="T17" fmla="*/ 170 h 295"/>
                <a:gd name="T18" fmla="*/ 411 w 474"/>
                <a:gd name="T19" fmla="*/ 207 h 295"/>
                <a:gd name="T20" fmla="*/ 399 w 474"/>
                <a:gd name="T21" fmla="*/ 235 h 295"/>
                <a:gd name="T22" fmla="*/ 368 w 474"/>
                <a:gd name="T23" fmla="*/ 251 h 295"/>
                <a:gd name="T24" fmla="*/ 314 w 474"/>
                <a:gd name="T25" fmla="*/ 251 h 295"/>
                <a:gd name="T26" fmla="*/ 66 w 474"/>
                <a:gd name="T27" fmla="*/ 251 h 295"/>
                <a:gd name="T28" fmla="*/ 30 w 474"/>
                <a:gd name="T29" fmla="*/ 230 h 295"/>
                <a:gd name="T30" fmla="*/ 14 w 474"/>
                <a:gd name="T31" fmla="*/ 188 h 295"/>
                <a:gd name="T32" fmla="*/ 69 w 474"/>
                <a:gd name="T33" fmla="*/ 120 h 295"/>
                <a:gd name="T34" fmla="*/ 75 w 474"/>
                <a:gd name="T35" fmla="*/ 114 h 295"/>
                <a:gd name="T36" fmla="*/ 185 w 474"/>
                <a:gd name="T37" fmla="*/ 14 h 295"/>
                <a:gd name="T38" fmla="*/ 273 w 474"/>
                <a:gd name="T39" fmla="*/ 59 h 295"/>
                <a:gd name="T40" fmla="*/ 283 w 474"/>
                <a:gd name="T41" fmla="*/ 61 h 295"/>
                <a:gd name="T42" fmla="*/ 327 w 474"/>
                <a:gd name="T43" fmla="*/ 47 h 295"/>
                <a:gd name="T44" fmla="*/ 354 w 474"/>
                <a:gd name="T45" fmla="*/ 51 h 295"/>
                <a:gd name="T46" fmla="*/ 355 w 474"/>
                <a:gd name="T47" fmla="*/ 52 h 295"/>
                <a:gd name="T48" fmla="*/ 364 w 474"/>
                <a:gd name="T49" fmla="*/ 49 h 295"/>
                <a:gd name="T50" fmla="*/ 365 w 474"/>
                <a:gd name="T51" fmla="*/ 44 h 295"/>
                <a:gd name="T52" fmla="*/ 361 w 474"/>
                <a:gd name="T53" fmla="*/ 39 h 295"/>
                <a:gd name="T54" fmla="*/ 327 w 474"/>
                <a:gd name="T55" fmla="*/ 32 h 295"/>
                <a:gd name="T56" fmla="*/ 281 w 474"/>
                <a:gd name="T57" fmla="*/ 46 h 295"/>
                <a:gd name="T58" fmla="*/ 185 w 474"/>
                <a:gd name="T59" fmla="*/ 0 h 295"/>
                <a:gd name="T60" fmla="*/ 61 w 474"/>
                <a:gd name="T61" fmla="*/ 108 h 295"/>
                <a:gd name="T62" fmla="*/ 0 w 474"/>
                <a:gd name="T63" fmla="*/ 188 h 295"/>
                <a:gd name="T64" fmla="*/ 18 w 474"/>
                <a:gd name="T65" fmla="*/ 239 h 295"/>
                <a:gd name="T66" fmla="*/ 66 w 474"/>
                <a:gd name="T67" fmla="*/ 265 h 295"/>
                <a:gd name="T68" fmla="*/ 314 w 474"/>
                <a:gd name="T69" fmla="*/ 265 h 295"/>
                <a:gd name="T70" fmla="*/ 315 w 474"/>
                <a:gd name="T71" fmla="*/ 265 h 295"/>
                <a:gd name="T72" fmla="*/ 343 w 474"/>
                <a:gd name="T73" fmla="*/ 265 h 295"/>
                <a:gd name="T74" fmla="*/ 343 w 474"/>
                <a:gd name="T75" fmla="*/ 265 h 295"/>
                <a:gd name="T76" fmla="*/ 343 w 474"/>
                <a:gd name="T77" fmla="*/ 265 h 295"/>
                <a:gd name="T78" fmla="*/ 368 w 474"/>
                <a:gd name="T79" fmla="*/ 265 h 295"/>
                <a:gd name="T80" fmla="*/ 410 w 474"/>
                <a:gd name="T81" fmla="*/ 245 h 295"/>
                <a:gd name="T82" fmla="*/ 425 w 474"/>
                <a:gd name="T83" fmla="*/ 207 h 295"/>
                <a:gd name="T84" fmla="*/ 407 w 474"/>
                <a:gd name="T85" fmla="*/ 163 h 29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474" h="295">
                  <a:moveTo>
                    <a:pt x="454" y="182"/>
                  </a:moveTo>
                  <a:cubicBezTo>
                    <a:pt x="461" y="168"/>
                    <a:pt x="466" y="153"/>
                    <a:pt x="466" y="136"/>
                  </a:cubicBezTo>
                  <a:cubicBezTo>
                    <a:pt x="466" y="106"/>
                    <a:pt x="452" y="80"/>
                    <a:pt x="432" y="61"/>
                  </a:cubicBezTo>
                  <a:cubicBezTo>
                    <a:pt x="428" y="58"/>
                    <a:pt x="423" y="59"/>
                    <a:pt x="420" y="63"/>
                  </a:cubicBezTo>
                  <a:cubicBezTo>
                    <a:pt x="418" y="66"/>
                    <a:pt x="418" y="71"/>
                    <a:pt x="422" y="74"/>
                  </a:cubicBezTo>
                  <a:cubicBezTo>
                    <a:pt x="422" y="74"/>
                    <a:pt x="422" y="74"/>
                    <a:pt x="422" y="74"/>
                  </a:cubicBezTo>
                  <a:cubicBezTo>
                    <a:pt x="439" y="90"/>
                    <a:pt x="450" y="112"/>
                    <a:pt x="450" y="136"/>
                  </a:cubicBezTo>
                  <a:cubicBezTo>
                    <a:pt x="450" y="152"/>
                    <a:pt x="445" y="167"/>
                    <a:pt x="437" y="179"/>
                  </a:cubicBezTo>
                  <a:cubicBezTo>
                    <a:pt x="435" y="183"/>
                    <a:pt x="436" y="187"/>
                    <a:pt x="439" y="189"/>
                  </a:cubicBezTo>
                  <a:cubicBezTo>
                    <a:pt x="450" y="200"/>
                    <a:pt x="458" y="214"/>
                    <a:pt x="458" y="230"/>
                  </a:cubicBezTo>
                  <a:cubicBezTo>
                    <a:pt x="458" y="240"/>
                    <a:pt x="453" y="253"/>
                    <a:pt x="445" y="262"/>
                  </a:cubicBezTo>
                  <a:cubicBezTo>
                    <a:pt x="436" y="272"/>
                    <a:pt x="424" y="279"/>
                    <a:pt x="410" y="279"/>
                  </a:cubicBezTo>
                  <a:cubicBezTo>
                    <a:pt x="350" y="279"/>
                    <a:pt x="350" y="279"/>
                    <a:pt x="350" y="279"/>
                  </a:cubicBezTo>
                  <a:cubicBezTo>
                    <a:pt x="74" y="279"/>
                    <a:pt x="74" y="279"/>
                    <a:pt x="74" y="279"/>
                  </a:cubicBezTo>
                  <a:cubicBezTo>
                    <a:pt x="58" y="279"/>
                    <a:pt x="44" y="270"/>
                    <a:pt x="33" y="256"/>
                  </a:cubicBezTo>
                  <a:cubicBezTo>
                    <a:pt x="22" y="243"/>
                    <a:pt x="16" y="225"/>
                    <a:pt x="16" y="209"/>
                  </a:cubicBezTo>
                  <a:cubicBezTo>
                    <a:pt x="16" y="172"/>
                    <a:pt x="42" y="141"/>
                    <a:pt x="77" y="134"/>
                  </a:cubicBezTo>
                  <a:cubicBezTo>
                    <a:pt x="81" y="133"/>
                    <a:pt x="83" y="130"/>
                    <a:pt x="84" y="127"/>
                  </a:cubicBezTo>
                  <a:cubicBezTo>
                    <a:pt x="90" y="65"/>
                    <a:pt x="142" y="16"/>
                    <a:pt x="206" y="16"/>
                  </a:cubicBezTo>
                  <a:cubicBezTo>
                    <a:pt x="247" y="16"/>
                    <a:pt x="282" y="36"/>
                    <a:pt x="305" y="66"/>
                  </a:cubicBezTo>
                  <a:cubicBezTo>
                    <a:pt x="308" y="70"/>
                    <a:pt x="313" y="70"/>
                    <a:pt x="316" y="68"/>
                  </a:cubicBezTo>
                  <a:cubicBezTo>
                    <a:pt x="330" y="58"/>
                    <a:pt x="347" y="52"/>
                    <a:pt x="365" y="52"/>
                  </a:cubicBezTo>
                  <a:cubicBezTo>
                    <a:pt x="376" y="52"/>
                    <a:pt x="386" y="54"/>
                    <a:pt x="395" y="57"/>
                  </a:cubicBezTo>
                  <a:cubicBezTo>
                    <a:pt x="395" y="57"/>
                    <a:pt x="396" y="58"/>
                    <a:pt x="396" y="58"/>
                  </a:cubicBezTo>
                  <a:cubicBezTo>
                    <a:pt x="400" y="59"/>
                    <a:pt x="405" y="58"/>
                    <a:pt x="406" y="54"/>
                  </a:cubicBezTo>
                  <a:cubicBezTo>
                    <a:pt x="407" y="52"/>
                    <a:pt x="407" y="51"/>
                    <a:pt x="407" y="49"/>
                  </a:cubicBezTo>
                  <a:cubicBezTo>
                    <a:pt x="407" y="47"/>
                    <a:pt x="405" y="44"/>
                    <a:pt x="403" y="43"/>
                  </a:cubicBezTo>
                  <a:cubicBezTo>
                    <a:pt x="391" y="38"/>
                    <a:pt x="378" y="36"/>
                    <a:pt x="365" y="36"/>
                  </a:cubicBezTo>
                  <a:cubicBezTo>
                    <a:pt x="346" y="36"/>
                    <a:pt x="328" y="41"/>
                    <a:pt x="313" y="51"/>
                  </a:cubicBezTo>
                  <a:cubicBezTo>
                    <a:pt x="288" y="20"/>
                    <a:pt x="249" y="0"/>
                    <a:pt x="206" y="0"/>
                  </a:cubicBezTo>
                  <a:cubicBezTo>
                    <a:pt x="136" y="0"/>
                    <a:pt x="78" y="52"/>
                    <a:pt x="68" y="120"/>
                  </a:cubicBezTo>
                  <a:cubicBezTo>
                    <a:pt x="29" y="130"/>
                    <a:pt x="0" y="166"/>
                    <a:pt x="0" y="209"/>
                  </a:cubicBezTo>
                  <a:cubicBezTo>
                    <a:pt x="0" y="229"/>
                    <a:pt x="7" y="250"/>
                    <a:pt x="20" y="266"/>
                  </a:cubicBezTo>
                  <a:cubicBezTo>
                    <a:pt x="33" y="283"/>
                    <a:pt x="52" y="295"/>
                    <a:pt x="74" y="295"/>
                  </a:cubicBezTo>
                  <a:cubicBezTo>
                    <a:pt x="350" y="295"/>
                    <a:pt x="350" y="295"/>
                    <a:pt x="350" y="295"/>
                  </a:cubicBezTo>
                  <a:cubicBezTo>
                    <a:pt x="350" y="295"/>
                    <a:pt x="351" y="295"/>
                    <a:pt x="351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410" y="295"/>
                    <a:pt x="410" y="295"/>
                    <a:pt x="410" y="295"/>
                  </a:cubicBezTo>
                  <a:cubicBezTo>
                    <a:pt x="430" y="295"/>
                    <a:pt x="446" y="286"/>
                    <a:pt x="457" y="273"/>
                  </a:cubicBezTo>
                  <a:cubicBezTo>
                    <a:pt x="468" y="260"/>
                    <a:pt x="474" y="244"/>
                    <a:pt x="474" y="230"/>
                  </a:cubicBezTo>
                  <a:cubicBezTo>
                    <a:pt x="474" y="211"/>
                    <a:pt x="466" y="194"/>
                    <a:pt x="454" y="182"/>
                  </a:cubicBezTo>
                  <a:close/>
                </a:path>
              </a:pathLst>
            </a:custGeom>
            <a:solidFill>
              <a:srgbClr val="FFFFFF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691" name="Freeform 24"/>
            <p:cNvSpPr>
              <a:spLocks noChangeAspect="1"/>
            </p:cNvSpPr>
            <p:nvPr/>
          </p:nvSpPr>
          <p:spPr bwMode="auto">
            <a:xfrm>
              <a:off x="677" y="877"/>
              <a:ext cx="387" cy="242"/>
            </a:xfrm>
            <a:custGeom>
              <a:avLst/>
              <a:gdLst>
                <a:gd name="T0" fmla="*/ 371 w 474"/>
                <a:gd name="T1" fmla="*/ 149 h 295"/>
                <a:gd name="T2" fmla="*/ 380 w 474"/>
                <a:gd name="T3" fmla="*/ 112 h 295"/>
                <a:gd name="T4" fmla="*/ 353 w 474"/>
                <a:gd name="T5" fmla="*/ 50 h 295"/>
                <a:gd name="T6" fmla="*/ 343 w 474"/>
                <a:gd name="T7" fmla="*/ 52 h 295"/>
                <a:gd name="T8" fmla="*/ 345 w 474"/>
                <a:gd name="T9" fmla="*/ 61 h 295"/>
                <a:gd name="T10" fmla="*/ 345 w 474"/>
                <a:gd name="T11" fmla="*/ 61 h 295"/>
                <a:gd name="T12" fmla="*/ 367 w 474"/>
                <a:gd name="T13" fmla="*/ 112 h 295"/>
                <a:gd name="T14" fmla="*/ 357 w 474"/>
                <a:gd name="T15" fmla="*/ 147 h 295"/>
                <a:gd name="T16" fmla="*/ 358 w 474"/>
                <a:gd name="T17" fmla="*/ 155 h 295"/>
                <a:gd name="T18" fmla="*/ 374 w 474"/>
                <a:gd name="T19" fmla="*/ 189 h 295"/>
                <a:gd name="T20" fmla="*/ 363 w 474"/>
                <a:gd name="T21" fmla="*/ 215 h 295"/>
                <a:gd name="T22" fmla="*/ 335 w 474"/>
                <a:gd name="T23" fmla="*/ 229 h 295"/>
                <a:gd name="T24" fmla="*/ 286 w 474"/>
                <a:gd name="T25" fmla="*/ 229 h 295"/>
                <a:gd name="T26" fmla="*/ 60 w 474"/>
                <a:gd name="T27" fmla="*/ 229 h 295"/>
                <a:gd name="T28" fmla="*/ 27 w 474"/>
                <a:gd name="T29" fmla="*/ 210 h 295"/>
                <a:gd name="T30" fmla="*/ 13 w 474"/>
                <a:gd name="T31" fmla="*/ 171 h 295"/>
                <a:gd name="T32" fmla="*/ 63 w 474"/>
                <a:gd name="T33" fmla="*/ 110 h 295"/>
                <a:gd name="T34" fmla="*/ 69 w 474"/>
                <a:gd name="T35" fmla="*/ 104 h 295"/>
                <a:gd name="T36" fmla="*/ 168 w 474"/>
                <a:gd name="T37" fmla="*/ 13 h 295"/>
                <a:gd name="T38" fmla="*/ 249 w 474"/>
                <a:gd name="T39" fmla="*/ 54 h 295"/>
                <a:gd name="T40" fmla="*/ 258 w 474"/>
                <a:gd name="T41" fmla="*/ 56 h 295"/>
                <a:gd name="T42" fmla="*/ 298 w 474"/>
                <a:gd name="T43" fmla="*/ 43 h 295"/>
                <a:gd name="T44" fmla="*/ 323 w 474"/>
                <a:gd name="T45" fmla="*/ 47 h 295"/>
                <a:gd name="T46" fmla="*/ 323 w 474"/>
                <a:gd name="T47" fmla="*/ 48 h 295"/>
                <a:gd name="T48" fmla="*/ 331 w 474"/>
                <a:gd name="T49" fmla="*/ 44 h 295"/>
                <a:gd name="T50" fmla="*/ 332 w 474"/>
                <a:gd name="T51" fmla="*/ 40 h 295"/>
                <a:gd name="T52" fmla="*/ 329 w 474"/>
                <a:gd name="T53" fmla="*/ 35 h 295"/>
                <a:gd name="T54" fmla="*/ 298 w 474"/>
                <a:gd name="T55" fmla="*/ 30 h 295"/>
                <a:gd name="T56" fmla="*/ 256 w 474"/>
                <a:gd name="T57" fmla="*/ 42 h 295"/>
                <a:gd name="T58" fmla="*/ 168 w 474"/>
                <a:gd name="T59" fmla="*/ 0 h 295"/>
                <a:gd name="T60" fmla="*/ 56 w 474"/>
                <a:gd name="T61" fmla="*/ 98 h 295"/>
                <a:gd name="T62" fmla="*/ 0 w 474"/>
                <a:gd name="T63" fmla="*/ 171 h 295"/>
                <a:gd name="T64" fmla="*/ 16 w 474"/>
                <a:gd name="T65" fmla="*/ 218 h 295"/>
                <a:gd name="T66" fmla="*/ 60 w 474"/>
                <a:gd name="T67" fmla="*/ 242 h 295"/>
                <a:gd name="T68" fmla="*/ 286 w 474"/>
                <a:gd name="T69" fmla="*/ 242 h 295"/>
                <a:gd name="T70" fmla="*/ 287 w 474"/>
                <a:gd name="T71" fmla="*/ 242 h 295"/>
                <a:gd name="T72" fmla="*/ 312 w 474"/>
                <a:gd name="T73" fmla="*/ 242 h 295"/>
                <a:gd name="T74" fmla="*/ 312 w 474"/>
                <a:gd name="T75" fmla="*/ 242 h 295"/>
                <a:gd name="T76" fmla="*/ 312 w 474"/>
                <a:gd name="T77" fmla="*/ 242 h 295"/>
                <a:gd name="T78" fmla="*/ 335 w 474"/>
                <a:gd name="T79" fmla="*/ 242 h 295"/>
                <a:gd name="T80" fmla="*/ 373 w 474"/>
                <a:gd name="T81" fmla="*/ 224 h 295"/>
                <a:gd name="T82" fmla="*/ 387 w 474"/>
                <a:gd name="T83" fmla="*/ 189 h 295"/>
                <a:gd name="T84" fmla="*/ 371 w 474"/>
                <a:gd name="T85" fmla="*/ 149 h 29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474" h="295">
                  <a:moveTo>
                    <a:pt x="454" y="182"/>
                  </a:moveTo>
                  <a:cubicBezTo>
                    <a:pt x="461" y="168"/>
                    <a:pt x="466" y="153"/>
                    <a:pt x="466" y="136"/>
                  </a:cubicBezTo>
                  <a:cubicBezTo>
                    <a:pt x="466" y="106"/>
                    <a:pt x="452" y="80"/>
                    <a:pt x="432" y="61"/>
                  </a:cubicBezTo>
                  <a:cubicBezTo>
                    <a:pt x="428" y="58"/>
                    <a:pt x="423" y="59"/>
                    <a:pt x="420" y="63"/>
                  </a:cubicBezTo>
                  <a:cubicBezTo>
                    <a:pt x="418" y="66"/>
                    <a:pt x="418" y="71"/>
                    <a:pt x="422" y="74"/>
                  </a:cubicBezTo>
                  <a:cubicBezTo>
                    <a:pt x="422" y="74"/>
                    <a:pt x="422" y="74"/>
                    <a:pt x="422" y="74"/>
                  </a:cubicBezTo>
                  <a:cubicBezTo>
                    <a:pt x="439" y="90"/>
                    <a:pt x="450" y="112"/>
                    <a:pt x="450" y="136"/>
                  </a:cubicBezTo>
                  <a:cubicBezTo>
                    <a:pt x="450" y="152"/>
                    <a:pt x="445" y="167"/>
                    <a:pt x="437" y="179"/>
                  </a:cubicBezTo>
                  <a:cubicBezTo>
                    <a:pt x="435" y="183"/>
                    <a:pt x="436" y="187"/>
                    <a:pt x="439" y="189"/>
                  </a:cubicBezTo>
                  <a:cubicBezTo>
                    <a:pt x="450" y="200"/>
                    <a:pt x="458" y="214"/>
                    <a:pt x="458" y="230"/>
                  </a:cubicBezTo>
                  <a:cubicBezTo>
                    <a:pt x="458" y="240"/>
                    <a:pt x="453" y="253"/>
                    <a:pt x="445" y="262"/>
                  </a:cubicBezTo>
                  <a:cubicBezTo>
                    <a:pt x="436" y="272"/>
                    <a:pt x="424" y="279"/>
                    <a:pt x="410" y="279"/>
                  </a:cubicBezTo>
                  <a:cubicBezTo>
                    <a:pt x="350" y="279"/>
                    <a:pt x="350" y="279"/>
                    <a:pt x="350" y="279"/>
                  </a:cubicBezTo>
                  <a:cubicBezTo>
                    <a:pt x="74" y="279"/>
                    <a:pt x="74" y="279"/>
                    <a:pt x="74" y="279"/>
                  </a:cubicBezTo>
                  <a:cubicBezTo>
                    <a:pt x="58" y="279"/>
                    <a:pt x="44" y="270"/>
                    <a:pt x="33" y="256"/>
                  </a:cubicBezTo>
                  <a:cubicBezTo>
                    <a:pt x="22" y="243"/>
                    <a:pt x="16" y="225"/>
                    <a:pt x="16" y="209"/>
                  </a:cubicBezTo>
                  <a:cubicBezTo>
                    <a:pt x="16" y="172"/>
                    <a:pt x="42" y="141"/>
                    <a:pt x="77" y="134"/>
                  </a:cubicBezTo>
                  <a:cubicBezTo>
                    <a:pt x="81" y="133"/>
                    <a:pt x="83" y="130"/>
                    <a:pt x="84" y="127"/>
                  </a:cubicBezTo>
                  <a:cubicBezTo>
                    <a:pt x="90" y="65"/>
                    <a:pt x="142" y="16"/>
                    <a:pt x="206" y="16"/>
                  </a:cubicBezTo>
                  <a:cubicBezTo>
                    <a:pt x="247" y="16"/>
                    <a:pt x="282" y="36"/>
                    <a:pt x="305" y="66"/>
                  </a:cubicBezTo>
                  <a:cubicBezTo>
                    <a:pt x="308" y="70"/>
                    <a:pt x="313" y="70"/>
                    <a:pt x="316" y="68"/>
                  </a:cubicBezTo>
                  <a:cubicBezTo>
                    <a:pt x="330" y="58"/>
                    <a:pt x="347" y="52"/>
                    <a:pt x="365" y="52"/>
                  </a:cubicBezTo>
                  <a:cubicBezTo>
                    <a:pt x="376" y="52"/>
                    <a:pt x="386" y="54"/>
                    <a:pt x="395" y="57"/>
                  </a:cubicBezTo>
                  <a:cubicBezTo>
                    <a:pt x="395" y="57"/>
                    <a:pt x="396" y="58"/>
                    <a:pt x="396" y="58"/>
                  </a:cubicBezTo>
                  <a:cubicBezTo>
                    <a:pt x="400" y="59"/>
                    <a:pt x="405" y="58"/>
                    <a:pt x="406" y="54"/>
                  </a:cubicBezTo>
                  <a:cubicBezTo>
                    <a:pt x="407" y="52"/>
                    <a:pt x="407" y="51"/>
                    <a:pt x="407" y="49"/>
                  </a:cubicBezTo>
                  <a:cubicBezTo>
                    <a:pt x="407" y="47"/>
                    <a:pt x="405" y="44"/>
                    <a:pt x="403" y="43"/>
                  </a:cubicBezTo>
                  <a:cubicBezTo>
                    <a:pt x="391" y="38"/>
                    <a:pt x="378" y="36"/>
                    <a:pt x="365" y="36"/>
                  </a:cubicBezTo>
                  <a:cubicBezTo>
                    <a:pt x="346" y="36"/>
                    <a:pt x="328" y="41"/>
                    <a:pt x="313" y="51"/>
                  </a:cubicBezTo>
                  <a:cubicBezTo>
                    <a:pt x="288" y="20"/>
                    <a:pt x="249" y="0"/>
                    <a:pt x="206" y="0"/>
                  </a:cubicBezTo>
                  <a:cubicBezTo>
                    <a:pt x="136" y="0"/>
                    <a:pt x="78" y="52"/>
                    <a:pt x="68" y="120"/>
                  </a:cubicBezTo>
                  <a:cubicBezTo>
                    <a:pt x="29" y="130"/>
                    <a:pt x="0" y="166"/>
                    <a:pt x="0" y="209"/>
                  </a:cubicBezTo>
                  <a:cubicBezTo>
                    <a:pt x="0" y="229"/>
                    <a:pt x="7" y="250"/>
                    <a:pt x="20" y="266"/>
                  </a:cubicBezTo>
                  <a:cubicBezTo>
                    <a:pt x="33" y="283"/>
                    <a:pt x="52" y="295"/>
                    <a:pt x="74" y="295"/>
                  </a:cubicBezTo>
                  <a:cubicBezTo>
                    <a:pt x="350" y="295"/>
                    <a:pt x="350" y="295"/>
                    <a:pt x="350" y="295"/>
                  </a:cubicBezTo>
                  <a:cubicBezTo>
                    <a:pt x="350" y="295"/>
                    <a:pt x="351" y="295"/>
                    <a:pt x="351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410" y="295"/>
                    <a:pt x="410" y="295"/>
                    <a:pt x="410" y="295"/>
                  </a:cubicBezTo>
                  <a:cubicBezTo>
                    <a:pt x="430" y="295"/>
                    <a:pt x="446" y="286"/>
                    <a:pt x="457" y="273"/>
                  </a:cubicBezTo>
                  <a:cubicBezTo>
                    <a:pt x="468" y="260"/>
                    <a:pt x="474" y="244"/>
                    <a:pt x="474" y="230"/>
                  </a:cubicBezTo>
                  <a:cubicBezTo>
                    <a:pt x="474" y="211"/>
                    <a:pt x="466" y="194"/>
                    <a:pt x="454" y="182"/>
                  </a:cubicBezTo>
                  <a:close/>
                </a:path>
              </a:pathLst>
            </a:custGeom>
            <a:solidFill>
              <a:srgbClr val="FFFFFF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7656" name="Group 25"/>
          <p:cNvGrpSpPr>
            <a:grpSpLocks/>
          </p:cNvGrpSpPr>
          <p:nvPr/>
        </p:nvGrpSpPr>
        <p:grpSpPr bwMode="auto">
          <a:xfrm>
            <a:off x="9980892" y="3693034"/>
            <a:ext cx="1479549" cy="1444335"/>
            <a:chOff x="6412" y="2585"/>
            <a:chExt cx="838" cy="893"/>
          </a:xfrm>
        </p:grpSpPr>
        <p:sp>
          <p:nvSpPr>
            <p:cNvPr id="27681" name="Freeform 26" descr="bpct-blend2"/>
            <p:cNvSpPr>
              <a:spLocks noChangeAspect="1" noEditPoints="1"/>
            </p:cNvSpPr>
            <p:nvPr/>
          </p:nvSpPr>
          <p:spPr bwMode="auto">
            <a:xfrm>
              <a:off x="6556" y="2585"/>
              <a:ext cx="549" cy="636"/>
            </a:xfrm>
            <a:custGeom>
              <a:avLst/>
              <a:gdLst>
                <a:gd name="T0" fmla="*/ 523 w 355"/>
                <a:gd name="T1" fmla="*/ 480 h 411"/>
                <a:gd name="T2" fmla="*/ 453 w 355"/>
                <a:gd name="T3" fmla="*/ 585 h 411"/>
                <a:gd name="T4" fmla="*/ 87 w 355"/>
                <a:gd name="T5" fmla="*/ 508 h 411"/>
                <a:gd name="T6" fmla="*/ 25 w 355"/>
                <a:gd name="T7" fmla="*/ 350 h 411"/>
                <a:gd name="T8" fmla="*/ 68 w 355"/>
                <a:gd name="T9" fmla="*/ 336 h 411"/>
                <a:gd name="T10" fmla="*/ 87 w 355"/>
                <a:gd name="T11" fmla="*/ 415 h 411"/>
                <a:gd name="T12" fmla="*/ 73 w 355"/>
                <a:gd name="T13" fmla="*/ 455 h 411"/>
                <a:gd name="T14" fmla="*/ 118 w 355"/>
                <a:gd name="T15" fmla="*/ 511 h 411"/>
                <a:gd name="T16" fmla="*/ 251 w 355"/>
                <a:gd name="T17" fmla="*/ 557 h 411"/>
                <a:gd name="T18" fmla="*/ 297 w 355"/>
                <a:gd name="T19" fmla="*/ 560 h 411"/>
                <a:gd name="T20" fmla="*/ 302 w 355"/>
                <a:gd name="T21" fmla="*/ 537 h 411"/>
                <a:gd name="T22" fmla="*/ 280 w 355"/>
                <a:gd name="T23" fmla="*/ 535 h 411"/>
                <a:gd name="T24" fmla="*/ 150 w 355"/>
                <a:gd name="T25" fmla="*/ 503 h 411"/>
                <a:gd name="T26" fmla="*/ 110 w 355"/>
                <a:gd name="T27" fmla="*/ 474 h 411"/>
                <a:gd name="T28" fmla="*/ 96 w 355"/>
                <a:gd name="T29" fmla="*/ 450 h 411"/>
                <a:gd name="T30" fmla="*/ 110 w 355"/>
                <a:gd name="T31" fmla="*/ 427 h 411"/>
                <a:gd name="T32" fmla="*/ 131 w 355"/>
                <a:gd name="T33" fmla="*/ 421 h 411"/>
                <a:gd name="T34" fmla="*/ 176 w 355"/>
                <a:gd name="T35" fmla="*/ 436 h 411"/>
                <a:gd name="T36" fmla="*/ 269 w 355"/>
                <a:gd name="T37" fmla="*/ 460 h 411"/>
                <a:gd name="T38" fmla="*/ 411 w 355"/>
                <a:gd name="T39" fmla="*/ 427 h 411"/>
                <a:gd name="T40" fmla="*/ 507 w 355"/>
                <a:gd name="T41" fmla="*/ 443 h 411"/>
                <a:gd name="T42" fmla="*/ 526 w 355"/>
                <a:gd name="T43" fmla="*/ 429 h 411"/>
                <a:gd name="T44" fmla="*/ 399 w 355"/>
                <a:gd name="T45" fmla="*/ 405 h 411"/>
                <a:gd name="T46" fmla="*/ 317 w 355"/>
                <a:gd name="T47" fmla="*/ 361 h 411"/>
                <a:gd name="T48" fmla="*/ 271 w 355"/>
                <a:gd name="T49" fmla="*/ 181 h 411"/>
                <a:gd name="T50" fmla="*/ 244 w 355"/>
                <a:gd name="T51" fmla="*/ 376 h 411"/>
                <a:gd name="T52" fmla="*/ 167 w 355"/>
                <a:gd name="T53" fmla="*/ 322 h 411"/>
                <a:gd name="T54" fmla="*/ 118 w 355"/>
                <a:gd name="T55" fmla="*/ 317 h 411"/>
                <a:gd name="T56" fmla="*/ 53 w 355"/>
                <a:gd name="T57" fmla="*/ 305 h 411"/>
                <a:gd name="T58" fmla="*/ 22 w 355"/>
                <a:gd name="T59" fmla="*/ 438 h 411"/>
                <a:gd name="T60" fmla="*/ 297 w 355"/>
                <a:gd name="T61" fmla="*/ 636 h 411"/>
                <a:gd name="T62" fmla="*/ 549 w 355"/>
                <a:gd name="T63" fmla="*/ 495 h 411"/>
                <a:gd name="T64" fmla="*/ 172 w 355"/>
                <a:gd name="T65" fmla="*/ 350 h 411"/>
                <a:gd name="T66" fmla="*/ 158 w 355"/>
                <a:gd name="T67" fmla="*/ 350 h 411"/>
                <a:gd name="T68" fmla="*/ 124 w 355"/>
                <a:gd name="T69" fmla="*/ 344 h 411"/>
                <a:gd name="T70" fmla="*/ 131 w 355"/>
                <a:gd name="T71" fmla="*/ 396 h 411"/>
                <a:gd name="T72" fmla="*/ 118 w 355"/>
                <a:gd name="T73" fmla="*/ 342 h 411"/>
                <a:gd name="T74" fmla="*/ 376 w 355"/>
                <a:gd name="T75" fmla="*/ 210 h 411"/>
                <a:gd name="T76" fmla="*/ 334 w 355"/>
                <a:gd name="T77" fmla="*/ 241 h 411"/>
                <a:gd name="T78" fmla="*/ 439 w 355"/>
                <a:gd name="T79" fmla="*/ 110 h 411"/>
                <a:gd name="T80" fmla="*/ 315 w 355"/>
                <a:gd name="T81" fmla="*/ 221 h 411"/>
                <a:gd name="T82" fmla="*/ 238 w 355"/>
                <a:gd name="T83" fmla="*/ 139 h 411"/>
                <a:gd name="T84" fmla="*/ 257 w 355"/>
                <a:gd name="T85" fmla="*/ 130 h 411"/>
                <a:gd name="T86" fmla="*/ 309 w 355"/>
                <a:gd name="T87" fmla="*/ 110 h 411"/>
                <a:gd name="T88" fmla="*/ 244 w 355"/>
                <a:gd name="T89" fmla="*/ 3 h 411"/>
                <a:gd name="T90" fmla="*/ 254 w 355"/>
                <a:gd name="T91" fmla="*/ 183 h 411"/>
                <a:gd name="T92" fmla="*/ 131 w 355"/>
                <a:gd name="T93" fmla="*/ 246 h 411"/>
                <a:gd name="T94" fmla="*/ 260 w 355"/>
                <a:gd name="T95" fmla="*/ 269 h 411"/>
                <a:gd name="T96" fmla="*/ 215 w 355"/>
                <a:gd name="T97" fmla="*/ 214 h 411"/>
                <a:gd name="T98" fmla="*/ 227 w 355"/>
                <a:gd name="T99" fmla="*/ 193 h 41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355" h="411">
                  <a:moveTo>
                    <a:pt x="354" y="307"/>
                  </a:moveTo>
                  <a:cubicBezTo>
                    <a:pt x="353" y="303"/>
                    <a:pt x="349" y="300"/>
                    <a:pt x="345" y="301"/>
                  </a:cubicBezTo>
                  <a:cubicBezTo>
                    <a:pt x="340" y="302"/>
                    <a:pt x="337" y="306"/>
                    <a:pt x="338" y="310"/>
                  </a:cubicBezTo>
                  <a:cubicBezTo>
                    <a:pt x="339" y="313"/>
                    <a:pt x="339" y="317"/>
                    <a:pt x="339" y="320"/>
                  </a:cubicBezTo>
                  <a:cubicBezTo>
                    <a:pt x="339" y="333"/>
                    <a:pt x="334" y="344"/>
                    <a:pt x="326" y="354"/>
                  </a:cubicBezTo>
                  <a:cubicBezTo>
                    <a:pt x="317" y="364"/>
                    <a:pt x="306" y="372"/>
                    <a:pt x="293" y="378"/>
                  </a:cubicBezTo>
                  <a:cubicBezTo>
                    <a:pt x="273" y="388"/>
                    <a:pt x="227" y="396"/>
                    <a:pt x="192" y="395"/>
                  </a:cubicBezTo>
                  <a:cubicBezTo>
                    <a:pt x="180" y="395"/>
                    <a:pt x="169" y="395"/>
                    <a:pt x="162" y="393"/>
                  </a:cubicBezTo>
                  <a:cubicBezTo>
                    <a:pt x="132" y="387"/>
                    <a:pt x="77" y="350"/>
                    <a:pt x="56" y="328"/>
                  </a:cubicBezTo>
                  <a:cubicBezTo>
                    <a:pt x="47" y="319"/>
                    <a:pt x="37" y="298"/>
                    <a:pt x="29" y="277"/>
                  </a:cubicBezTo>
                  <a:cubicBezTo>
                    <a:pt x="21" y="257"/>
                    <a:pt x="16" y="235"/>
                    <a:pt x="16" y="228"/>
                  </a:cubicBezTo>
                  <a:cubicBezTo>
                    <a:pt x="16" y="227"/>
                    <a:pt x="16" y="226"/>
                    <a:pt x="16" y="226"/>
                  </a:cubicBezTo>
                  <a:cubicBezTo>
                    <a:pt x="16" y="226"/>
                    <a:pt x="16" y="226"/>
                    <a:pt x="16" y="226"/>
                  </a:cubicBezTo>
                  <a:cubicBezTo>
                    <a:pt x="18" y="220"/>
                    <a:pt x="27" y="213"/>
                    <a:pt x="34" y="213"/>
                  </a:cubicBezTo>
                  <a:cubicBezTo>
                    <a:pt x="37" y="213"/>
                    <a:pt x="40" y="214"/>
                    <a:pt x="44" y="217"/>
                  </a:cubicBezTo>
                  <a:cubicBezTo>
                    <a:pt x="56" y="230"/>
                    <a:pt x="60" y="240"/>
                    <a:pt x="68" y="257"/>
                  </a:cubicBezTo>
                  <a:cubicBezTo>
                    <a:pt x="68" y="258"/>
                    <a:pt x="68" y="258"/>
                    <a:pt x="69" y="259"/>
                  </a:cubicBezTo>
                  <a:cubicBezTo>
                    <a:pt x="64" y="261"/>
                    <a:pt x="60" y="264"/>
                    <a:pt x="56" y="268"/>
                  </a:cubicBezTo>
                  <a:cubicBezTo>
                    <a:pt x="52" y="272"/>
                    <a:pt x="48" y="278"/>
                    <a:pt x="47" y="285"/>
                  </a:cubicBezTo>
                  <a:cubicBezTo>
                    <a:pt x="46" y="287"/>
                    <a:pt x="46" y="289"/>
                    <a:pt x="46" y="291"/>
                  </a:cubicBezTo>
                  <a:cubicBezTo>
                    <a:pt x="46" y="292"/>
                    <a:pt x="46" y="293"/>
                    <a:pt x="47" y="294"/>
                  </a:cubicBezTo>
                  <a:cubicBezTo>
                    <a:pt x="48" y="303"/>
                    <a:pt x="53" y="311"/>
                    <a:pt x="60" y="317"/>
                  </a:cubicBezTo>
                  <a:cubicBezTo>
                    <a:pt x="63" y="320"/>
                    <a:pt x="66" y="323"/>
                    <a:pt x="70" y="326"/>
                  </a:cubicBezTo>
                  <a:cubicBezTo>
                    <a:pt x="72" y="328"/>
                    <a:pt x="74" y="329"/>
                    <a:pt x="76" y="330"/>
                  </a:cubicBezTo>
                  <a:cubicBezTo>
                    <a:pt x="80" y="333"/>
                    <a:pt x="84" y="336"/>
                    <a:pt x="88" y="339"/>
                  </a:cubicBezTo>
                  <a:cubicBezTo>
                    <a:pt x="101" y="347"/>
                    <a:pt x="119" y="352"/>
                    <a:pt x="138" y="356"/>
                  </a:cubicBezTo>
                  <a:cubicBezTo>
                    <a:pt x="146" y="358"/>
                    <a:pt x="155" y="359"/>
                    <a:pt x="162" y="360"/>
                  </a:cubicBezTo>
                  <a:cubicBezTo>
                    <a:pt x="170" y="361"/>
                    <a:pt x="178" y="362"/>
                    <a:pt x="184" y="362"/>
                  </a:cubicBezTo>
                  <a:cubicBezTo>
                    <a:pt x="186" y="362"/>
                    <a:pt x="187" y="362"/>
                    <a:pt x="189" y="362"/>
                  </a:cubicBezTo>
                  <a:cubicBezTo>
                    <a:pt x="190" y="362"/>
                    <a:pt x="191" y="362"/>
                    <a:pt x="192" y="362"/>
                  </a:cubicBezTo>
                  <a:cubicBezTo>
                    <a:pt x="197" y="362"/>
                    <a:pt x="200" y="358"/>
                    <a:pt x="200" y="354"/>
                  </a:cubicBezTo>
                  <a:cubicBezTo>
                    <a:pt x="200" y="352"/>
                    <a:pt x="199" y="350"/>
                    <a:pt x="198" y="349"/>
                  </a:cubicBezTo>
                  <a:cubicBezTo>
                    <a:pt x="197" y="348"/>
                    <a:pt x="196" y="347"/>
                    <a:pt x="195" y="347"/>
                  </a:cubicBezTo>
                  <a:cubicBezTo>
                    <a:pt x="194" y="346"/>
                    <a:pt x="193" y="346"/>
                    <a:pt x="192" y="346"/>
                  </a:cubicBezTo>
                  <a:cubicBezTo>
                    <a:pt x="191" y="346"/>
                    <a:pt x="190" y="346"/>
                    <a:pt x="189" y="346"/>
                  </a:cubicBezTo>
                  <a:cubicBezTo>
                    <a:pt x="186" y="346"/>
                    <a:pt x="184" y="346"/>
                    <a:pt x="181" y="346"/>
                  </a:cubicBezTo>
                  <a:cubicBezTo>
                    <a:pt x="170" y="345"/>
                    <a:pt x="157" y="344"/>
                    <a:pt x="144" y="341"/>
                  </a:cubicBezTo>
                  <a:cubicBezTo>
                    <a:pt x="143" y="341"/>
                    <a:pt x="142" y="341"/>
                    <a:pt x="141" y="341"/>
                  </a:cubicBezTo>
                  <a:cubicBezTo>
                    <a:pt x="124" y="337"/>
                    <a:pt x="106" y="332"/>
                    <a:pt x="97" y="325"/>
                  </a:cubicBezTo>
                  <a:cubicBezTo>
                    <a:pt x="93" y="323"/>
                    <a:pt x="88" y="320"/>
                    <a:pt x="85" y="317"/>
                  </a:cubicBezTo>
                  <a:cubicBezTo>
                    <a:pt x="82" y="315"/>
                    <a:pt x="79" y="313"/>
                    <a:pt x="77" y="311"/>
                  </a:cubicBezTo>
                  <a:cubicBezTo>
                    <a:pt x="75" y="309"/>
                    <a:pt x="73" y="308"/>
                    <a:pt x="71" y="306"/>
                  </a:cubicBezTo>
                  <a:cubicBezTo>
                    <a:pt x="70" y="305"/>
                    <a:pt x="69" y="304"/>
                    <a:pt x="68" y="303"/>
                  </a:cubicBezTo>
                  <a:cubicBezTo>
                    <a:pt x="64" y="298"/>
                    <a:pt x="63" y="295"/>
                    <a:pt x="62" y="292"/>
                  </a:cubicBezTo>
                  <a:cubicBezTo>
                    <a:pt x="62" y="291"/>
                    <a:pt x="62" y="291"/>
                    <a:pt x="62" y="291"/>
                  </a:cubicBezTo>
                  <a:cubicBezTo>
                    <a:pt x="62" y="290"/>
                    <a:pt x="62" y="289"/>
                    <a:pt x="63" y="289"/>
                  </a:cubicBezTo>
                  <a:cubicBezTo>
                    <a:pt x="63" y="287"/>
                    <a:pt x="63" y="286"/>
                    <a:pt x="64" y="285"/>
                  </a:cubicBezTo>
                  <a:cubicBezTo>
                    <a:pt x="65" y="281"/>
                    <a:pt x="68" y="278"/>
                    <a:pt x="71" y="276"/>
                  </a:cubicBezTo>
                  <a:cubicBezTo>
                    <a:pt x="74" y="274"/>
                    <a:pt x="78" y="273"/>
                    <a:pt x="83" y="272"/>
                  </a:cubicBezTo>
                  <a:cubicBezTo>
                    <a:pt x="83" y="272"/>
                    <a:pt x="84" y="272"/>
                    <a:pt x="84" y="272"/>
                  </a:cubicBezTo>
                  <a:cubicBezTo>
                    <a:pt x="84" y="272"/>
                    <a:pt x="84" y="272"/>
                    <a:pt x="85" y="272"/>
                  </a:cubicBezTo>
                  <a:cubicBezTo>
                    <a:pt x="86" y="272"/>
                    <a:pt x="88" y="272"/>
                    <a:pt x="90" y="273"/>
                  </a:cubicBezTo>
                  <a:cubicBezTo>
                    <a:pt x="91" y="273"/>
                    <a:pt x="92" y="273"/>
                    <a:pt x="93" y="274"/>
                  </a:cubicBezTo>
                  <a:cubicBezTo>
                    <a:pt x="98" y="275"/>
                    <a:pt x="105" y="278"/>
                    <a:pt x="114" y="282"/>
                  </a:cubicBezTo>
                  <a:cubicBezTo>
                    <a:pt x="116" y="283"/>
                    <a:pt x="119" y="284"/>
                    <a:pt x="121" y="285"/>
                  </a:cubicBezTo>
                  <a:cubicBezTo>
                    <a:pt x="132" y="289"/>
                    <a:pt x="145" y="293"/>
                    <a:pt x="161" y="296"/>
                  </a:cubicBezTo>
                  <a:cubicBezTo>
                    <a:pt x="165" y="297"/>
                    <a:pt x="169" y="297"/>
                    <a:pt x="174" y="297"/>
                  </a:cubicBezTo>
                  <a:cubicBezTo>
                    <a:pt x="183" y="297"/>
                    <a:pt x="193" y="296"/>
                    <a:pt x="204" y="294"/>
                  </a:cubicBezTo>
                  <a:cubicBezTo>
                    <a:pt x="215" y="291"/>
                    <a:pt x="227" y="287"/>
                    <a:pt x="239" y="284"/>
                  </a:cubicBezTo>
                  <a:cubicBezTo>
                    <a:pt x="248" y="281"/>
                    <a:pt x="257" y="279"/>
                    <a:pt x="266" y="276"/>
                  </a:cubicBezTo>
                  <a:cubicBezTo>
                    <a:pt x="279" y="273"/>
                    <a:pt x="290" y="271"/>
                    <a:pt x="299" y="271"/>
                  </a:cubicBezTo>
                  <a:cubicBezTo>
                    <a:pt x="303" y="271"/>
                    <a:pt x="306" y="272"/>
                    <a:pt x="309" y="272"/>
                  </a:cubicBezTo>
                  <a:cubicBezTo>
                    <a:pt x="317" y="274"/>
                    <a:pt x="320" y="276"/>
                    <a:pt x="328" y="286"/>
                  </a:cubicBezTo>
                  <a:cubicBezTo>
                    <a:pt x="330" y="290"/>
                    <a:pt x="335" y="290"/>
                    <a:pt x="339" y="288"/>
                  </a:cubicBezTo>
                  <a:cubicBezTo>
                    <a:pt x="342" y="285"/>
                    <a:pt x="343" y="280"/>
                    <a:pt x="340" y="277"/>
                  </a:cubicBezTo>
                  <a:cubicBezTo>
                    <a:pt x="340" y="277"/>
                    <a:pt x="340" y="277"/>
                    <a:pt x="340" y="277"/>
                  </a:cubicBezTo>
                  <a:cubicBezTo>
                    <a:pt x="333" y="266"/>
                    <a:pt x="324" y="259"/>
                    <a:pt x="313" y="257"/>
                  </a:cubicBezTo>
                  <a:cubicBezTo>
                    <a:pt x="308" y="256"/>
                    <a:pt x="304" y="255"/>
                    <a:pt x="299" y="255"/>
                  </a:cubicBezTo>
                  <a:cubicBezTo>
                    <a:pt x="286" y="255"/>
                    <a:pt x="272" y="258"/>
                    <a:pt x="258" y="262"/>
                  </a:cubicBezTo>
                  <a:cubicBezTo>
                    <a:pt x="257" y="259"/>
                    <a:pt x="254" y="255"/>
                    <a:pt x="249" y="251"/>
                  </a:cubicBezTo>
                  <a:cubicBezTo>
                    <a:pt x="238" y="243"/>
                    <a:pt x="230" y="249"/>
                    <a:pt x="222" y="243"/>
                  </a:cubicBezTo>
                  <a:cubicBezTo>
                    <a:pt x="216" y="240"/>
                    <a:pt x="212" y="236"/>
                    <a:pt x="205" y="233"/>
                  </a:cubicBezTo>
                  <a:cubicBezTo>
                    <a:pt x="205" y="216"/>
                    <a:pt x="205" y="180"/>
                    <a:pt x="196" y="153"/>
                  </a:cubicBezTo>
                  <a:cubicBezTo>
                    <a:pt x="192" y="139"/>
                    <a:pt x="183" y="125"/>
                    <a:pt x="177" y="115"/>
                  </a:cubicBezTo>
                  <a:cubicBezTo>
                    <a:pt x="175" y="112"/>
                    <a:pt x="173" y="112"/>
                    <a:pt x="175" y="117"/>
                  </a:cubicBezTo>
                  <a:cubicBezTo>
                    <a:pt x="180" y="128"/>
                    <a:pt x="186" y="144"/>
                    <a:pt x="187" y="158"/>
                  </a:cubicBezTo>
                  <a:cubicBezTo>
                    <a:pt x="189" y="187"/>
                    <a:pt x="183" y="216"/>
                    <a:pt x="179" y="232"/>
                  </a:cubicBezTo>
                  <a:cubicBezTo>
                    <a:pt x="170" y="234"/>
                    <a:pt x="167" y="240"/>
                    <a:pt x="158" y="243"/>
                  </a:cubicBezTo>
                  <a:cubicBezTo>
                    <a:pt x="151" y="246"/>
                    <a:pt x="145" y="244"/>
                    <a:pt x="139" y="244"/>
                  </a:cubicBezTo>
                  <a:cubicBezTo>
                    <a:pt x="134" y="235"/>
                    <a:pt x="127" y="221"/>
                    <a:pt x="124" y="216"/>
                  </a:cubicBezTo>
                  <a:cubicBezTo>
                    <a:pt x="120" y="211"/>
                    <a:pt x="113" y="208"/>
                    <a:pt x="108" y="208"/>
                  </a:cubicBezTo>
                  <a:cubicBezTo>
                    <a:pt x="101" y="209"/>
                    <a:pt x="96" y="211"/>
                    <a:pt x="93" y="213"/>
                  </a:cubicBezTo>
                  <a:cubicBezTo>
                    <a:pt x="93" y="212"/>
                    <a:pt x="92" y="212"/>
                    <a:pt x="92" y="211"/>
                  </a:cubicBezTo>
                  <a:cubicBezTo>
                    <a:pt x="88" y="206"/>
                    <a:pt x="81" y="205"/>
                    <a:pt x="76" y="205"/>
                  </a:cubicBezTo>
                  <a:cubicBezTo>
                    <a:pt x="68" y="205"/>
                    <a:pt x="62" y="208"/>
                    <a:pt x="58" y="210"/>
                  </a:cubicBezTo>
                  <a:cubicBezTo>
                    <a:pt x="57" y="209"/>
                    <a:pt x="56" y="207"/>
                    <a:pt x="55" y="206"/>
                  </a:cubicBezTo>
                  <a:cubicBezTo>
                    <a:pt x="49" y="200"/>
                    <a:pt x="41" y="197"/>
                    <a:pt x="34" y="197"/>
                  </a:cubicBezTo>
                  <a:cubicBezTo>
                    <a:pt x="18" y="198"/>
                    <a:pt x="6" y="208"/>
                    <a:pt x="1" y="221"/>
                  </a:cubicBezTo>
                  <a:cubicBezTo>
                    <a:pt x="0" y="223"/>
                    <a:pt x="0" y="225"/>
                    <a:pt x="0" y="228"/>
                  </a:cubicBezTo>
                  <a:cubicBezTo>
                    <a:pt x="0" y="240"/>
                    <a:pt x="6" y="261"/>
                    <a:pt x="14" y="283"/>
                  </a:cubicBezTo>
                  <a:cubicBezTo>
                    <a:pt x="22" y="305"/>
                    <a:pt x="33" y="326"/>
                    <a:pt x="45" y="339"/>
                  </a:cubicBezTo>
                  <a:cubicBezTo>
                    <a:pt x="69" y="364"/>
                    <a:pt x="122" y="400"/>
                    <a:pt x="158" y="409"/>
                  </a:cubicBezTo>
                  <a:cubicBezTo>
                    <a:pt x="168" y="411"/>
                    <a:pt x="180" y="411"/>
                    <a:pt x="192" y="411"/>
                  </a:cubicBezTo>
                  <a:cubicBezTo>
                    <a:pt x="229" y="411"/>
                    <a:pt x="275" y="405"/>
                    <a:pt x="300" y="393"/>
                  </a:cubicBezTo>
                  <a:cubicBezTo>
                    <a:pt x="314" y="386"/>
                    <a:pt x="328" y="376"/>
                    <a:pt x="338" y="364"/>
                  </a:cubicBezTo>
                  <a:cubicBezTo>
                    <a:pt x="348" y="352"/>
                    <a:pt x="355" y="337"/>
                    <a:pt x="355" y="320"/>
                  </a:cubicBezTo>
                  <a:cubicBezTo>
                    <a:pt x="355" y="316"/>
                    <a:pt x="355" y="312"/>
                    <a:pt x="354" y="307"/>
                  </a:cubicBezTo>
                  <a:close/>
                  <a:moveTo>
                    <a:pt x="108" y="224"/>
                  </a:moveTo>
                  <a:cubicBezTo>
                    <a:pt x="110" y="225"/>
                    <a:pt x="110" y="224"/>
                    <a:pt x="111" y="226"/>
                  </a:cubicBezTo>
                  <a:cubicBezTo>
                    <a:pt x="112" y="228"/>
                    <a:pt x="120" y="243"/>
                    <a:pt x="124" y="251"/>
                  </a:cubicBezTo>
                  <a:cubicBezTo>
                    <a:pt x="121" y="254"/>
                    <a:pt x="119" y="258"/>
                    <a:pt x="118" y="261"/>
                  </a:cubicBezTo>
                  <a:cubicBezTo>
                    <a:pt x="114" y="251"/>
                    <a:pt x="108" y="238"/>
                    <a:pt x="102" y="226"/>
                  </a:cubicBezTo>
                  <a:cubicBezTo>
                    <a:pt x="103" y="225"/>
                    <a:pt x="106" y="224"/>
                    <a:pt x="108" y="224"/>
                  </a:cubicBezTo>
                  <a:close/>
                  <a:moveTo>
                    <a:pt x="76" y="221"/>
                  </a:moveTo>
                  <a:cubicBezTo>
                    <a:pt x="78" y="221"/>
                    <a:pt x="79" y="221"/>
                    <a:pt x="80" y="222"/>
                  </a:cubicBezTo>
                  <a:cubicBezTo>
                    <a:pt x="85" y="228"/>
                    <a:pt x="94" y="246"/>
                    <a:pt x="100" y="259"/>
                  </a:cubicBezTo>
                  <a:cubicBezTo>
                    <a:pt x="97" y="258"/>
                    <a:pt x="95" y="257"/>
                    <a:pt x="92" y="257"/>
                  </a:cubicBezTo>
                  <a:cubicBezTo>
                    <a:pt x="90" y="257"/>
                    <a:pt x="87" y="256"/>
                    <a:pt x="85" y="256"/>
                  </a:cubicBezTo>
                  <a:cubicBezTo>
                    <a:pt x="84" y="255"/>
                    <a:pt x="84" y="253"/>
                    <a:pt x="82" y="251"/>
                  </a:cubicBezTo>
                  <a:cubicBezTo>
                    <a:pt x="78" y="240"/>
                    <a:pt x="74" y="231"/>
                    <a:pt x="68" y="223"/>
                  </a:cubicBezTo>
                  <a:cubicBezTo>
                    <a:pt x="71" y="222"/>
                    <a:pt x="74" y="221"/>
                    <a:pt x="76" y="221"/>
                  </a:cubicBezTo>
                  <a:close/>
                  <a:moveTo>
                    <a:pt x="204" y="143"/>
                  </a:moveTo>
                  <a:cubicBezTo>
                    <a:pt x="204" y="144"/>
                    <a:pt x="206" y="146"/>
                    <a:pt x="208" y="146"/>
                  </a:cubicBezTo>
                  <a:cubicBezTo>
                    <a:pt x="215" y="146"/>
                    <a:pt x="229" y="145"/>
                    <a:pt x="243" y="136"/>
                  </a:cubicBezTo>
                  <a:cubicBezTo>
                    <a:pt x="265" y="121"/>
                    <a:pt x="268" y="97"/>
                    <a:pt x="270" y="98"/>
                  </a:cubicBezTo>
                  <a:cubicBezTo>
                    <a:pt x="271" y="99"/>
                    <a:pt x="268" y="126"/>
                    <a:pt x="249" y="143"/>
                  </a:cubicBezTo>
                  <a:cubicBezTo>
                    <a:pt x="237" y="153"/>
                    <a:pt x="223" y="154"/>
                    <a:pt x="216" y="156"/>
                  </a:cubicBezTo>
                  <a:cubicBezTo>
                    <a:pt x="212" y="156"/>
                    <a:pt x="215" y="159"/>
                    <a:pt x="216" y="160"/>
                  </a:cubicBezTo>
                  <a:cubicBezTo>
                    <a:pt x="229" y="168"/>
                    <a:pt x="258" y="170"/>
                    <a:pt x="276" y="145"/>
                  </a:cubicBezTo>
                  <a:cubicBezTo>
                    <a:pt x="292" y="123"/>
                    <a:pt x="291" y="99"/>
                    <a:pt x="284" y="71"/>
                  </a:cubicBezTo>
                  <a:cubicBezTo>
                    <a:pt x="284" y="69"/>
                    <a:pt x="282" y="68"/>
                    <a:pt x="280" y="70"/>
                  </a:cubicBezTo>
                  <a:cubicBezTo>
                    <a:pt x="255" y="98"/>
                    <a:pt x="231" y="89"/>
                    <a:pt x="214" y="103"/>
                  </a:cubicBezTo>
                  <a:cubicBezTo>
                    <a:pt x="200" y="115"/>
                    <a:pt x="199" y="131"/>
                    <a:pt x="204" y="143"/>
                  </a:cubicBezTo>
                  <a:close/>
                  <a:moveTo>
                    <a:pt x="164" y="118"/>
                  </a:moveTo>
                  <a:cubicBezTo>
                    <a:pt x="167" y="118"/>
                    <a:pt x="167" y="115"/>
                    <a:pt x="166" y="114"/>
                  </a:cubicBezTo>
                  <a:cubicBezTo>
                    <a:pt x="162" y="109"/>
                    <a:pt x="157" y="102"/>
                    <a:pt x="154" y="90"/>
                  </a:cubicBezTo>
                  <a:cubicBezTo>
                    <a:pt x="150" y="76"/>
                    <a:pt x="153" y="57"/>
                    <a:pt x="154" y="49"/>
                  </a:cubicBezTo>
                  <a:cubicBezTo>
                    <a:pt x="154" y="47"/>
                    <a:pt x="155" y="47"/>
                    <a:pt x="155" y="49"/>
                  </a:cubicBezTo>
                  <a:cubicBezTo>
                    <a:pt x="157" y="56"/>
                    <a:pt x="162" y="74"/>
                    <a:pt x="166" y="84"/>
                  </a:cubicBezTo>
                  <a:cubicBezTo>
                    <a:pt x="172" y="96"/>
                    <a:pt x="180" y="106"/>
                    <a:pt x="185" y="112"/>
                  </a:cubicBezTo>
                  <a:cubicBezTo>
                    <a:pt x="187" y="114"/>
                    <a:pt x="189" y="114"/>
                    <a:pt x="190" y="113"/>
                  </a:cubicBezTo>
                  <a:cubicBezTo>
                    <a:pt x="201" y="107"/>
                    <a:pt x="207" y="93"/>
                    <a:pt x="200" y="71"/>
                  </a:cubicBezTo>
                  <a:cubicBezTo>
                    <a:pt x="195" y="53"/>
                    <a:pt x="182" y="47"/>
                    <a:pt x="170" y="29"/>
                  </a:cubicBezTo>
                  <a:cubicBezTo>
                    <a:pt x="164" y="20"/>
                    <a:pt x="164" y="20"/>
                    <a:pt x="164" y="20"/>
                  </a:cubicBezTo>
                  <a:cubicBezTo>
                    <a:pt x="163" y="17"/>
                    <a:pt x="159" y="6"/>
                    <a:pt x="158" y="2"/>
                  </a:cubicBezTo>
                  <a:cubicBezTo>
                    <a:pt x="157" y="1"/>
                    <a:pt x="154" y="0"/>
                    <a:pt x="154" y="1"/>
                  </a:cubicBezTo>
                  <a:cubicBezTo>
                    <a:pt x="140" y="25"/>
                    <a:pt x="125" y="60"/>
                    <a:pt x="134" y="89"/>
                  </a:cubicBezTo>
                  <a:cubicBezTo>
                    <a:pt x="141" y="111"/>
                    <a:pt x="151" y="117"/>
                    <a:pt x="164" y="118"/>
                  </a:cubicBezTo>
                  <a:close/>
                  <a:moveTo>
                    <a:pt x="60" y="144"/>
                  </a:moveTo>
                  <a:cubicBezTo>
                    <a:pt x="66" y="147"/>
                    <a:pt x="72" y="150"/>
                    <a:pt x="76" y="153"/>
                  </a:cubicBezTo>
                  <a:cubicBezTo>
                    <a:pt x="85" y="159"/>
                    <a:pt x="85" y="159"/>
                    <a:pt x="85" y="159"/>
                  </a:cubicBezTo>
                  <a:cubicBezTo>
                    <a:pt x="101" y="171"/>
                    <a:pt x="109" y="184"/>
                    <a:pt x="126" y="190"/>
                  </a:cubicBezTo>
                  <a:cubicBezTo>
                    <a:pt x="146" y="197"/>
                    <a:pt x="160" y="189"/>
                    <a:pt x="167" y="182"/>
                  </a:cubicBezTo>
                  <a:cubicBezTo>
                    <a:pt x="168" y="181"/>
                    <a:pt x="169" y="176"/>
                    <a:pt x="168" y="174"/>
                  </a:cubicBezTo>
                  <a:cubicBezTo>
                    <a:pt x="163" y="167"/>
                    <a:pt x="152" y="155"/>
                    <a:pt x="137" y="147"/>
                  </a:cubicBezTo>
                  <a:cubicBezTo>
                    <a:pt x="115" y="136"/>
                    <a:pt x="92" y="142"/>
                    <a:pt x="92" y="140"/>
                  </a:cubicBezTo>
                  <a:cubicBezTo>
                    <a:pt x="93" y="139"/>
                    <a:pt x="117" y="130"/>
                    <a:pt x="139" y="138"/>
                  </a:cubicBezTo>
                  <a:cubicBezTo>
                    <a:pt x="154" y="143"/>
                    <a:pt x="166" y="157"/>
                    <a:pt x="172" y="163"/>
                  </a:cubicBezTo>
                  <a:cubicBezTo>
                    <a:pt x="173" y="164"/>
                    <a:pt x="175" y="163"/>
                    <a:pt x="175" y="162"/>
                  </a:cubicBezTo>
                  <a:cubicBezTo>
                    <a:pt x="175" y="148"/>
                    <a:pt x="169" y="133"/>
                    <a:pt x="147" y="125"/>
                  </a:cubicBezTo>
                  <a:cubicBezTo>
                    <a:pt x="119" y="114"/>
                    <a:pt x="84" y="128"/>
                    <a:pt x="60" y="140"/>
                  </a:cubicBezTo>
                  <a:cubicBezTo>
                    <a:pt x="58" y="141"/>
                    <a:pt x="59" y="143"/>
                    <a:pt x="60" y="144"/>
                  </a:cubicBezTo>
                  <a:close/>
                </a:path>
              </a:pathLst>
            </a:custGeom>
            <a:blipFill dpi="0" rotWithShape="0">
              <a:blip r:embed="rId5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682" name="Text Box 27"/>
            <p:cNvSpPr txBox="1">
              <a:spLocks noChangeArrowheads="1"/>
            </p:cNvSpPr>
            <p:nvPr/>
          </p:nvSpPr>
          <p:spPr bwMode="auto">
            <a:xfrm>
              <a:off x="6412" y="3250"/>
              <a:ext cx="838" cy="2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E4275"/>
                  </a:solidFill>
                </a14:hiddenFill>
              </a:ext>
              <a:ext uri="{91240B29-F687-4F45-9708-019B960494DF}">
                <a14:hiddenLine xmlns:a14="http://schemas.microsoft.com/office/drawing/2010/main" w="38100" algn="ctr">
                  <a:solidFill>
                    <a:srgbClr val="E32119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rIns="0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sv-SE" sz="1800">
                  <a:solidFill>
                    <a:srgbClr val="89BA17"/>
                  </a:solidFill>
                </a:rPr>
                <a:t>Eco Friendly</a:t>
              </a:r>
              <a:endParaRPr lang="en-US" sz="1800">
                <a:solidFill>
                  <a:srgbClr val="89BA17"/>
                </a:solidFill>
              </a:endParaRPr>
            </a:p>
          </p:txBody>
        </p:sp>
      </p:grpSp>
      <p:grpSp>
        <p:nvGrpSpPr>
          <p:cNvPr id="27657" name="Group 29"/>
          <p:cNvGrpSpPr>
            <a:grpSpLocks/>
          </p:cNvGrpSpPr>
          <p:nvPr/>
        </p:nvGrpSpPr>
        <p:grpSpPr bwMode="auto">
          <a:xfrm>
            <a:off x="696385" y="3698875"/>
            <a:ext cx="4199467" cy="2370138"/>
            <a:chOff x="565" y="2362"/>
            <a:chExt cx="2584" cy="1493"/>
          </a:xfrm>
        </p:grpSpPr>
        <p:sp>
          <p:nvSpPr>
            <p:cNvPr id="27673" name="Freeform 30"/>
            <p:cNvSpPr>
              <a:spLocks/>
            </p:cNvSpPr>
            <p:nvPr/>
          </p:nvSpPr>
          <p:spPr bwMode="auto">
            <a:xfrm>
              <a:off x="685" y="3420"/>
              <a:ext cx="2359" cy="345"/>
            </a:xfrm>
            <a:custGeom>
              <a:avLst/>
              <a:gdLst>
                <a:gd name="T0" fmla="*/ 0 w 2359"/>
                <a:gd name="T1" fmla="*/ 345 h 345"/>
                <a:gd name="T2" fmla="*/ 558 w 2359"/>
                <a:gd name="T3" fmla="*/ 309 h 345"/>
                <a:gd name="T4" fmla="*/ 1334 w 2359"/>
                <a:gd name="T5" fmla="*/ 218 h 345"/>
                <a:gd name="T6" fmla="*/ 2086 w 2359"/>
                <a:gd name="T7" fmla="*/ 72 h 345"/>
                <a:gd name="T8" fmla="*/ 2359 w 2359"/>
                <a:gd name="T9" fmla="*/ 0 h 34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359" h="345">
                  <a:moveTo>
                    <a:pt x="0" y="345"/>
                  </a:moveTo>
                  <a:cubicBezTo>
                    <a:pt x="168" y="337"/>
                    <a:pt x="336" y="330"/>
                    <a:pt x="558" y="309"/>
                  </a:cubicBezTo>
                  <a:cubicBezTo>
                    <a:pt x="780" y="288"/>
                    <a:pt x="1079" y="258"/>
                    <a:pt x="1334" y="218"/>
                  </a:cubicBezTo>
                  <a:cubicBezTo>
                    <a:pt x="1589" y="178"/>
                    <a:pt x="1915" y="108"/>
                    <a:pt x="2086" y="72"/>
                  </a:cubicBezTo>
                  <a:cubicBezTo>
                    <a:pt x="2257" y="36"/>
                    <a:pt x="2308" y="18"/>
                    <a:pt x="2359" y="0"/>
                  </a:cubicBezTo>
                </a:path>
              </a:pathLst>
            </a:custGeom>
            <a:noFill/>
            <a:ln w="28575" cap="flat" cmpd="sng">
              <a:solidFill>
                <a:srgbClr val="E32119"/>
              </a:solidFill>
              <a:prstDash val="dash"/>
              <a:round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rIns="72000"/>
            <a:lstStyle/>
            <a:p>
              <a:endParaRPr lang="en-US"/>
            </a:p>
          </p:txBody>
        </p:sp>
        <p:sp>
          <p:nvSpPr>
            <p:cNvPr id="27674" name="Freeform 31"/>
            <p:cNvSpPr>
              <a:spLocks/>
            </p:cNvSpPr>
            <p:nvPr/>
          </p:nvSpPr>
          <p:spPr bwMode="auto">
            <a:xfrm>
              <a:off x="678" y="2362"/>
              <a:ext cx="683" cy="1403"/>
            </a:xfrm>
            <a:custGeom>
              <a:avLst/>
              <a:gdLst>
                <a:gd name="T0" fmla="*/ 0 w 720"/>
                <a:gd name="T1" fmla="*/ 1403 h 1392"/>
                <a:gd name="T2" fmla="*/ 81 w 720"/>
                <a:gd name="T3" fmla="*/ 1344 h 1392"/>
                <a:gd name="T4" fmla="*/ 212 w 720"/>
                <a:gd name="T5" fmla="*/ 1226 h 1392"/>
                <a:gd name="T6" fmla="*/ 389 w 720"/>
                <a:gd name="T7" fmla="*/ 989 h 1392"/>
                <a:gd name="T8" fmla="*/ 551 w 720"/>
                <a:gd name="T9" fmla="*/ 607 h 1392"/>
                <a:gd name="T10" fmla="*/ 657 w 720"/>
                <a:gd name="T11" fmla="*/ 194 h 1392"/>
                <a:gd name="T12" fmla="*/ 683 w 720"/>
                <a:gd name="T13" fmla="*/ 0 h 139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20" h="1392">
                  <a:moveTo>
                    <a:pt x="0" y="1392"/>
                  </a:moveTo>
                  <a:cubicBezTo>
                    <a:pt x="24" y="1377"/>
                    <a:pt x="48" y="1362"/>
                    <a:pt x="85" y="1333"/>
                  </a:cubicBezTo>
                  <a:cubicBezTo>
                    <a:pt x="122" y="1304"/>
                    <a:pt x="170" y="1275"/>
                    <a:pt x="224" y="1216"/>
                  </a:cubicBezTo>
                  <a:cubicBezTo>
                    <a:pt x="278" y="1157"/>
                    <a:pt x="350" y="1083"/>
                    <a:pt x="410" y="981"/>
                  </a:cubicBezTo>
                  <a:cubicBezTo>
                    <a:pt x="470" y="879"/>
                    <a:pt x="534" y="733"/>
                    <a:pt x="581" y="602"/>
                  </a:cubicBezTo>
                  <a:cubicBezTo>
                    <a:pt x="628" y="471"/>
                    <a:pt x="670" y="292"/>
                    <a:pt x="693" y="192"/>
                  </a:cubicBezTo>
                  <a:cubicBezTo>
                    <a:pt x="716" y="92"/>
                    <a:pt x="718" y="46"/>
                    <a:pt x="720" y="0"/>
                  </a:cubicBezTo>
                </a:path>
              </a:pathLst>
            </a:custGeom>
            <a:noFill/>
            <a:ln w="28575" cap="flat" cmpd="sng">
              <a:solidFill>
                <a:srgbClr val="E32119"/>
              </a:solidFill>
              <a:prstDash val="dash"/>
              <a:round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rIns="72000"/>
            <a:lstStyle/>
            <a:p>
              <a:endParaRPr lang="en-US"/>
            </a:p>
          </p:txBody>
        </p:sp>
        <p:sp>
          <p:nvSpPr>
            <p:cNvPr id="27675" name="Line 32"/>
            <p:cNvSpPr>
              <a:spLocks noChangeShapeType="1"/>
            </p:cNvSpPr>
            <p:nvPr/>
          </p:nvSpPr>
          <p:spPr bwMode="auto">
            <a:xfrm flipV="1">
              <a:off x="639" y="2420"/>
              <a:ext cx="0" cy="1435"/>
            </a:xfrm>
            <a:prstGeom prst="line">
              <a:avLst/>
            </a:prstGeom>
            <a:noFill/>
            <a:ln w="19050">
              <a:solidFill>
                <a:srgbClr val="00285F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rIns="72000"/>
            <a:lstStyle/>
            <a:p>
              <a:endParaRPr lang="en-US"/>
            </a:p>
          </p:txBody>
        </p:sp>
        <p:sp>
          <p:nvSpPr>
            <p:cNvPr id="27676" name="Line 33"/>
            <p:cNvSpPr>
              <a:spLocks noChangeShapeType="1"/>
            </p:cNvSpPr>
            <p:nvPr/>
          </p:nvSpPr>
          <p:spPr bwMode="auto">
            <a:xfrm>
              <a:off x="640" y="2488"/>
              <a:ext cx="2491" cy="0"/>
            </a:xfrm>
            <a:prstGeom prst="line">
              <a:avLst/>
            </a:prstGeom>
            <a:noFill/>
            <a:ln w="19050" cap="rnd">
              <a:solidFill>
                <a:srgbClr val="00285F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rIns="72000"/>
            <a:lstStyle/>
            <a:p>
              <a:endParaRPr lang="en-US"/>
            </a:p>
          </p:txBody>
        </p:sp>
        <p:sp>
          <p:nvSpPr>
            <p:cNvPr id="27677" name="Oval 34"/>
            <p:cNvSpPr>
              <a:spLocks noChangeArrowheads="1"/>
            </p:cNvSpPr>
            <p:nvPr/>
          </p:nvSpPr>
          <p:spPr bwMode="auto">
            <a:xfrm>
              <a:off x="3035" y="3674"/>
              <a:ext cx="114" cy="90"/>
            </a:xfrm>
            <a:prstGeom prst="ellipse">
              <a:avLst/>
            </a:prstGeom>
            <a:solidFill>
              <a:srgbClr val="FFFFFF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rIns="72000" anchor="ctr"/>
            <a:lstStyle/>
            <a:p>
              <a:endParaRPr lang="en-US"/>
            </a:p>
          </p:txBody>
        </p:sp>
        <p:sp>
          <p:nvSpPr>
            <p:cNvPr id="27678" name="Line 35"/>
            <p:cNvSpPr>
              <a:spLocks noChangeShapeType="1"/>
            </p:cNvSpPr>
            <p:nvPr/>
          </p:nvSpPr>
          <p:spPr bwMode="auto">
            <a:xfrm>
              <a:off x="565" y="3764"/>
              <a:ext cx="2582" cy="0"/>
            </a:xfrm>
            <a:prstGeom prst="line">
              <a:avLst/>
            </a:prstGeom>
            <a:noFill/>
            <a:ln w="19050">
              <a:solidFill>
                <a:srgbClr val="00285F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rIns="72000"/>
            <a:lstStyle/>
            <a:p>
              <a:endParaRPr lang="en-US"/>
            </a:p>
          </p:txBody>
        </p:sp>
        <p:sp>
          <p:nvSpPr>
            <p:cNvPr id="27679" name="Freeform 36" descr="bpct-blend3"/>
            <p:cNvSpPr>
              <a:spLocks noChangeAspect="1" noEditPoints="1"/>
            </p:cNvSpPr>
            <p:nvPr/>
          </p:nvSpPr>
          <p:spPr bwMode="auto">
            <a:xfrm>
              <a:off x="666" y="2513"/>
              <a:ext cx="380" cy="270"/>
            </a:xfrm>
            <a:custGeom>
              <a:avLst/>
              <a:gdLst>
                <a:gd name="T0" fmla="*/ 376 w 526"/>
                <a:gd name="T1" fmla="*/ 44 h 374"/>
                <a:gd name="T2" fmla="*/ 314 w 526"/>
                <a:gd name="T3" fmla="*/ 69 h 374"/>
                <a:gd name="T4" fmla="*/ 314 w 526"/>
                <a:gd name="T5" fmla="*/ 79 h 374"/>
                <a:gd name="T6" fmla="*/ 297 w 526"/>
                <a:gd name="T7" fmla="*/ 131 h 374"/>
                <a:gd name="T8" fmla="*/ 291 w 526"/>
                <a:gd name="T9" fmla="*/ 43 h 374"/>
                <a:gd name="T10" fmla="*/ 285 w 526"/>
                <a:gd name="T11" fmla="*/ 145 h 374"/>
                <a:gd name="T12" fmla="*/ 239 w 526"/>
                <a:gd name="T13" fmla="*/ 12 h 374"/>
                <a:gd name="T14" fmla="*/ 285 w 526"/>
                <a:gd name="T15" fmla="*/ 12 h 374"/>
                <a:gd name="T16" fmla="*/ 285 w 526"/>
                <a:gd name="T17" fmla="*/ 22 h 374"/>
                <a:gd name="T18" fmla="*/ 297 w 526"/>
                <a:gd name="T19" fmla="*/ 22 h 374"/>
                <a:gd name="T20" fmla="*/ 285 w 526"/>
                <a:gd name="T21" fmla="*/ 0 h 374"/>
                <a:gd name="T22" fmla="*/ 228 w 526"/>
                <a:gd name="T23" fmla="*/ 12 h 374"/>
                <a:gd name="T24" fmla="*/ 221 w 526"/>
                <a:gd name="T25" fmla="*/ 202 h 374"/>
                <a:gd name="T26" fmla="*/ 209 w 526"/>
                <a:gd name="T27" fmla="*/ 40 h 374"/>
                <a:gd name="T28" fmla="*/ 152 w 526"/>
                <a:gd name="T29" fmla="*/ 53 h 374"/>
                <a:gd name="T30" fmla="*/ 146 w 526"/>
                <a:gd name="T31" fmla="*/ 235 h 374"/>
                <a:gd name="T32" fmla="*/ 133 w 526"/>
                <a:gd name="T33" fmla="*/ 81 h 374"/>
                <a:gd name="T34" fmla="*/ 76 w 526"/>
                <a:gd name="T35" fmla="*/ 94 h 374"/>
                <a:gd name="T36" fmla="*/ 70 w 526"/>
                <a:gd name="T37" fmla="*/ 251 h 374"/>
                <a:gd name="T38" fmla="*/ 57 w 526"/>
                <a:gd name="T39" fmla="*/ 122 h 374"/>
                <a:gd name="T40" fmla="*/ 0 w 526"/>
                <a:gd name="T41" fmla="*/ 134 h 374"/>
                <a:gd name="T42" fmla="*/ 12 w 526"/>
                <a:gd name="T43" fmla="*/ 269 h 374"/>
                <a:gd name="T44" fmla="*/ 43 w 526"/>
                <a:gd name="T45" fmla="*/ 270 h 374"/>
                <a:gd name="T46" fmla="*/ 89 w 526"/>
                <a:gd name="T47" fmla="*/ 269 h 374"/>
                <a:gd name="T48" fmla="*/ 144 w 526"/>
                <a:gd name="T49" fmla="*/ 262 h 374"/>
                <a:gd name="T50" fmla="*/ 164 w 526"/>
                <a:gd name="T51" fmla="*/ 269 h 374"/>
                <a:gd name="T52" fmla="*/ 221 w 526"/>
                <a:gd name="T53" fmla="*/ 256 h 374"/>
                <a:gd name="T54" fmla="*/ 223 w 526"/>
                <a:gd name="T55" fmla="*/ 241 h 374"/>
                <a:gd name="T56" fmla="*/ 228 w 526"/>
                <a:gd name="T57" fmla="*/ 256 h 374"/>
                <a:gd name="T58" fmla="*/ 285 w 526"/>
                <a:gd name="T59" fmla="*/ 269 h 374"/>
                <a:gd name="T60" fmla="*/ 297 w 526"/>
                <a:gd name="T61" fmla="*/ 197 h 374"/>
                <a:gd name="T62" fmla="*/ 369 w 526"/>
                <a:gd name="T63" fmla="*/ 138 h 374"/>
                <a:gd name="T64" fmla="*/ 380 w 526"/>
                <a:gd name="T65" fmla="*/ 134 h 374"/>
                <a:gd name="T66" fmla="*/ 163 w 526"/>
                <a:gd name="T67" fmla="*/ 53 h 374"/>
                <a:gd name="T68" fmla="*/ 209 w 526"/>
                <a:gd name="T69" fmla="*/ 52 h 374"/>
                <a:gd name="T70" fmla="*/ 210 w 526"/>
                <a:gd name="T71" fmla="*/ 209 h 374"/>
                <a:gd name="T72" fmla="*/ 163 w 526"/>
                <a:gd name="T73" fmla="*/ 53 h 374"/>
                <a:gd name="T74" fmla="*/ 133 w 526"/>
                <a:gd name="T75" fmla="*/ 92 h 374"/>
                <a:gd name="T76" fmla="*/ 134 w 526"/>
                <a:gd name="T77" fmla="*/ 238 h 374"/>
                <a:gd name="T78" fmla="*/ 87 w 526"/>
                <a:gd name="T79" fmla="*/ 94 h 374"/>
                <a:gd name="T80" fmla="*/ 12 w 526"/>
                <a:gd name="T81" fmla="*/ 134 h 374"/>
                <a:gd name="T82" fmla="*/ 57 w 526"/>
                <a:gd name="T83" fmla="*/ 134 h 374"/>
                <a:gd name="T84" fmla="*/ 59 w 526"/>
                <a:gd name="T85" fmla="*/ 253 h 374"/>
                <a:gd name="T86" fmla="*/ 13 w 526"/>
                <a:gd name="T87" fmla="*/ 258 h 374"/>
                <a:gd name="T88" fmla="*/ 12 w 526"/>
                <a:gd name="T89" fmla="*/ 134 h 374"/>
                <a:gd name="T90" fmla="*/ 209 w 526"/>
                <a:gd name="T91" fmla="*/ 258 h 374"/>
                <a:gd name="T92" fmla="*/ 210 w 526"/>
                <a:gd name="T93" fmla="*/ 246 h 374"/>
                <a:gd name="T94" fmla="*/ 285 w 526"/>
                <a:gd name="T95" fmla="*/ 256 h 374"/>
                <a:gd name="T96" fmla="*/ 240 w 526"/>
                <a:gd name="T97" fmla="*/ 258 h 374"/>
                <a:gd name="T98" fmla="*/ 239 w 526"/>
                <a:gd name="T99" fmla="*/ 233 h 374"/>
                <a:gd name="T100" fmla="*/ 285 w 526"/>
                <a:gd name="T101" fmla="*/ 256 h 374"/>
                <a:gd name="T102" fmla="*/ 361 w 526"/>
                <a:gd name="T103" fmla="*/ 111 h 374"/>
                <a:gd name="T104" fmla="*/ 355 w 526"/>
                <a:gd name="T105" fmla="*/ 117 h 374"/>
                <a:gd name="T106" fmla="*/ 118 w 526"/>
                <a:gd name="T107" fmla="*/ 254 h 374"/>
                <a:gd name="T108" fmla="*/ 339 w 526"/>
                <a:gd name="T109" fmla="*/ 87 h 374"/>
                <a:gd name="T110" fmla="*/ 329 w 526"/>
                <a:gd name="T111" fmla="*/ 75 h 374"/>
                <a:gd name="T112" fmla="*/ 368 w 526"/>
                <a:gd name="T113" fmla="*/ 116 h 37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526" h="374">
                  <a:moveTo>
                    <a:pt x="525" y="68"/>
                  </a:moveTo>
                  <a:cubicBezTo>
                    <a:pt x="525" y="65"/>
                    <a:pt x="523" y="63"/>
                    <a:pt x="521" y="61"/>
                  </a:cubicBezTo>
                  <a:cubicBezTo>
                    <a:pt x="519" y="60"/>
                    <a:pt x="516" y="59"/>
                    <a:pt x="514" y="61"/>
                  </a:cubicBezTo>
                  <a:cubicBezTo>
                    <a:pt x="435" y="95"/>
                    <a:pt x="435" y="95"/>
                    <a:pt x="435" y="95"/>
                  </a:cubicBezTo>
                  <a:cubicBezTo>
                    <a:pt x="432" y="97"/>
                    <a:pt x="430" y="99"/>
                    <a:pt x="430" y="102"/>
                  </a:cubicBezTo>
                  <a:cubicBezTo>
                    <a:pt x="430" y="105"/>
                    <a:pt x="431" y="108"/>
                    <a:pt x="434" y="110"/>
                  </a:cubicBezTo>
                  <a:cubicBezTo>
                    <a:pt x="452" y="120"/>
                    <a:pt x="452" y="120"/>
                    <a:pt x="452" y="120"/>
                  </a:cubicBezTo>
                  <a:cubicBezTo>
                    <a:pt x="443" y="139"/>
                    <a:pt x="428" y="161"/>
                    <a:pt x="411" y="182"/>
                  </a:cubicBezTo>
                  <a:cubicBezTo>
                    <a:pt x="411" y="67"/>
                    <a:pt x="411" y="67"/>
                    <a:pt x="411" y="67"/>
                  </a:cubicBezTo>
                  <a:cubicBezTo>
                    <a:pt x="411" y="63"/>
                    <a:pt x="408" y="59"/>
                    <a:pt x="403" y="59"/>
                  </a:cubicBezTo>
                  <a:cubicBezTo>
                    <a:pt x="399" y="59"/>
                    <a:pt x="395" y="63"/>
                    <a:pt x="395" y="67"/>
                  </a:cubicBezTo>
                  <a:cubicBezTo>
                    <a:pt x="395" y="201"/>
                    <a:pt x="395" y="201"/>
                    <a:pt x="395" y="201"/>
                  </a:cubicBezTo>
                  <a:cubicBezTo>
                    <a:pt x="376" y="223"/>
                    <a:pt x="353" y="245"/>
                    <a:pt x="331" y="262"/>
                  </a:cubicBezTo>
                  <a:cubicBezTo>
                    <a:pt x="331" y="17"/>
                    <a:pt x="331" y="17"/>
                    <a:pt x="331" y="17"/>
                  </a:cubicBezTo>
                  <a:cubicBezTo>
                    <a:pt x="331" y="16"/>
                    <a:pt x="332" y="16"/>
                    <a:pt x="332" y="16"/>
                  </a:cubicBezTo>
                  <a:cubicBezTo>
                    <a:pt x="394" y="16"/>
                    <a:pt x="394" y="16"/>
                    <a:pt x="394" y="16"/>
                  </a:cubicBezTo>
                  <a:cubicBezTo>
                    <a:pt x="395" y="16"/>
                    <a:pt x="395" y="16"/>
                    <a:pt x="395" y="17"/>
                  </a:cubicBezTo>
                  <a:cubicBezTo>
                    <a:pt x="395" y="31"/>
                    <a:pt x="395" y="31"/>
                    <a:pt x="395" y="31"/>
                  </a:cubicBezTo>
                  <a:cubicBezTo>
                    <a:pt x="395" y="35"/>
                    <a:pt x="399" y="39"/>
                    <a:pt x="403" y="39"/>
                  </a:cubicBezTo>
                  <a:cubicBezTo>
                    <a:pt x="408" y="39"/>
                    <a:pt x="411" y="35"/>
                    <a:pt x="411" y="31"/>
                  </a:cubicBezTo>
                  <a:cubicBezTo>
                    <a:pt x="411" y="17"/>
                    <a:pt x="411" y="17"/>
                    <a:pt x="411" y="17"/>
                  </a:cubicBezTo>
                  <a:cubicBezTo>
                    <a:pt x="411" y="7"/>
                    <a:pt x="404" y="0"/>
                    <a:pt x="394" y="0"/>
                  </a:cubicBezTo>
                  <a:cubicBezTo>
                    <a:pt x="332" y="0"/>
                    <a:pt x="332" y="0"/>
                    <a:pt x="332" y="0"/>
                  </a:cubicBezTo>
                  <a:cubicBezTo>
                    <a:pt x="323" y="0"/>
                    <a:pt x="315" y="7"/>
                    <a:pt x="315" y="17"/>
                  </a:cubicBezTo>
                  <a:cubicBezTo>
                    <a:pt x="315" y="274"/>
                    <a:pt x="315" y="274"/>
                    <a:pt x="315" y="274"/>
                  </a:cubicBezTo>
                  <a:cubicBezTo>
                    <a:pt x="312" y="276"/>
                    <a:pt x="309" y="278"/>
                    <a:pt x="306" y="280"/>
                  </a:cubicBezTo>
                  <a:cubicBezTo>
                    <a:pt x="307" y="73"/>
                    <a:pt x="307" y="73"/>
                    <a:pt x="307" y="73"/>
                  </a:cubicBezTo>
                  <a:cubicBezTo>
                    <a:pt x="306" y="64"/>
                    <a:pt x="299" y="56"/>
                    <a:pt x="289" y="56"/>
                  </a:cubicBezTo>
                  <a:cubicBezTo>
                    <a:pt x="227" y="56"/>
                    <a:pt x="227" y="56"/>
                    <a:pt x="227" y="56"/>
                  </a:cubicBezTo>
                  <a:cubicBezTo>
                    <a:pt x="218" y="56"/>
                    <a:pt x="210" y="64"/>
                    <a:pt x="210" y="73"/>
                  </a:cubicBezTo>
                  <a:cubicBezTo>
                    <a:pt x="210" y="323"/>
                    <a:pt x="210" y="323"/>
                    <a:pt x="210" y="323"/>
                  </a:cubicBezTo>
                  <a:cubicBezTo>
                    <a:pt x="207" y="324"/>
                    <a:pt x="204" y="325"/>
                    <a:pt x="202" y="326"/>
                  </a:cubicBezTo>
                  <a:cubicBezTo>
                    <a:pt x="202" y="130"/>
                    <a:pt x="202" y="130"/>
                    <a:pt x="202" y="130"/>
                  </a:cubicBezTo>
                  <a:cubicBezTo>
                    <a:pt x="202" y="120"/>
                    <a:pt x="194" y="112"/>
                    <a:pt x="184" y="112"/>
                  </a:cubicBezTo>
                  <a:cubicBezTo>
                    <a:pt x="123" y="112"/>
                    <a:pt x="123" y="112"/>
                    <a:pt x="123" y="112"/>
                  </a:cubicBezTo>
                  <a:cubicBezTo>
                    <a:pt x="113" y="112"/>
                    <a:pt x="105" y="120"/>
                    <a:pt x="105" y="130"/>
                  </a:cubicBezTo>
                  <a:cubicBezTo>
                    <a:pt x="105" y="347"/>
                    <a:pt x="105" y="347"/>
                    <a:pt x="105" y="347"/>
                  </a:cubicBezTo>
                  <a:cubicBezTo>
                    <a:pt x="102" y="347"/>
                    <a:pt x="99" y="348"/>
                    <a:pt x="97" y="348"/>
                  </a:cubicBezTo>
                  <a:cubicBezTo>
                    <a:pt x="97" y="186"/>
                    <a:pt x="97" y="186"/>
                    <a:pt x="97" y="186"/>
                  </a:cubicBezTo>
                  <a:cubicBezTo>
                    <a:pt x="97" y="177"/>
                    <a:pt x="89" y="169"/>
                    <a:pt x="79" y="169"/>
                  </a:cubicBezTo>
                  <a:cubicBezTo>
                    <a:pt x="18" y="169"/>
                    <a:pt x="18" y="169"/>
                    <a:pt x="18" y="169"/>
                  </a:cubicBezTo>
                  <a:cubicBezTo>
                    <a:pt x="8" y="169"/>
                    <a:pt x="0" y="177"/>
                    <a:pt x="0" y="186"/>
                  </a:cubicBezTo>
                  <a:cubicBezTo>
                    <a:pt x="0" y="355"/>
                    <a:pt x="0" y="355"/>
                    <a:pt x="0" y="355"/>
                  </a:cubicBezTo>
                  <a:cubicBezTo>
                    <a:pt x="0" y="365"/>
                    <a:pt x="7" y="372"/>
                    <a:pt x="16" y="373"/>
                  </a:cubicBezTo>
                  <a:cubicBezTo>
                    <a:pt x="17" y="373"/>
                    <a:pt x="17" y="373"/>
                    <a:pt x="17" y="373"/>
                  </a:cubicBezTo>
                  <a:cubicBezTo>
                    <a:pt x="17" y="373"/>
                    <a:pt x="34" y="374"/>
                    <a:pt x="60" y="374"/>
                  </a:cubicBezTo>
                  <a:cubicBezTo>
                    <a:pt x="76" y="374"/>
                    <a:pt x="96" y="373"/>
                    <a:pt x="118" y="372"/>
                  </a:cubicBezTo>
                  <a:cubicBezTo>
                    <a:pt x="119" y="372"/>
                    <a:pt x="121" y="373"/>
                    <a:pt x="123" y="373"/>
                  </a:cubicBezTo>
                  <a:cubicBezTo>
                    <a:pt x="184" y="373"/>
                    <a:pt x="184" y="373"/>
                    <a:pt x="184" y="373"/>
                  </a:cubicBezTo>
                  <a:cubicBezTo>
                    <a:pt x="191" y="373"/>
                    <a:pt x="197" y="369"/>
                    <a:pt x="200" y="363"/>
                  </a:cubicBezTo>
                  <a:cubicBezTo>
                    <a:pt x="203" y="363"/>
                    <a:pt x="207" y="362"/>
                    <a:pt x="211" y="361"/>
                  </a:cubicBezTo>
                  <a:cubicBezTo>
                    <a:pt x="214" y="368"/>
                    <a:pt x="220" y="373"/>
                    <a:pt x="227" y="373"/>
                  </a:cubicBezTo>
                  <a:cubicBezTo>
                    <a:pt x="289" y="373"/>
                    <a:pt x="289" y="373"/>
                    <a:pt x="289" y="373"/>
                  </a:cubicBezTo>
                  <a:cubicBezTo>
                    <a:pt x="299" y="373"/>
                    <a:pt x="306" y="365"/>
                    <a:pt x="306" y="355"/>
                  </a:cubicBezTo>
                  <a:cubicBezTo>
                    <a:pt x="306" y="335"/>
                    <a:pt x="306" y="335"/>
                    <a:pt x="306" y="335"/>
                  </a:cubicBezTo>
                  <a:cubicBezTo>
                    <a:pt x="307" y="335"/>
                    <a:pt x="307" y="334"/>
                    <a:pt x="308" y="334"/>
                  </a:cubicBezTo>
                  <a:cubicBezTo>
                    <a:pt x="310" y="333"/>
                    <a:pt x="313" y="332"/>
                    <a:pt x="315" y="331"/>
                  </a:cubicBezTo>
                  <a:cubicBezTo>
                    <a:pt x="315" y="355"/>
                    <a:pt x="315" y="355"/>
                    <a:pt x="315" y="355"/>
                  </a:cubicBezTo>
                  <a:cubicBezTo>
                    <a:pt x="315" y="365"/>
                    <a:pt x="323" y="373"/>
                    <a:pt x="332" y="373"/>
                  </a:cubicBezTo>
                  <a:cubicBezTo>
                    <a:pt x="394" y="373"/>
                    <a:pt x="394" y="373"/>
                    <a:pt x="394" y="373"/>
                  </a:cubicBezTo>
                  <a:cubicBezTo>
                    <a:pt x="404" y="373"/>
                    <a:pt x="411" y="365"/>
                    <a:pt x="411" y="355"/>
                  </a:cubicBezTo>
                  <a:cubicBezTo>
                    <a:pt x="411" y="273"/>
                    <a:pt x="411" y="273"/>
                    <a:pt x="411" y="273"/>
                  </a:cubicBezTo>
                  <a:cubicBezTo>
                    <a:pt x="461" y="234"/>
                    <a:pt x="490" y="195"/>
                    <a:pt x="501" y="176"/>
                  </a:cubicBezTo>
                  <a:cubicBezTo>
                    <a:pt x="511" y="191"/>
                    <a:pt x="511" y="191"/>
                    <a:pt x="511" y="191"/>
                  </a:cubicBezTo>
                  <a:cubicBezTo>
                    <a:pt x="513" y="194"/>
                    <a:pt x="517" y="195"/>
                    <a:pt x="520" y="194"/>
                  </a:cubicBezTo>
                  <a:cubicBezTo>
                    <a:pt x="524" y="193"/>
                    <a:pt x="526" y="190"/>
                    <a:pt x="526" y="186"/>
                  </a:cubicBezTo>
                  <a:lnTo>
                    <a:pt x="525" y="68"/>
                  </a:lnTo>
                  <a:close/>
                  <a:moveTo>
                    <a:pt x="226" y="73"/>
                  </a:moveTo>
                  <a:cubicBezTo>
                    <a:pt x="226" y="73"/>
                    <a:pt x="227" y="72"/>
                    <a:pt x="227" y="72"/>
                  </a:cubicBezTo>
                  <a:cubicBezTo>
                    <a:pt x="289" y="72"/>
                    <a:pt x="289" y="72"/>
                    <a:pt x="289" y="72"/>
                  </a:cubicBezTo>
                  <a:cubicBezTo>
                    <a:pt x="290" y="72"/>
                    <a:pt x="290" y="73"/>
                    <a:pt x="290" y="73"/>
                  </a:cubicBezTo>
                  <a:cubicBezTo>
                    <a:pt x="290" y="290"/>
                    <a:pt x="290" y="290"/>
                    <a:pt x="290" y="290"/>
                  </a:cubicBezTo>
                  <a:cubicBezTo>
                    <a:pt x="271" y="301"/>
                    <a:pt x="249" y="310"/>
                    <a:pt x="226" y="318"/>
                  </a:cubicBezTo>
                  <a:lnTo>
                    <a:pt x="226" y="73"/>
                  </a:lnTo>
                  <a:close/>
                  <a:moveTo>
                    <a:pt x="123" y="128"/>
                  </a:moveTo>
                  <a:cubicBezTo>
                    <a:pt x="184" y="128"/>
                    <a:pt x="184" y="128"/>
                    <a:pt x="184" y="128"/>
                  </a:cubicBezTo>
                  <a:cubicBezTo>
                    <a:pt x="185" y="128"/>
                    <a:pt x="186" y="129"/>
                    <a:pt x="186" y="130"/>
                  </a:cubicBezTo>
                  <a:cubicBezTo>
                    <a:pt x="186" y="330"/>
                    <a:pt x="186" y="330"/>
                    <a:pt x="186" y="330"/>
                  </a:cubicBezTo>
                  <a:cubicBezTo>
                    <a:pt x="164" y="336"/>
                    <a:pt x="142" y="341"/>
                    <a:pt x="121" y="344"/>
                  </a:cubicBezTo>
                  <a:cubicBezTo>
                    <a:pt x="121" y="130"/>
                    <a:pt x="121" y="130"/>
                    <a:pt x="121" y="130"/>
                  </a:cubicBezTo>
                  <a:cubicBezTo>
                    <a:pt x="121" y="129"/>
                    <a:pt x="122" y="128"/>
                    <a:pt x="123" y="128"/>
                  </a:cubicBezTo>
                  <a:close/>
                  <a:moveTo>
                    <a:pt x="16" y="186"/>
                  </a:moveTo>
                  <a:cubicBezTo>
                    <a:pt x="16" y="185"/>
                    <a:pt x="17" y="185"/>
                    <a:pt x="18" y="185"/>
                  </a:cubicBezTo>
                  <a:cubicBezTo>
                    <a:pt x="79" y="185"/>
                    <a:pt x="79" y="185"/>
                    <a:pt x="79" y="185"/>
                  </a:cubicBezTo>
                  <a:cubicBezTo>
                    <a:pt x="80" y="185"/>
                    <a:pt x="81" y="185"/>
                    <a:pt x="81" y="186"/>
                  </a:cubicBezTo>
                  <a:cubicBezTo>
                    <a:pt x="81" y="351"/>
                    <a:pt x="81" y="351"/>
                    <a:pt x="81" y="351"/>
                  </a:cubicBezTo>
                  <a:cubicBezTo>
                    <a:pt x="68" y="352"/>
                    <a:pt x="56" y="354"/>
                    <a:pt x="46" y="354"/>
                  </a:cubicBezTo>
                  <a:cubicBezTo>
                    <a:pt x="30" y="356"/>
                    <a:pt x="19" y="357"/>
                    <a:pt x="18" y="357"/>
                  </a:cubicBezTo>
                  <a:cubicBezTo>
                    <a:pt x="17" y="357"/>
                    <a:pt x="16" y="356"/>
                    <a:pt x="16" y="355"/>
                  </a:cubicBezTo>
                  <a:lnTo>
                    <a:pt x="16" y="186"/>
                  </a:lnTo>
                  <a:close/>
                  <a:moveTo>
                    <a:pt x="290" y="355"/>
                  </a:moveTo>
                  <a:cubicBezTo>
                    <a:pt x="290" y="356"/>
                    <a:pt x="290" y="357"/>
                    <a:pt x="289" y="357"/>
                  </a:cubicBezTo>
                  <a:cubicBezTo>
                    <a:pt x="235" y="357"/>
                    <a:pt x="235" y="357"/>
                    <a:pt x="235" y="357"/>
                  </a:cubicBezTo>
                  <a:cubicBezTo>
                    <a:pt x="254" y="353"/>
                    <a:pt x="273" y="347"/>
                    <a:pt x="290" y="341"/>
                  </a:cubicBezTo>
                  <a:lnTo>
                    <a:pt x="290" y="355"/>
                  </a:lnTo>
                  <a:close/>
                  <a:moveTo>
                    <a:pt x="395" y="355"/>
                  </a:moveTo>
                  <a:cubicBezTo>
                    <a:pt x="395" y="356"/>
                    <a:pt x="395" y="357"/>
                    <a:pt x="394" y="357"/>
                  </a:cubicBezTo>
                  <a:cubicBezTo>
                    <a:pt x="332" y="357"/>
                    <a:pt x="332" y="357"/>
                    <a:pt x="332" y="357"/>
                  </a:cubicBezTo>
                  <a:cubicBezTo>
                    <a:pt x="332" y="357"/>
                    <a:pt x="331" y="356"/>
                    <a:pt x="331" y="355"/>
                  </a:cubicBezTo>
                  <a:cubicBezTo>
                    <a:pt x="331" y="323"/>
                    <a:pt x="331" y="323"/>
                    <a:pt x="331" y="323"/>
                  </a:cubicBezTo>
                  <a:cubicBezTo>
                    <a:pt x="355" y="312"/>
                    <a:pt x="377" y="299"/>
                    <a:pt x="395" y="285"/>
                  </a:cubicBezTo>
                  <a:lnTo>
                    <a:pt x="395" y="355"/>
                  </a:lnTo>
                  <a:close/>
                  <a:moveTo>
                    <a:pt x="507" y="157"/>
                  </a:moveTo>
                  <a:cubicBezTo>
                    <a:pt x="506" y="155"/>
                    <a:pt x="503" y="153"/>
                    <a:pt x="500" y="154"/>
                  </a:cubicBezTo>
                  <a:cubicBezTo>
                    <a:pt x="497" y="154"/>
                    <a:pt x="495" y="155"/>
                    <a:pt x="494" y="158"/>
                  </a:cubicBezTo>
                  <a:cubicBezTo>
                    <a:pt x="494" y="158"/>
                    <a:pt x="493" y="159"/>
                    <a:pt x="491" y="162"/>
                  </a:cubicBezTo>
                  <a:cubicBezTo>
                    <a:pt x="480" y="182"/>
                    <a:pt x="425" y="267"/>
                    <a:pt x="301" y="319"/>
                  </a:cubicBezTo>
                  <a:cubicBezTo>
                    <a:pt x="260" y="337"/>
                    <a:pt x="210" y="347"/>
                    <a:pt x="164" y="352"/>
                  </a:cubicBezTo>
                  <a:cubicBezTo>
                    <a:pt x="212" y="341"/>
                    <a:pt x="264" y="325"/>
                    <a:pt x="305" y="300"/>
                  </a:cubicBezTo>
                  <a:cubicBezTo>
                    <a:pt x="368" y="262"/>
                    <a:pt x="442" y="182"/>
                    <a:pt x="469" y="120"/>
                  </a:cubicBezTo>
                  <a:cubicBezTo>
                    <a:pt x="471" y="117"/>
                    <a:pt x="469" y="112"/>
                    <a:pt x="466" y="110"/>
                  </a:cubicBezTo>
                  <a:cubicBezTo>
                    <a:pt x="455" y="104"/>
                    <a:pt x="455" y="104"/>
                    <a:pt x="455" y="104"/>
                  </a:cubicBezTo>
                  <a:cubicBezTo>
                    <a:pt x="509" y="80"/>
                    <a:pt x="509" y="80"/>
                    <a:pt x="509" y="80"/>
                  </a:cubicBezTo>
                  <a:cubicBezTo>
                    <a:pt x="510" y="161"/>
                    <a:pt x="510" y="161"/>
                    <a:pt x="510" y="161"/>
                  </a:cubicBezTo>
                  <a:lnTo>
                    <a:pt x="507" y="157"/>
                  </a:lnTo>
                  <a:close/>
                </a:path>
              </a:pathLst>
            </a:custGeom>
            <a:blipFill dpi="0" rotWithShape="0">
              <a:blip r:embed="rId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680" name="Text Box 37"/>
            <p:cNvSpPr txBox="1">
              <a:spLocks noChangeArrowheads="1"/>
            </p:cNvSpPr>
            <p:nvPr/>
          </p:nvSpPr>
          <p:spPr bwMode="auto">
            <a:xfrm>
              <a:off x="660" y="2842"/>
              <a:ext cx="392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E4275"/>
                  </a:solidFill>
                </a14:hiddenFill>
              </a:ext>
              <a:ext uri="{91240B29-F687-4F45-9708-019B960494DF}">
                <a14:hiddenLine xmlns:a14="http://schemas.microsoft.com/office/drawing/2010/main" w="38100" algn="ctr">
                  <a:solidFill>
                    <a:srgbClr val="E32119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rIns="0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sv-SE" sz="1800">
                  <a:solidFill>
                    <a:srgbClr val="007B78"/>
                  </a:solidFill>
                </a:rPr>
                <a:t> </a:t>
              </a:r>
              <a:endParaRPr lang="en-US" sz="1800">
                <a:solidFill>
                  <a:srgbClr val="007B78"/>
                </a:solidFill>
              </a:endParaRPr>
            </a:p>
          </p:txBody>
        </p:sp>
      </p:grpSp>
      <p:grpSp>
        <p:nvGrpSpPr>
          <p:cNvPr id="27658" name="Group 38"/>
          <p:cNvGrpSpPr>
            <a:grpSpLocks/>
          </p:cNvGrpSpPr>
          <p:nvPr/>
        </p:nvGrpSpPr>
        <p:grpSpPr bwMode="auto">
          <a:xfrm>
            <a:off x="5995207" y="3648578"/>
            <a:ext cx="1801284" cy="1488690"/>
            <a:chOff x="4010" y="2627"/>
            <a:chExt cx="1020" cy="920"/>
          </a:xfrm>
        </p:grpSpPr>
        <p:sp>
          <p:nvSpPr>
            <p:cNvPr id="27671" name="Freeform 39" descr="bpct-blend6"/>
            <p:cNvSpPr>
              <a:spLocks noChangeAspect="1" noEditPoints="1"/>
            </p:cNvSpPr>
            <p:nvPr/>
          </p:nvSpPr>
          <p:spPr bwMode="auto">
            <a:xfrm>
              <a:off x="4243" y="2627"/>
              <a:ext cx="553" cy="651"/>
            </a:xfrm>
            <a:custGeom>
              <a:avLst/>
              <a:gdLst>
                <a:gd name="T0" fmla="*/ 89 w 353"/>
                <a:gd name="T1" fmla="*/ 427 h 415"/>
                <a:gd name="T2" fmla="*/ 89 w 353"/>
                <a:gd name="T3" fmla="*/ 452 h 415"/>
                <a:gd name="T4" fmla="*/ 302 w 353"/>
                <a:gd name="T5" fmla="*/ 439 h 415"/>
                <a:gd name="T6" fmla="*/ 290 w 353"/>
                <a:gd name="T7" fmla="*/ 227 h 415"/>
                <a:gd name="T8" fmla="*/ 77 w 353"/>
                <a:gd name="T9" fmla="*/ 240 h 415"/>
                <a:gd name="T10" fmla="*/ 290 w 353"/>
                <a:gd name="T11" fmla="*/ 253 h 415"/>
                <a:gd name="T12" fmla="*/ 290 w 353"/>
                <a:gd name="T13" fmla="*/ 227 h 415"/>
                <a:gd name="T14" fmla="*/ 89 w 353"/>
                <a:gd name="T15" fmla="*/ 293 h 415"/>
                <a:gd name="T16" fmla="*/ 89 w 353"/>
                <a:gd name="T17" fmla="*/ 318 h 415"/>
                <a:gd name="T18" fmla="*/ 302 w 353"/>
                <a:gd name="T19" fmla="*/ 306 h 415"/>
                <a:gd name="T20" fmla="*/ 290 w 353"/>
                <a:gd name="T21" fmla="*/ 493 h 415"/>
                <a:gd name="T22" fmla="*/ 77 w 353"/>
                <a:gd name="T23" fmla="*/ 505 h 415"/>
                <a:gd name="T24" fmla="*/ 290 w 353"/>
                <a:gd name="T25" fmla="*/ 518 h 415"/>
                <a:gd name="T26" fmla="*/ 290 w 353"/>
                <a:gd name="T27" fmla="*/ 493 h 415"/>
                <a:gd name="T28" fmla="*/ 407 w 353"/>
                <a:gd name="T29" fmla="*/ 122 h 415"/>
                <a:gd name="T30" fmla="*/ 528 w 353"/>
                <a:gd name="T31" fmla="*/ 152 h 415"/>
                <a:gd name="T32" fmla="*/ 540 w 353"/>
                <a:gd name="T33" fmla="*/ 198 h 415"/>
                <a:gd name="T34" fmla="*/ 553 w 353"/>
                <a:gd name="T35" fmla="*/ 152 h 415"/>
                <a:gd name="T36" fmla="*/ 407 w 353"/>
                <a:gd name="T37" fmla="*/ 97 h 415"/>
                <a:gd name="T38" fmla="*/ 407 w 353"/>
                <a:gd name="T39" fmla="*/ 122 h 415"/>
                <a:gd name="T40" fmla="*/ 368 w 353"/>
                <a:gd name="T41" fmla="*/ 538 h 415"/>
                <a:gd name="T42" fmla="*/ 381 w 353"/>
                <a:gd name="T43" fmla="*/ 549 h 415"/>
                <a:gd name="T44" fmla="*/ 393 w 353"/>
                <a:gd name="T45" fmla="*/ 543 h 415"/>
                <a:gd name="T46" fmla="*/ 475 w 353"/>
                <a:gd name="T47" fmla="*/ 416 h 415"/>
                <a:gd name="T48" fmla="*/ 454 w 353"/>
                <a:gd name="T49" fmla="*/ 400 h 415"/>
                <a:gd name="T50" fmla="*/ 354 w 353"/>
                <a:gd name="T51" fmla="*/ 474 h 415"/>
                <a:gd name="T52" fmla="*/ 335 w 353"/>
                <a:gd name="T53" fmla="*/ 491 h 415"/>
                <a:gd name="T54" fmla="*/ 362 w 353"/>
                <a:gd name="T55" fmla="*/ 526 h 415"/>
                <a:gd name="T56" fmla="*/ 362 w 353"/>
                <a:gd name="T57" fmla="*/ 144 h 415"/>
                <a:gd name="T58" fmla="*/ 368 w 353"/>
                <a:gd name="T59" fmla="*/ 93 h 415"/>
                <a:gd name="T60" fmla="*/ 299 w 353"/>
                <a:gd name="T61" fmla="*/ 0 h 415"/>
                <a:gd name="T62" fmla="*/ 229 w 353"/>
                <a:gd name="T63" fmla="*/ 17 h 415"/>
                <a:gd name="T64" fmla="*/ 174 w 353"/>
                <a:gd name="T65" fmla="*/ 125 h 415"/>
                <a:gd name="T66" fmla="*/ 277 w 353"/>
                <a:gd name="T67" fmla="*/ 27 h 415"/>
                <a:gd name="T68" fmla="*/ 277 w 353"/>
                <a:gd name="T69" fmla="*/ 96 h 415"/>
                <a:gd name="T70" fmla="*/ 277 w 353"/>
                <a:gd name="T71" fmla="*/ 27 h 415"/>
                <a:gd name="T72" fmla="*/ 528 w 353"/>
                <a:gd name="T73" fmla="*/ 232 h 415"/>
                <a:gd name="T74" fmla="*/ 498 w 353"/>
                <a:gd name="T75" fmla="*/ 626 h 415"/>
                <a:gd name="T76" fmla="*/ 25 w 353"/>
                <a:gd name="T77" fmla="*/ 596 h 415"/>
                <a:gd name="T78" fmla="*/ 55 w 353"/>
                <a:gd name="T79" fmla="*/ 122 h 415"/>
                <a:gd name="T80" fmla="*/ 157 w 353"/>
                <a:gd name="T81" fmla="*/ 110 h 415"/>
                <a:gd name="T82" fmla="*/ 55 w 353"/>
                <a:gd name="T83" fmla="*/ 97 h 415"/>
                <a:gd name="T84" fmla="*/ 0 w 353"/>
                <a:gd name="T85" fmla="*/ 596 h 415"/>
                <a:gd name="T86" fmla="*/ 498 w 353"/>
                <a:gd name="T87" fmla="*/ 651 h 415"/>
                <a:gd name="T88" fmla="*/ 553 w 353"/>
                <a:gd name="T89" fmla="*/ 234 h 415"/>
                <a:gd name="T90" fmla="*/ 335 w 353"/>
                <a:gd name="T91" fmla="*/ 275 h 415"/>
                <a:gd name="T92" fmla="*/ 335 w 353"/>
                <a:gd name="T93" fmla="*/ 292 h 415"/>
                <a:gd name="T94" fmla="*/ 368 w 353"/>
                <a:gd name="T95" fmla="*/ 339 h 415"/>
                <a:gd name="T96" fmla="*/ 381 w 353"/>
                <a:gd name="T97" fmla="*/ 351 h 415"/>
                <a:gd name="T98" fmla="*/ 393 w 353"/>
                <a:gd name="T99" fmla="*/ 344 h 415"/>
                <a:gd name="T100" fmla="*/ 475 w 353"/>
                <a:gd name="T101" fmla="*/ 216 h 415"/>
                <a:gd name="T102" fmla="*/ 454 w 353"/>
                <a:gd name="T103" fmla="*/ 201 h 415"/>
                <a:gd name="T104" fmla="*/ 354 w 353"/>
                <a:gd name="T105" fmla="*/ 275 h 41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353" h="415">
                  <a:moveTo>
                    <a:pt x="185" y="272"/>
                  </a:moveTo>
                  <a:cubicBezTo>
                    <a:pt x="57" y="272"/>
                    <a:pt x="57" y="272"/>
                    <a:pt x="57" y="272"/>
                  </a:cubicBezTo>
                  <a:cubicBezTo>
                    <a:pt x="53" y="272"/>
                    <a:pt x="49" y="276"/>
                    <a:pt x="49" y="280"/>
                  </a:cubicBezTo>
                  <a:cubicBezTo>
                    <a:pt x="49" y="284"/>
                    <a:pt x="53" y="288"/>
                    <a:pt x="57" y="288"/>
                  </a:cubicBezTo>
                  <a:cubicBezTo>
                    <a:pt x="185" y="288"/>
                    <a:pt x="185" y="288"/>
                    <a:pt x="185" y="288"/>
                  </a:cubicBezTo>
                  <a:cubicBezTo>
                    <a:pt x="189" y="288"/>
                    <a:pt x="193" y="284"/>
                    <a:pt x="193" y="280"/>
                  </a:cubicBezTo>
                  <a:cubicBezTo>
                    <a:pt x="193" y="276"/>
                    <a:pt x="189" y="272"/>
                    <a:pt x="185" y="272"/>
                  </a:cubicBezTo>
                  <a:close/>
                  <a:moveTo>
                    <a:pt x="185" y="145"/>
                  </a:moveTo>
                  <a:cubicBezTo>
                    <a:pt x="57" y="145"/>
                    <a:pt x="57" y="145"/>
                    <a:pt x="57" y="145"/>
                  </a:cubicBezTo>
                  <a:cubicBezTo>
                    <a:pt x="53" y="145"/>
                    <a:pt x="49" y="149"/>
                    <a:pt x="49" y="153"/>
                  </a:cubicBezTo>
                  <a:cubicBezTo>
                    <a:pt x="49" y="158"/>
                    <a:pt x="53" y="161"/>
                    <a:pt x="57" y="161"/>
                  </a:cubicBezTo>
                  <a:cubicBezTo>
                    <a:pt x="185" y="161"/>
                    <a:pt x="185" y="161"/>
                    <a:pt x="185" y="161"/>
                  </a:cubicBezTo>
                  <a:cubicBezTo>
                    <a:pt x="189" y="161"/>
                    <a:pt x="193" y="158"/>
                    <a:pt x="193" y="153"/>
                  </a:cubicBezTo>
                  <a:cubicBezTo>
                    <a:pt x="193" y="149"/>
                    <a:pt x="189" y="145"/>
                    <a:pt x="185" y="145"/>
                  </a:cubicBezTo>
                  <a:close/>
                  <a:moveTo>
                    <a:pt x="185" y="187"/>
                  </a:moveTo>
                  <a:cubicBezTo>
                    <a:pt x="57" y="187"/>
                    <a:pt x="57" y="187"/>
                    <a:pt x="57" y="187"/>
                  </a:cubicBezTo>
                  <a:cubicBezTo>
                    <a:pt x="53" y="187"/>
                    <a:pt x="49" y="191"/>
                    <a:pt x="49" y="195"/>
                  </a:cubicBezTo>
                  <a:cubicBezTo>
                    <a:pt x="49" y="200"/>
                    <a:pt x="53" y="203"/>
                    <a:pt x="57" y="203"/>
                  </a:cubicBezTo>
                  <a:cubicBezTo>
                    <a:pt x="185" y="203"/>
                    <a:pt x="185" y="203"/>
                    <a:pt x="185" y="203"/>
                  </a:cubicBezTo>
                  <a:cubicBezTo>
                    <a:pt x="189" y="203"/>
                    <a:pt x="193" y="200"/>
                    <a:pt x="193" y="195"/>
                  </a:cubicBezTo>
                  <a:cubicBezTo>
                    <a:pt x="193" y="191"/>
                    <a:pt x="189" y="187"/>
                    <a:pt x="185" y="187"/>
                  </a:cubicBezTo>
                  <a:close/>
                  <a:moveTo>
                    <a:pt x="185" y="314"/>
                  </a:moveTo>
                  <a:cubicBezTo>
                    <a:pt x="57" y="314"/>
                    <a:pt x="57" y="314"/>
                    <a:pt x="57" y="314"/>
                  </a:cubicBezTo>
                  <a:cubicBezTo>
                    <a:pt x="53" y="314"/>
                    <a:pt x="49" y="318"/>
                    <a:pt x="49" y="322"/>
                  </a:cubicBezTo>
                  <a:cubicBezTo>
                    <a:pt x="49" y="326"/>
                    <a:pt x="53" y="330"/>
                    <a:pt x="57" y="330"/>
                  </a:cubicBezTo>
                  <a:cubicBezTo>
                    <a:pt x="185" y="330"/>
                    <a:pt x="185" y="330"/>
                    <a:pt x="185" y="330"/>
                  </a:cubicBezTo>
                  <a:cubicBezTo>
                    <a:pt x="189" y="330"/>
                    <a:pt x="193" y="326"/>
                    <a:pt x="193" y="322"/>
                  </a:cubicBezTo>
                  <a:cubicBezTo>
                    <a:pt x="193" y="318"/>
                    <a:pt x="189" y="314"/>
                    <a:pt x="185" y="314"/>
                  </a:cubicBezTo>
                  <a:close/>
                  <a:moveTo>
                    <a:pt x="260" y="78"/>
                  </a:moveTo>
                  <a:cubicBezTo>
                    <a:pt x="260" y="78"/>
                    <a:pt x="260" y="78"/>
                    <a:pt x="260" y="78"/>
                  </a:cubicBezTo>
                  <a:cubicBezTo>
                    <a:pt x="318" y="78"/>
                    <a:pt x="318" y="78"/>
                    <a:pt x="318" y="78"/>
                  </a:cubicBezTo>
                  <a:cubicBezTo>
                    <a:pt x="329" y="78"/>
                    <a:pt x="337" y="86"/>
                    <a:pt x="337" y="97"/>
                  </a:cubicBezTo>
                  <a:cubicBezTo>
                    <a:pt x="337" y="119"/>
                    <a:pt x="337" y="119"/>
                    <a:pt x="337" y="119"/>
                  </a:cubicBezTo>
                  <a:cubicBezTo>
                    <a:pt x="337" y="123"/>
                    <a:pt x="341" y="126"/>
                    <a:pt x="345" y="126"/>
                  </a:cubicBezTo>
                  <a:cubicBezTo>
                    <a:pt x="350" y="126"/>
                    <a:pt x="353" y="122"/>
                    <a:pt x="353" y="118"/>
                  </a:cubicBezTo>
                  <a:cubicBezTo>
                    <a:pt x="353" y="97"/>
                    <a:pt x="353" y="97"/>
                    <a:pt x="353" y="97"/>
                  </a:cubicBezTo>
                  <a:cubicBezTo>
                    <a:pt x="353" y="78"/>
                    <a:pt x="338" y="62"/>
                    <a:pt x="318" y="62"/>
                  </a:cubicBezTo>
                  <a:cubicBezTo>
                    <a:pt x="260" y="62"/>
                    <a:pt x="260" y="62"/>
                    <a:pt x="260" y="62"/>
                  </a:cubicBezTo>
                  <a:cubicBezTo>
                    <a:pt x="255" y="62"/>
                    <a:pt x="252" y="66"/>
                    <a:pt x="252" y="70"/>
                  </a:cubicBezTo>
                  <a:cubicBezTo>
                    <a:pt x="252" y="74"/>
                    <a:pt x="255" y="78"/>
                    <a:pt x="260" y="78"/>
                  </a:cubicBezTo>
                  <a:close/>
                  <a:moveTo>
                    <a:pt x="231" y="335"/>
                  </a:moveTo>
                  <a:cubicBezTo>
                    <a:pt x="232" y="338"/>
                    <a:pt x="234" y="341"/>
                    <a:pt x="235" y="343"/>
                  </a:cubicBezTo>
                  <a:cubicBezTo>
                    <a:pt x="236" y="345"/>
                    <a:pt x="236" y="346"/>
                    <a:pt x="236" y="346"/>
                  </a:cubicBezTo>
                  <a:cubicBezTo>
                    <a:pt x="238" y="348"/>
                    <a:pt x="240" y="350"/>
                    <a:pt x="243" y="350"/>
                  </a:cubicBezTo>
                  <a:cubicBezTo>
                    <a:pt x="243" y="350"/>
                    <a:pt x="244" y="350"/>
                    <a:pt x="244" y="350"/>
                  </a:cubicBezTo>
                  <a:cubicBezTo>
                    <a:pt x="247" y="350"/>
                    <a:pt x="249" y="349"/>
                    <a:pt x="251" y="346"/>
                  </a:cubicBezTo>
                  <a:cubicBezTo>
                    <a:pt x="251" y="346"/>
                    <a:pt x="257" y="335"/>
                    <a:pt x="266" y="320"/>
                  </a:cubicBezTo>
                  <a:cubicBezTo>
                    <a:pt x="275" y="304"/>
                    <a:pt x="288" y="283"/>
                    <a:pt x="303" y="265"/>
                  </a:cubicBezTo>
                  <a:cubicBezTo>
                    <a:pt x="305" y="261"/>
                    <a:pt x="305" y="256"/>
                    <a:pt x="301" y="253"/>
                  </a:cubicBezTo>
                  <a:cubicBezTo>
                    <a:pt x="298" y="251"/>
                    <a:pt x="293" y="251"/>
                    <a:pt x="290" y="255"/>
                  </a:cubicBezTo>
                  <a:cubicBezTo>
                    <a:pt x="270" y="281"/>
                    <a:pt x="253" y="310"/>
                    <a:pt x="244" y="326"/>
                  </a:cubicBezTo>
                  <a:cubicBezTo>
                    <a:pt x="240" y="319"/>
                    <a:pt x="233" y="310"/>
                    <a:pt x="226" y="302"/>
                  </a:cubicBezTo>
                  <a:cubicBezTo>
                    <a:pt x="222" y="299"/>
                    <a:pt x="217" y="299"/>
                    <a:pt x="214" y="302"/>
                  </a:cubicBezTo>
                  <a:cubicBezTo>
                    <a:pt x="211" y="305"/>
                    <a:pt x="211" y="310"/>
                    <a:pt x="214" y="313"/>
                  </a:cubicBezTo>
                  <a:cubicBezTo>
                    <a:pt x="214" y="313"/>
                    <a:pt x="214" y="313"/>
                    <a:pt x="214" y="313"/>
                  </a:cubicBezTo>
                  <a:cubicBezTo>
                    <a:pt x="221" y="320"/>
                    <a:pt x="227" y="328"/>
                    <a:pt x="231" y="335"/>
                  </a:cubicBezTo>
                  <a:close/>
                  <a:moveTo>
                    <a:pt x="122" y="92"/>
                  </a:moveTo>
                  <a:cubicBezTo>
                    <a:pt x="231" y="92"/>
                    <a:pt x="231" y="92"/>
                    <a:pt x="231" y="92"/>
                  </a:cubicBezTo>
                  <a:cubicBezTo>
                    <a:pt x="237" y="92"/>
                    <a:pt x="242" y="87"/>
                    <a:pt x="242" y="80"/>
                  </a:cubicBezTo>
                  <a:cubicBezTo>
                    <a:pt x="242" y="68"/>
                    <a:pt x="235" y="59"/>
                    <a:pt x="235" y="59"/>
                  </a:cubicBezTo>
                  <a:cubicBezTo>
                    <a:pt x="208" y="11"/>
                    <a:pt x="208" y="11"/>
                    <a:pt x="208" y="11"/>
                  </a:cubicBezTo>
                  <a:cubicBezTo>
                    <a:pt x="208" y="11"/>
                    <a:pt x="202" y="0"/>
                    <a:pt x="191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52" y="0"/>
                    <a:pt x="146" y="11"/>
                    <a:pt x="146" y="11"/>
                  </a:cubicBezTo>
                  <a:cubicBezTo>
                    <a:pt x="118" y="59"/>
                    <a:pt x="118" y="59"/>
                    <a:pt x="118" y="59"/>
                  </a:cubicBezTo>
                  <a:cubicBezTo>
                    <a:pt x="118" y="59"/>
                    <a:pt x="111" y="68"/>
                    <a:pt x="111" y="80"/>
                  </a:cubicBezTo>
                  <a:cubicBezTo>
                    <a:pt x="111" y="87"/>
                    <a:pt x="116" y="92"/>
                    <a:pt x="122" y="92"/>
                  </a:cubicBezTo>
                  <a:close/>
                  <a:moveTo>
                    <a:pt x="177" y="17"/>
                  </a:moveTo>
                  <a:cubicBezTo>
                    <a:pt x="189" y="17"/>
                    <a:pt x="199" y="27"/>
                    <a:pt x="199" y="39"/>
                  </a:cubicBezTo>
                  <a:cubicBezTo>
                    <a:pt x="199" y="51"/>
                    <a:pt x="189" y="61"/>
                    <a:pt x="177" y="61"/>
                  </a:cubicBezTo>
                  <a:cubicBezTo>
                    <a:pt x="165" y="61"/>
                    <a:pt x="155" y="51"/>
                    <a:pt x="155" y="39"/>
                  </a:cubicBezTo>
                  <a:cubicBezTo>
                    <a:pt x="155" y="27"/>
                    <a:pt x="165" y="17"/>
                    <a:pt x="177" y="17"/>
                  </a:cubicBezTo>
                  <a:close/>
                  <a:moveTo>
                    <a:pt x="345" y="141"/>
                  </a:moveTo>
                  <a:cubicBezTo>
                    <a:pt x="341" y="141"/>
                    <a:pt x="337" y="144"/>
                    <a:pt x="337" y="148"/>
                  </a:cubicBezTo>
                  <a:cubicBezTo>
                    <a:pt x="337" y="380"/>
                    <a:pt x="337" y="380"/>
                    <a:pt x="337" y="380"/>
                  </a:cubicBezTo>
                  <a:cubicBezTo>
                    <a:pt x="337" y="390"/>
                    <a:pt x="329" y="399"/>
                    <a:pt x="318" y="399"/>
                  </a:cubicBezTo>
                  <a:cubicBezTo>
                    <a:pt x="35" y="399"/>
                    <a:pt x="35" y="399"/>
                    <a:pt x="35" y="399"/>
                  </a:cubicBezTo>
                  <a:cubicBezTo>
                    <a:pt x="25" y="399"/>
                    <a:pt x="16" y="390"/>
                    <a:pt x="16" y="380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86"/>
                    <a:pt x="25" y="78"/>
                    <a:pt x="35" y="78"/>
                  </a:cubicBezTo>
                  <a:cubicBezTo>
                    <a:pt x="92" y="78"/>
                    <a:pt x="92" y="78"/>
                    <a:pt x="92" y="78"/>
                  </a:cubicBezTo>
                  <a:cubicBezTo>
                    <a:pt x="97" y="78"/>
                    <a:pt x="100" y="74"/>
                    <a:pt x="100" y="70"/>
                  </a:cubicBezTo>
                  <a:cubicBezTo>
                    <a:pt x="100" y="66"/>
                    <a:pt x="97" y="62"/>
                    <a:pt x="92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16" y="62"/>
                    <a:pt x="0" y="78"/>
                    <a:pt x="0" y="97"/>
                  </a:cubicBezTo>
                  <a:cubicBezTo>
                    <a:pt x="0" y="380"/>
                    <a:pt x="0" y="380"/>
                    <a:pt x="0" y="380"/>
                  </a:cubicBezTo>
                  <a:cubicBezTo>
                    <a:pt x="0" y="399"/>
                    <a:pt x="16" y="415"/>
                    <a:pt x="35" y="415"/>
                  </a:cubicBezTo>
                  <a:cubicBezTo>
                    <a:pt x="318" y="415"/>
                    <a:pt x="318" y="415"/>
                    <a:pt x="318" y="415"/>
                  </a:cubicBezTo>
                  <a:cubicBezTo>
                    <a:pt x="338" y="415"/>
                    <a:pt x="353" y="399"/>
                    <a:pt x="353" y="380"/>
                  </a:cubicBezTo>
                  <a:cubicBezTo>
                    <a:pt x="353" y="149"/>
                    <a:pt x="353" y="149"/>
                    <a:pt x="353" y="149"/>
                  </a:cubicBezTo>
                  <a:cubicBezTo>
                    <a:pt x="353" y="145"/>
                    <a:pt x="350" y="141"/>
                    <a:pt x="345" y="141"/>
                  </a:cubicBezTo>
                  <a:close/>
                  <a:moveTo>
                    <a:pt x="214" y="175"/>
                  </a:moveTo>
                  <a:cubicBezTo>
                    <a:pt x="211" y="178"/>
                    <a:pt x="211" y="183"/>
                    <a:pt x="214" y="186"/>
                  </a:cubicBezTo>
                  <a:cubicBezTo>
                    <a:pt x="214" y="186"/>
                    <a:pt x="214" y="186"/>
                    <a:pt x="214" y="186"/>
                  </a:cubicBezTo>
                  <a:cubicBezTo>
                    <a:pt x="221" y="193"/>
                    <a:pt x="227" y="201"/>
                    <a:pt x="231" y="208"/>
                  </a:cubicBezTo>
                  <a:cubicBezTo>
                    <a:pt x="232" y="211"/>
                    <a:pt x="234" y="214"/>
                    <a:pt x="235" y="216"/>
                  </a:cubicBezTo>
                  <a:cubicBezTo>
                    <a:pt x="236" y="218"/>
                    <a:pt x="236" y="219"/>
                    <a:pt x="236" y="219"/>
                  </a:cubicBezTo>
                  <a:cubicBezTo>
                    <a:pt x="238" y="222"/>
                    <a:pt x="240" y="223"/>
                    <a:pt x="243" y="224"/>
                  </a:cubicBezTo>
                  <a:cubicBezTo>
                    <a:pt x="243" y="224"/>
                    <a:pt x="244" y="224"/>
                    <a:pt x="244" y="224"/>
                  </a:cubicBezTo>
                  <a:cubicBezTo>
                    <a:pt x="247" y="224"/>
                    <a:pt x="249" y="222"/>
                    <a:pt x="251" y="219"/>
                  </a:cubicBezTo>
                  <a:cubicBezTo>
                    <a:pt x="251" y="219"/>
                    <a:pt x="257" y="208"/>
                    <a:pt x="266" y="193"/>
                  </a:cubicBezTo>
                  <a:cubicBezTo>
                    <a:pt x="275" y="177"/>
                    <a:pt x="288" y="157"/>
                    <a:pt x="303" y="138"/>
                  </a:cubicBezTo>
                  <a:cubicBezTo>
                    <a:pt x="305" y="134"/>
                    <a:pt x="305" y="129"/>
                    <a:pt x="301" y="127"/>
                  </a:cubicBezTo>
                  <a:cubicBezTo>
                    <a:pt x="298" y="124"/>
                    <a:pt x="293" y="125"/>
                    <a:pt x="290" y="128"/>
                  </a:cubicBezTo>
                  <a:cubicBezTo>
                    <a:pt x="270" y="154"/>
                    <a:pt x="253" y="183"/>
                    <a:pt x="244" y="199"/>
                  </a:cubicBezTo>
                  <a:cubicBezTo>
                    <a:pt x="240" y="192"/>
                    <a:pt x="233" y="183"/>
                    <a:pt x="226" y="175"/>
                  </a:cubicBezTo>
                  <a:cubicBezTo>
                    <a:pt x="222" y="172"/>
                    <a:pt x="217" y="172"/>
                    <a:pt x="214" y="175"/>
                  </a:cubicBezTo>
                  <a:close/>
                </a:path>
              </a:pathLst>
            </a:custGeom>
            <a:blipFill dpi="0" rotWithShape="0">
              <a:blip r:embed="rId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672" name="Text Box 40"/>
            <p:cNvSpPr txBox="1">
              <a:spLocks noChangeArrowheads="1"/>
            </p:cNvSpPr>
            <p:nvPr/>
          </p:nvSpPr>
          <p:spPr bwMode="auto">
            <a:xfrm>
              <a:off x="4010" y="3319"/>
              <a:ext cx="1020" cy="2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E4275"/>
                  </a:solidFill>
                </a14:hiddenFill>
              </a:ext>
              <a:ext uri="{91240B29-F687-4F45-9708-019B960494DF}">
                <a14:hiddenLine xmlns:a14="http://schemas.microsoft.com/office/drawing/2010/main" w="38100" algn="ctr">
                  <a:solidFill>
                    <a:srgbClr val="E32119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rIns="0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sv-SE" sz="1800">
                  <a:solidFill>
                    <a:srgbClr val="E32119"/>
                  </a:solidFill>
                </a:rPr>
                <a:t>Service launch</a:t>
              </a:r>
              <a:endParaRPr lang="en-US" sz="1000">
                <a:solidFill>
                  <a:srgbClr val="E32119"/>
                </a:solidFill>
              </a:endParaRPr>
            </a:p>
          </p:txBody>
        </p:sp>
      </p:grpSp>
      <p:grpSp>
        <p:nvGrpSpPr>
          <p:cNvPr id="27659" name="Group 41"/>
          <p:cNvGrpSpPr>
            <a:grpSpLocks/>
          </p:cNvGrpSpPr>
          <p:nvPr/>
        </p:nvGrpSpPr>
        <p:grpSpPr bwMode="auto">
          <a:xfrm>
            <a:off x="696384" y="1358905"/>
            <a:ext cx="4258733" cy="2278063"/>
            <a:chOff x="437" y="907"/>
            <a:chExt cx="2584" cy="1435"/>
          </a:xfrm>
        </p:grpSpPr>
        <p:sp>
          <p:nvSpPr>
            <p:cNvPr id="27660" name="Freeform 42"/>
            <p:cNvSpPr>
              <a:spLocks/>
            </p:cNvSpPr>
            <p:nvPr/>
          </p:nvSpPr>
          <p:spPr bwMode="auto">
            <a:xfrm>
              <a:off x="514" y="1301"/>
              <a:ext cx="2380" cy="951"/>
            </a:xfrm>
            <a:custGeom>
              <a:avLst/>
              <a:gdLst>
                <a:gd name="T0" fmla="*/ 0 w 2380"/>
                <a:gd name="T1" fmla="*/ 943 h 951"/>
                <a:gd name="T2" fmla="*/ 56 w 2380"/>
                <a:gd name="T3" fmla="*/ 905 h 951"/>
                <a:gd name="T4" fmla="*/ 144 w 2380"/>
                <a:gd name="T5" fmla="*/ 829 h 951"/>
                <a:gd name="T6" fmla="*/ 238 w 2380"/>
                <a:gd name="T7" fmla="*/ 723 h 951"/>
                <a:gd name="T8" fmla="*/ 338 w 2380"/>
                <a:gd name="T9" fmla="*/ 545 h 951"/>
                <a:gd name="T10" fmla="*/ 400 w 2380"/>
                <a:gd name="T11" fmla="*/ 387 h 951"/>
                <a:gd name="T12" fmla="*/ 430 w 2380"/>
                <a:gd name="T13" fmla="*/ 241 h 951"/>
                <a:gd name="T14" fmla="*/ 442 w 2380"/>
                <a:gd name="T15" fmla="*/ 147 h 951"/>
                <a:gd name="T16" fmla="*/ 464 w 2380"/>
                <a:gd name="T17" fmla="*/ 53 h 951"/>
                <a:gd name="T18" fmla="*/ 496 w 2380"/>
                <a:gd name="T19" fmla="*/ 1 h 951"/>
                <a:gd name="T20" fmla="*/ 532 w 2380"/>
                <a:gd name="T21" fmla="*/ 45 h 951"/>
                <a:gd name="T22" fmla="*/ 568 w 2380"/>
                <a:gd name="T23" fmla="*/ 185 h 951"/>
                <a:gd name="T24" fmla="*/ 582 w 2380"/>
                <a:gd name="T25" fmla="*/ 287 h 951"/>
                <a:gd name="T26" fmla="*/ 608 w 2380"/>
                <a:gd name="T27" fmla="*/ 377 h 951"/>
                <a:gd name="T28" fmla="*/ 652 w 2380"/>
                <a:gd name="T29" fmla="*/ 437 h 951"/>
                <a:gd name="T30" fmla="*/ 700 w 2380"/>
                <a:gd name="T31" fmla="*/ 493 h 951"/>
                <a:gd name="T32" fmla="*/ 762 w 2380"/>
                <a:gd name="T33" fmla="*/ 509 h 951"/>
                <a:gd name="T34" fmla="*/ 844 w 2380"/>
                <a:gd name="T35" fmla="*/ 451 h 951"/>
                <a:gd name="T36" fmla="*/ 912 w 2380"/>
                <a:gd name="T37" fmla="*/ 383 h 951"/>
                <a:gd name="T38" fmla="*/ 970 w 2380"/>
                <a:gd name="T39" fmla="*/ 311 h 951"/>
                <a:gd name="T40" fmla="*/ 1018 w 2380"/>
                <a:gd name="T41" fmla="*/ 227 h 951"/>
                <a:gd name="T42" fmla="*/ 1050 w 2380"/>
                <a:gd name="T43" fmla="*/ 235 h 951"/>
                <a:gd name="T44" fmla="*/ 1076 w 2380"/>
                <a:gd name="T45" fmla="*/ 287 h 951"/>
                <a:gd name="T46" fmla="*/ 1094 w 2380"/>
                <a:gd name="T47" fmla="*/ 345 h 951"/>
                <a:gd name="T48" fmla="*/ 1118 w 2380"/>
                <a:gd name="T49" fmla="*/ 397 h 951"/>
                <a:gd name="T50" fmla="*/ 1136 w 2380"/>
                <a:gd name="T51" fmla="*/ 449 h 951"/>
                <a:gd name="T52" fmla="*/ 1170 w 2380"/>
                <a:gd name="T53" fmla="*/ 513 h 951"/>
                <a:gd name="T54" fmla="*/ 1216 w 2380"/>
                <a:gd name="T55" fmla="*/ 579 h 951"/>
                <a:gd name="T56" fmla="*/ 1298 w 2380"/>
                <a:gd name="T57" fmla="*/ 687 h 951"/>
                <a:gd name="T58" fmla="*/ 1354 w 2380"/>
                <a:gd name="T59" fmla="*/ 753 h 951"/>
                <a:gd name="T60" fmla="*/ 1436 w 2380"/>
                <a:gd name="T61" fmla="*/ 789 h 951"/>
                <a:gd name="T62" fmla="*/ 1550 w 2380"/>
                <a:gd name="T63" fmla="*/ 811 h 951"/>
                <a:gd name="T64" fmla="*/ 1680 w 2380"/>
                <a:gd name="T65" fmla="*/ 789 h 951"/>
                <a:gd name="T66" fmla="*/ 1762 w 2380"/>
                <a:gd name="T67" fmla="*/ 739 h 951"/>
                <a:gd name="T68" fmla="*/ 1812 w 2380"/>
                <a:gd name="T69" fmla="*/ 677 h 951"/>
                <a:gd name="T70" fmla="*/ 1866 w 2380"/>
                <a:gd name="T71" fmla="*/ 601 h 951"/>
                <a:gd name="T72" fmla="*/ 1922 w 2380"/>
                <a:gd name="T73" fmla="*/ 539 h 951"/>
                <a:gd name="T74" fmla="*/ 1966 w 2380"/>
                <a:gd name="T75" fmla="*/ 521 h 951"/>
                <a:gd name="T76" fmla="*/ 2012 w 2380"/>
                <a:gd name="T77" fmla="*/ 531 h 951"/>
                <a:gd name="T78" fmla="*/ 2068 w 2380"/>
                <a:gd name="T79" fmla="*/ 583 h 951"/>
                <a:gd name="T80" fmla="*/ 2132 w 2380"/>
                <a:gd name="T81" fmla="*/ 659 h 951"/>
                <a:gd name="T82" fmla="*/ 2196 w 2380"/>
                <a:gd name="T83" fmla="*/ 787 h 951"/>
                <a:gd name="T84" fmla="*/ 2234 w 2380"/>
                <a:gd name="T85" fmla="*/ 849 h 951"/>
                <a:gd name="T86" fmla="*/ 2294 w 2380"/>
                <a:gd name="T87" fmla="*/ 903 h 951"/>
                <a:gd name="T88" fmla="*/ 2380 w 2380"/>
                <a:gd name="T89" fmla="*/ 951 h 951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380" h="951">
                  <a:moveTo>
                    <a:pt x="0" y="943"/>
                  </a:moveTo>
                  <a:cubicBezTo>
                    <a:pt x="16" y="933"/>
                    <a:pt x="32" y="924"/>
                    <a:pt x="56" y="905"/>
                  </a:cubicBezTo>
                  <a:cubicBezTo>
                    <a:pt x="80" y="886"/>
                    <a:pt x="114" y="859"/>
                    <a:pt x="144" y="829"/>
                  </a:cubicBezTo>
                  <a:cubicBezTo>
                    <a:pt x="174" y="799"/>
                    <a:pt x="206" y="770"/>
                    <a:pt x="238" y="723"/>
                  </a:cubicBezTo>
                  <a:cubicBezTo>
                    <a:pt x="270" y="676"/>
                    <a:pt x="311" y="601"/>
                    <a:pt x="338" y="545"/>
                  </a:cubicBezTo>
                  <a:cubicBezTo>
                    <a:pt x="365" y="489"/>
                    <a:pt x="385" y="438"/>
                    <a:pt x="400" y="387"/>
                  </a:cubicBezTo>
                  <a:cubicBezTo>
                    <a:pt x="415" y="336"/>
                    <a:pt x="423" y="281"/>
                    <a:pt x="430" y="241"/>
                  </a:cubicBezTo>
                  <a:cubicBezTo>
                    <a:pt x="437" y="201"/>
                    <a:pt x="436" y="178"/>
                    <a:pt x="442" y="147"/>
                  </a:cubicBezTo>
                  <a:cubicBezTo>
                    <a:pt x="448" y="116"/>
                    <a:pt x="455" y="77"/>
                    <a:pt x="464" y="53"/>
                  </a:cubicBezTo>
                  <a:cubicBezTo>
                    <a:pt x="473" y="29"/>
                    <a:pt x="485" y="2"/>
                    <a:pt x="496" y="1"/>
                  </a:cubicBezTo>
                  <a:cubicBezTo>
                    <a:pt x="507" y="0"/>
                    <a:pt x="520" y="14"/>
                    <a:pt x="532" y="45"/>
                  </a:cubicBezTo>
                  <a:cubicBezTo>
                    <a:pt x="544" y="76"/>
                    <a:pt x="560" y="145"/>
                    <a:pt x="568" y="185"/>
                  </a:cubicBezTo>
                  <a:cubicBezTo>
                    <a:pt x="576" y="225"/>
                    <a:pt x="575" y="255"/>
                    <a:pt x="582" y="287"/>
                  </a:cubicBezTo>
                  <a:cubicBezTo>
                    <a:pt x="589" y="319"/>
                    <a:pt x="596" y="352"/>
                    <a:pt x="608" y="377"/>
                  </a:cubicBezTo>
                  <a:cubicBezTo>
                    <a:pt x="620" y="402"/>
                    <a:pt x="637" y="418"/>
                    <a:pt x="652" y="437"/>
                  </a:cubicBezTo>
                  <a:cubicBezTo>
                    <a:pt x="667" y="456"/>
                    <a:pt x="682" y="481"/>
                    <a:pt x="700" y="493"/>
                  </a:cubicBezTo>
                  <a:cubicBezTo>
                    <a:pt x="718" y="505"/>
                    <a:pt x="738" y="516"/>
                    <a:pt x="762" y="509"/>
                  </a:cubicBezTo>
                  <a:cubicBezTo>
                    <a:pt x="786" y="502"/>
                    <a:pt x="819" y="472"/>
                    <a:pt x="844" y="451"/>
                  </a:cubicBezTo>
                  <a:cubicBezTo>
                    <a:pt x="869" y="430"/>
                    <a:pt x="891" y="406"/>
                    <a:pt x="912" y="383"/>
                  </a:cubicBezTo>
                  <a:cubicBezTo>
                    <a:pt x="933" y="360"/>
                    <a:pt x="952" y="337"/>
                    <a:pt x="970" y="311"/>
                  </a:cubicBezTo>
                  <a:cubicBezTo>
                    <a:pt x="988" y="285"/>
                    <a:pt x="1005" y="240"/>
                    <a:pt x="1018" y="227"/>
                  </a:cubicBezTo>
                  <a:cubicBezTo>
                    <a:pt x="1031" y="214"/>
                    <a:pt x="1040" y="225"/>
                    <a:pt x="1050" y="235"/>
                  </a:cubicBezTo>
                  <a:cubicBezTo>
                    <a:pt x="1060" y="245"/>
                    <a:pt x="1069" y="269"/>
                    <a:pt x="1076" y="287"/>
                  </a:cubicBezTo>
                  <a:cubicBezTo>
                    <a:pt x="1083" y="305"/>
                    <a:pt x="1087" y="327"/>
                    <a:pt x="1094" y="345"/>
                  </a:cubicBezTo>
                  <a:cubicBezTo>
                    <a:pt x="1101" y="363"/>
                    <a:pt x="1111" y="380"/>
                    <a:pt x="1118" y="397"/>
                  </a:cubicBezTo>
                  <a:cubicBezTo>
                    <a:pt x="1125" y="414"/>
                    <a:pt x="1127" y="430"/>
                    <a:pt x="1136" y="449"/>
                  </a:cubicBezTo>
                  <a:cubicBezTo>
                    <a:pt x="1145" y="468"/>
                    <a:pt x="1157" y="491"/>
                    <a:pt x="1170" y="513"/>
                  </a:cubicBezTo>
                  <a:cubicBezTo>
                    <a:pt x="1183" y="535"/>
                    <a:pt x="1195" y="550"/>
                    <a:pt x="1216" y="579"/>
                  </a:cubicBezTo>
                  <a:cubicBezTo>
                    <a:pt x="1237" y="608"/>
                    <a:pt x="1275" y="658"/>
                    <a:pt x="1298" y="687"/>
                  </a:cubicBezTo>
                  <a:cubicBezTo>
                    <a:pt x="1321" y="716"/>
                    <a:pt x="1331" y="736"/>
                    <a:pt x="1354" y="753"/>
                  </a:cubicBezTo>
                  <a:cubicBezTo>
                    <a:pt x="1377" y="770"/>
                    <a:pt x="1403" y="779"/>
                    <a:pt x="1436" y="789"/>
                  </a:cubicBezTo>
                  <a:cubicBezTo>
                    <a:pt x="1469" y="799"/>
                    <a:pt x="1509" y="811"/>
                    <a:pt x="1550" y="811"/>
                  </a:cubicBezTo>
                  <a:cubicBezTo>
                    <a:pt x="1591" y="811"/>
                    <a:pt x="1645" y="801"/>
                    <a:pt x="1680" y="789"/>
                  </a:cubicBezTo>
                  <a:cubicBezTo>
                    <a:pt x="1715" y="777"/>
                    <a:pt x="1740" y="758"/>
                    <a:pt x="1762" y="739"/>
                  </a:cubicBezTo>
                  <a:cubicBezTo>
                    <a:pt x="1784" y="720"/>
                    <a:pt x="1795" y="700"/>
                    <a:pt x="1812" y="677"/>
                  </a:cubicBezTo>
                  <a:cubicBezTo>
                    <a:pt x="1829" y="654"/>
                    <a:pt x="1848" y="624"/>
                    <a:pt x="1866" y="601"/>
                  </a:cubicBezTo>
                  <a:cubicBezTo>
                    <a:pt x="1884" y="578"/>
                    <a:pt x="1905" y="552"/>
                    <a:pt x="1922" y="539"/>
                  </a:cubicBezTo>
                  <a:cubicBezTo>
                    <a:pt x="1939" y="526"/>
                    <a:pt x="1951" y="522"/>
                    <a:pt x="1966" y="521"/>
                  </a:cubicBezTo>
                  <a:cubicBezTo>
                    <a:pt x="1981" y="520"/>
                    <a:pt x="1995" y="521"/>
                    <a:pt x="2012" y="531"/>
                  </a:cubicBezTo>
                  <a:cubicBezTo>
                    <a:pt x="2029" y="541"/>
                    <a:pt x="2048" y="562"/>
                    <a:pt x="2068" y="583"/>
                  </a:cubicBezTo>
                  <a:cubicBezTo>
                    <a:pt x="2088" y="604"/>
                    <a:pt x="2111" y="625"/>
                    <a:pt x="2132" y="659"/>
                  </a:cubicBezTo>
                  <a:cubicBezTo>
                    <a:pt x="2153" y="693"/>
                    <a:pt x="2179" y="755"/>
                    <a:pt x="2196" y="787"/>
                  </a:cubicBezTo>
                  <a:cubicBezTo>
                    <a:pt x="2213" y="819"/>
                    <a:pt x="2218" y="830"/>
                    <a:pt x="2234" y="849"/>
                  </a:cubicBezTo>
                  <a:cubicBezTo>
                    <a:pt x="2250" y="868"/>
                    <a:pt x="2270" y="886"/>
                    <a:pt x="2294" y="903"/>
                  </a:cubicBezTo>
                  <a:cubicBezTo>
                    <a:pt x="2318" y="920"/>
                    <a:pt x="2349" y="935"/>
                    <a:pt x="2380" y="951"/>
                  </a:cubicBezTo>
                </a:path>
              </a:pathLst>
            </a:custGeom>
            <a:solidFill>
              <a:srgbClr val="FBDBCA"/>
            </a:solidFill>
            <a:ln w="19050" cap="flat" cmpd="sng">
              <a:solidFill>
                <a:srgbClr val="E32119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rIns="72000"/>
            <a:lstStyle/>
            <a:p>
              <a:endParaRPr lang="en-US"/>
            </a:p>
          </p:txBody>
        </p:sp>
        <p:grpSp>
          <p:nvGrpSpPr>
            <p:cNvPr id="27661" name="Group 43"/>
            <p:cNvGrpSpPr>
              <a:grpSpLocks/>
            </p:cNvGrpSpPr>
            <p:nvPr/>
          </p:nvGrpSpPr>
          <p:grpSpPr bwMode="auto">
            <a:xfrm>
              <a:off x="528" y="995"/>
              <a:ext cx="360" cy="526"/>
              <a:chOff x="4044" y="1366"/>
              <a:chExt cx="678" cy="992"/>
            </a:xfrm>
          </p:grpSpPr>
          <p:sp>
            <p:nvSpPr>
              <p:cNvPr id="27669" name="Freeform 8" descr="bpct-blend3"/>
              <p:cNvSpPr>
                <a:spLocks noChangeAspect="1" noEditPoints="1"/>
              </p:cNvSpPr>
              <p:nvPr/>
            </p:nvSpPr>
            <p:spPr bwMode="auto">
              <a:xfrm>
                <a:off x="4054" y="1366"/>
                <a:ext cx="658" cy="520"/>
              </a:xfrm>
              <a:custGeom>
                <a:avLst/>
                <a:gdLst>
                  <a:gd name="T0" fmla="*/ 2467187 w 525"/>
                  <a:gd name="T1" fmla="*/ 1200395 h 416"/>
                  <a:gd name="T2" fmla="*/ 2462487 w 525"/>
                  <a:gd name="T3" fmla="*/ 1191016 h 416"/>
                  <a:gd name="T4" fmla="*/ 2142928 w 525"/>
                  <a:gd name="T5" fmla="*/ 647088 h 416"/>
                  <a:gd name="T6" fmla="*/ 2044241 w 525"/>
                  <a:gd name="T7" fmla="*/ 422014 h 416"/>
                  <a:gd name="T8" fmla="*/ 2161726 w 525"/>
                  <a:gd name="T9" fmla="*/ 497039 h 416"/>
                  <a:gd name="T10" fmla="*/ 2081836 w 525"/>
                  <a:gd name="T11" fmla="*/ 314166 h 416"/>
                  <a:gd name="T12" fmla="*/ 2077137 w 525"/>
                  <a:gd name="T13" fmla="*/ 304788 h 416"/>
                  <a:gd name="T14" fmla="*/ 2067737 w 525"/>
                  <a:gd name="T15" fmla="*/ 295410 h 416"/>
                  <a:gd name="T16" fmla="*/ 2044241 w 525"/>
                  <a:gd name="T17" fmla="*/ 290720 h 416"/>
                  <a:gd name="T18" fmla="*/ 1386325 w 525"/>
                  <a:gd name="T19" fmla="*/ 290720 h 416"/>
                  <a:gd name="T20" fmla="*/ 1240642 w 525"/>
                  <a:gd name="T21" fmla="*/ 0 h 416"/>
                  <a:gd name="T22" fmla="*/ 418247 w 525"/>
                  <a:gd name="T23" fmla="*/ 290720 h 416"/>
                  <a:gd name="T24" fmla="*/ 408849 w 525"/>
                  <a:gd name="T25" fmla="*/ 295410 h 416"/>
                  <a:gd name="T26" fmla="*/ 399450 w 525"/>
                  <a:gd name="T27" fmla="*/ 300099 h 416"/>
                  <a:gd name="T28" fmla="*/ 385351 w 525"/>
                  <a:gd name="T29" fmla="*/ 314166 h 416"/>
                  <a:gd name="T30" fmla="*/ 0 w 525"/>
                  <a:gd name="T31" fmla="*/ 1191016 h 416"/>
                  <a:gd name="T32" fmla="*/ 0 w 525"/>
                  <a:gd name="T33" fmla="*/ 1205084 h 416"/>
                  <a:gd name="T34" fmla="*/ 4700 w 525"/>
                  <a:gd name="T35" fmla="*/ 1219151 h 416"/>
                  <a:gd name="T36" fmla="*/ 831795 w 525"/>
                  <a:gd name="T37" fmla="*/ 1223840 h 416"/>
                  <a:gd name="T38" fmla="*/ 836493 w 525"/>
                  <a:gd name="T39" fmla="*/ 1209773 h 416"/>
                  <a:gd name="T40" fmla="*/ 836493 w 525"/>
                  <a:gd name="T41" fmla="*/ 1195705 h 416"/>
                  <a:gd name="T42" fmla="*/ 474640 w 525"/>
                  <a:gd name="T43" fmla="*/ 365745 h 416"/>
                  <a:gd name="T44" fmla="*/ 1090262 w 525"/>
                  <a:gd name="T45" fmla="*/ 1538005 h 416"/>
                  <a:gd name="T46" fmla="*/ 737806 w 525"/>
                  <a:gd name="T47" fmla="*/ 1711500 h 416"/>
                  <a:gd name="T48" fmla="*/ 733107 w 525"/>
                  <a:gd name="T49" fmla="*/ 1950641 h 416"/>
                  <a:gd name="T50" fmla="*/ 1696484 w 525"/>
                  <a:gd name="T51" fmla="*/ 1950641 h 416"/>
                  <a:gd name="T52" fmla="*/ 1687086 w 525"/>
                  <a:gd name="T53" fmla="*/ 1711500 h 416"/>
                  <a:gd name="T54" fmla="*/ 1376925 w 525"/>
                  <a:gd name="T55" fmla="*/ 1538005 h 416"/>
                  <a:gd name="T56" fmla="*/ 1987848 w 525"/>
                  <a:gd name="T57" fmla="*/ 365745 h 416"/>
                  <a:gd name="T58" fmla="*/ 1625993 w 525"/>
                  <a:gd name="T59" fmla="*/ 1195705 h 416"/>
                  <a:gd name="T60" fmla="*/ 1625993 w 525"/>
                  <a:gd name="T61" fmla="*/ 1209773 h 416"/>
                  <a:gd name="T62" fmla="*/ 1630693 w 525"/>
                  <a:gd name="T63" fmla="*/ 1223840 h 416"/>
                  <a:gd name="T64" fmla="*/ 2462487 w 525"/>
                  <a:gd name="T65" fmla="*/ 1219151 h 416"/>
                  <a:gd name="T66" fmla="*/ 1240642 w 525"/>
                  <a:gd name="T67" fmla="*/ 75025 h 416"/>
                  <a:gd name="T68" fmla="*/ 1240642 w 525"/>
                  <a:gd name="T69" fmla="*/ 290720 h 416"/>
                  <a:gd name="T70" fmla="*/ 418247 w 525"/>
                  <a:gd name="T71" fmla="*/ 1355133 h 416"/>
                  <a:gd name="T72" fmla="*/ 719009 w 525"/>
                  <a:gd name="T73" fmla="*/ 1242596 h 416"/>
                  <a:gd name="T74" fmla="*/ 418247 w 525"/>
                  <a:gd name="T75" fmla="*/ 422014 h 416"/>
                  <a:gd name="T76" fmla="*/ 1301735 w 525"/>
                  <a:gd name="T77" fmla="*/ 1542695 h 416"/>
                  <a:gd name="T78" fmla="*/ 1527306 w 525"/>
                  <a:gd name="T79" fmla="*/ 1786525 h 416"/>
                  <a:gd name="T80" fmla="*/ 1687086 w 525"/>
                  <a:gd name="T81" fmla="*/ 1875616 h 416"/>
                  <a:gd name="T82" fmla="*/ 742506 w 525"/>
                  <a:gd name="T83" fmla="*/ 1875616 h 416"/>
                  <a:gd name="T84" fmla="*/ 737806 w 525"/>
                  <a:gd name="T85" fmla="*/ 1786525 h 416"/>
                  <a:gd name="T86" fmla="*/ 1047967 w 525"/>
                  <a:gd name="T87" fmla="*/ 1730256 h 416"/>
                  <a:gd name="T88" fmla="*/ 1226545 w 525"/>
                  <a:gd name="T89" fmla="*/ 365745 h 416"/>
                  <a:gd name="T90" fmla="*/ 2044241 w 525"/>
                  <a:gd name="T91" fmla="*/ 1355133 h 416"/>
                  <a:gd name="T92" fmla="*/ 2349702 w 525"/>
                  <a:gd name="T93" fmla="*/ 1242596 h 41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525"/>
                  <a:gd name="T142" fmla="*/ 0 h 416"/>
                  <a:gd name="T143" fmla="*/ 525 w 525"/>
                  <a:gd name="T144" fmla="*/ 416 h 41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525" h="416">
                    <a:moveTo>
                      <a:pt x="525" y="258"/>
                    </a:moveTo>
                    <a:cubicBezTo>
                      <a:pt x="525" y="258"/>
                      <a:pt x="525" y="258"/>
                      <a:pt x="525" y="257"/>
                    </a:cubicBezTo>
                    <a:cubicBezTo>
                      <a:pt x="525" y="257"/>
                      <a:pt x="525" y="257"/>
                      <a:pt x="525" y="256"/>
                    </a:cubicBezTo>
                    <a:cubicBezTo>
                      <a:pt x="525" y="256"/>
                      <a:pt x="525" y="256"/>
                      <a:pt x="525" y="255"/>
                    </a:cubicBezTo>
                    <a:cubicBezTo>
                      <a:pt x="524" y="255"/>
                      <a:pt x="524" y="255"/>
                      <a:pt x="524" y="254"/>
                    </a:cubicBezTo>
                    <a:cubicBezTo>
                      <a:pt x="524" y="254"/>
                      <a:pt x="524" y="254"/>
                      <a:pt x="524" y="254"/>
                    </a:cubicBezTo>
                    <a:cubicBezTo>
                      <a:pt x="471" y="131"/>
                      <a:pt x="471" y="131"/>
                      <a:pt x="471" y="131"/>
                    </a:cubicBezTo>
                    <a:cubicBezTo>
                      <a:pt x="469" y="127"/>
                      <a:pt x="464" y="126"/>
                      <a:pt x="460" y="127"/>
                    </a:cubicBezTo>
                    <a:cubicBezTo>
                      <a:pt x="456" y="129"/>
                      <a:pt x="454" y="134"/>
                      <a:pt x="456" y="138"/>
                    </a:cubicBezTo>
                    <a:cubicBezTo>
                      <a:pt x="505" y="249"/>
                      <a:pt x="505" y="249"/>
                      <a:pt x="505" y="249"/>
                    </a:cubicBezTo>
                    <a:cubicBezTo>
                      <a:pt x="366" y="249"/>
                      <a:pt x="366" y="249"/>
                      <a:pt x="366" y="249"/>
                    </a:cubicBezTo>
                    <a:cubicBezTo>
                      <a:pt x="435" y="90"/>
                      <a:pt x="435" y="90"/>
                      <a:pt x="435" y="90"/>
                    </a:cubicBezTo>
                    <a:cubicBezTo>
                      <a:pt x="445" y="112"/>
                      <a:pt x="445" y="112"/>
                      <a:pt x="445" y="112"/>
                    </a:cubicBezTo>
                    <a:cubicBezTo>
                      <a:pt x="447" y="116"/>
                      <a:pt x="451" y="118"/>
                      <a:pt x="455" y="116"/>
                    </a:cubicBezTo>
                    <a:cubicBezTo>
                      <a:pt x="460" y="115"/>
                      <a:pt x="461" y="110"/>
                      <a:pt x="460" y="106"/>
                    </a:cubicBezTo>
                    <a:cubicBezTo>
                      <a:pt x="460" y="106"/>
                      <a:pt x="460" y="106"/>
                      <a:pt x="460" y="106"/>
                    </a:cubicBezTo>
                    <a:cubicBezTo>
                      <a:pt x="443" y="67"/>
                      <a:pt x="443" y="67"/>
                      <a:pt x="443" y="67"/>
                    </a:cubicBezTo>
                    <a:cubicBezTo>
                      <a:pt x="443" y="67"/>
                      <a:pt x="443" y="67"/>
                      <a:pt x="443" y="67"/>
                    </a:cubicBezTo>
                    <a:cubicBezTo>
                      <a:pt x="443" y="67"/>
                      <a:pt x="443" y="67"/>
                      <a:pt x="443" y="67"/>
                    </a:cubicBezTo>
                    <a:cubicBezTo>
                      <a:pt x="443" y="67"/>
                      <a:pt x="443" y="67"/>
                      <a:pt x="443" y="67"/>
                    </a:cubicBezTo>
                    <a:cubicBezTo>
                      <a:pt x="442" y="66"/>
                      <a:pt x="442" y="66"/>
                      <a:pt x="442" y="65"/>
                    </a:cubicBezTo>
                    <a:cubicBezTo>
                      <a:pt x="442" y="65"/>
                      <a:pt x="441" y="65"/>
                      <a:pt x="441" y="65"/>
                    </a:cubicBezTo>
                    <a:cubicBezTo>
                      <a:pt x="441" y="64"/>
                      <a:pt x="440" y="64"/>
                      <a:pt x="440" y="64"/>
                    </a:cubicBezTo>
                    <a:cubicBezTo>
                      <a:pt x="440" y="64"/>
                      <a:pt x="440" y="63"/>
                      <a:pt x="440" y="63"/>
                    </a:cubicBezTo>
                    <a:cubicBezTo>
                      <a:pt x="439" y="63"/>
                      <a:pt x="439" y="63"/>
                      <a:pt x="438" y="63"/>
                    </a:cubicBezTo>
                    <a:cubicBezTo>
                      <a:pt x="438" y="63"/>
                      <a:pt x="438" y="63"/>
                      <a:pt x="437" y="63"/>
                    </a:cubicBezTo>
                    <a:cubicBezTo>
                      <a:pt x="437" y="62"/>
                      <a:pt x="436" y="62"/>
                      <a:pt x="435" y="62"/>
                    </a:cubicBezTo>
                    <a:cubicBezTo>
                      <a:pt x="435" y="62"/>
                      <a:pt x="435" y="62"/>
                      <a:pt x="435" y="62"/>
                    </a:cubicBezTo>
                    <a:cubicBezTo>
                      <a:pt x="435" y="62"/>
                      <a:pt x="435" y="62"/>
                      <a:pt x="435" y="62"/>
                    </a:cubicBezTo>
                    <a:cubicBezTo>
                      <a:pt x="295" y="62"/>
                      <a:pt x="295" y="62"/>
                      <a:pt x="295" y="62"/>
                    </a:cubicBezTo>
                    <a:cubicBezTo>
                      <a:pt x="300" y="56"/>
                      <a:pt x="303" y="48"/>
                      <a:pt x="303" y="39"/>
                    </a:cubicBezTo>
                    <a:cubicBezTo>
                      <a:pt x="303" y="39"/>
                      <a:pt x="303" y="39"/>
                      <a:pt x="303" y="39"/>
                    </a:cubicBezTo>
                    <a:cubicBezTo>
                      <a:pt x="303" y="18"/>
                      <a:pt x="285" y="0"/>
                      <a:pt x="264" y="0"/>
                    </a:cubicBezTo>
                    <a:cubicBezTo>
                      <a:pt x="242" y="0"/>
                      <a:pt x="225" y="18"/>
                      <a:pt x="225" y="39"/>
                    </a:cubicBezTo>
                    <a:cubicBezTo>
                      <a:pt x="225" y="48"/>
                      <a:pt x="228" y="56"/>
                      <a:pt x="232" y="62"/>
                    </a:cubicBezTo>
                    <a:cubicBezTo>
                      <a:pt x="89" y="62"/>
                      <a:pt x="89" y="62"/>
                      <a:pt x="89" y="62"/>
                    </a:cubicBezTo>
                    <a:cubicBezTo>
                      <a:pt x="89" y="62"/>
                      <a:pt x="89" y="62"/>
                      <a:pt x="89" y="62"/>
                    </a:cubicBezTo>
                    <a:cubicBezTo>
                      <a:pt x="89" y="62"/>
                      <a:pt x="89" y="62"/>
                      <a:pt x="89" y="62"/>
                    </a:cubicBezTo>
                    <a:cubicBezTo>
                      <a:pt x="88" y="62"/>
                      <a:pt x="88" y="62"/>
                      <a:pt x="87" y="63"/>
                    </a:cubicBezTo>
                    <a:cubicBezTo>
                      <a:pt x="87" y="63"/>
                      <a:pt x="87" y="63"/>
                      <a:pt x="87" y="63"/>
                    </a:cubicBezTo>
                    <a:cubicBezTo>
                      <a:pt x="86" y="63"/>
                      <a:pt x="85" y="63"/>
                      <a:pt x="85" y="63"/>
                    </a:cubicBezTo>
                    <a:cubicBezTo>
                      <a:pt x="85" y="63"/>
                      <a:pt x="85" y="64"/>
                      <a:pt x="85" y="64"/>
                    </a:cubicBezTo>
                    <a:cubicBezTo>
                      <a:pt x="84" y="64"/>
                      <a:pt x="84" y="64"/>
                      <a:pt x="83" y="65"/>
                    </a:cubicBezTo>
                    <a:cubicBezTo>
                      <a:pt x="83" y="65"/>
                      <a:pt x="83" y="65"/>
                      <a:pt x="83" y="65"/>
                    </a:cubicBezTo>
                    <a:cubicBezTo>
                      <a:pt x="83" y="66"/>
                      <a:pt x="82" y="66"/>
                      <a:pt x="82" y="67"/>
                    </a:cubicBezTo>
                    <a:cubicBezTo>
                      <a:pt x="82" y="67"/>
                      <a:pt x="82" y="67"/>
                      <a:pt x="82" y="67"/>
                    </a:cubicBezTo>
                    <a:cubicBezTo>
                      <a:pt x="0" y="254"/>
                      <a:pt x="0" y="254"/>
                      <a:pt x="0" y="254"/>
                    </a:cubicBezTo>
                    <a:cubicBezTo>
                      <a:pt x="0" y="254"/>
                      <a:pt x="0" y="254"/>
                      <a:pt x="0" y="254"/>
                    </a:cubicBezTo>
                    <a:cubicBezTo>
                      <a:pt x="0" y="255"/>
                      <a:pt x="0" y="255"/>
                      <a:pt x="0" y="255"/>
                    </a:cubicBezTo>
                    <a:cubicBezTo>
                      <a:pt x="0" y="256"/>
                      <a:pt x="0" y="256"/>
                      <a:pt x="0" y="256"/>
                    </a:cubicBezTo>
                    <a:cubicBezTo>
                      <a:pt x="0" y="257"/>
                      <a:pt x="0" y="257"/>
                      <a:pt x="0" y="257"/>
                    </a:cubicBezTo>
                    <a:cubicBezTo>
                      <a:pt x="0" y="258"/>
                      <a:pt x="0" y="258"/>
                      <a:pt x="0" y="258"/>
                    </a:cubicBezTo>
                    <a:cubicBezTo>
                      <a:pt x="0" y="259"/>
                      <a:pt x="0" y="259"/>
                      <a:pt x="0" y="259"/>
                    </a:cubicBezTo>
                    <a:cubicBezTo>
                      <a:pt x="0" y="260"/>
                      <a:pt x="0" y="260"/>
                      <a:pt x="1" y="260"/>
                    </a:cubicBezTo>
                    <a:cubicBezTo>
                      <a:pt x="1" y="260"/>
                      <a:pt x="1" y="261"/>
                      <a:pt x="1" y="261"/>
                    </a:cubicBezTo>
                    <a:cubicBezTo>
                      <a:pt x="1" y="262"/>
                      <a:pt x="27" y="305"/>
                      <a:pt x="89" y="305"/>
                    </a:cubicBezTo>
                    <a:cubicBezTo>
                      <a:pt x="151" y="305"/>
                      <a:pt x="177" y="262"/>
                      <a:pt x="177" y="261"/>
                    </a:cubicBezTo>
                    <a:cubicBezTo>
                      <a:pt x="178" y="261"/>
                      <a:pt x="178" y="260"/>
                      <a:pt x="178" y="260"/>
                    </a:cubicBezTo>
                    <a:cubicBezTo>
                      <a:pt x="178" y="260"/>
                      <a:pt x="178" y="260"/>
                      <a:pt x="178" y="259"/>
                    </a:cubicBezTo>
                    <a:cubicBezTo>
                      <a:pt x="178" y="259"/>
                      <a:pt x="178" y="259"/>
                      <a:pt x="178" y="258"/>
                    </a:cubicBezTo>
                    <a:cubicBezTo>
                      <a:pt x="178" y="258"/>
                      <a:pt x="178" y="258"/>
                      <a:pt x="178" y="257"/>
                    </a:cubicBezTo>
                    <a:cubicBezTo>
                      <a:pt x="178" y="257"/>
                      <a:pt x="178" y="257"/>
                      <a:pt x="178" y="256"/>
                    </a:cubicBezTo>
                    <a:cubicBezTo>
                      <a:pt x="178" y="256"/>
                      <a:pt x="178" y="256"/>
                      <a:pt x="178" y="255"/>
                    </a:cubicBezTo>
                    <a:cubicBezTo>
                      <a:pt x="178" y="255"/>
                      <a:pt x="178" y="255"/>
                      <a:pt x="178" y="254"/>
                    </a:cubicBezTo>
                    <a:cubicBezTo>
                      <a:pt x="178" y="254"/>
                      <a:pt x="178" y="254"/>
                      <a:pt x="178" y="254"/>
                    </a:cubicBezTo>
                    <a:cubicBezTo>
                      <a:pt x="101" y="78"/>
                      <a:pt x="101" y="78"/>
                      <a:pt x="101" y="78"/>
                    </a:cubicBezTo>
                    <a:cubicBezTo>
                      <a:pt x="245" y="78"/>
                      <a:pt x="245" y="78"/>
                      <a:pt x="245" y="78"/>
                    </a:cubicBezTo>
                    <a:cubicBezTo>
                      <a:pt x="232" y="328"/>
                      <a:pt x="232" y="328"/>
                      <a:pt x="232" y="328"/>
                    </a:cubicBezTo>
                    <a:cubicBezTo>
                      <a:pt x="232" y="328"/>
                      <a:pt x="232" y="328"/>
                      <a:pt x="232" y="328"/>
                    </a:cubicBezTo>
                    <a:cubicBezTo>
                      <a:pt x="232" y="340"/>
                      <a:pt x="224" y="349"/>
                      <a:pt x="214" y="356"/>
                    </a:cubicBezTo>
                    <a:cubicBezTo>
                      <a:pt x="205" y="363"/>
                      <a:pt x="193" y="366"/>
                      <a:pt x="191" y="365"/>
                    </a:cubicBezTo>
                    <a:cubicBezTo>
                      <a:pt x="182" y="365"/>
                      <a:pt x="157" y="365"/>
                      <a:pt x="157" y="365"/>
                    </a:cubicBezTo>
                    <a:cubicBezTo>
                      <a:pt x="148" y="365"/>
                      <a:pt x="141" y="372"/>
                      <a:pt x="141" y="381"/>
                    </a:cubicBezTo>
                    <a:cubicBezTo>
                      <a:pt x="141" y="400"/>
                      <a:pt x="141" y="400"/>
                      <a:pt x="141" y="400"/>
                    </a:cubicBezTo>
                    <a:cubicBezTo>
                      <a:pt x="141" y="408"/>
                      <a:pt x="148" y="415"/>
                      <a:pt x="156" y="416"/>
                    </a:cubicBezTo>
                    <a:cubicBezTo>
                      <a:pt x="156" y="416"/>
                      <a:pt x="156" y="416"/>
                      <a:pt x="157" y="416"/>
                    </a:cubicBezTo>
                    <a:cubicBezTo>
                      <a:pt x="359" y="416"/>
                      <a:pt x="359" y="416"/>
                      <a:pt x="359" y="416"/>
                    </a:cubicBezTo>
                    <a:cubicBezTo>
                      <a:pt x="360" y="416"/>
                      <a:pt x="360" y="416"/>
                      <a:pt x="361" y="416"/>
                    </a:cubicBezTo>
                    <a:cubicBezTo>
                      <a:pt x="369" y="415"/>
                      <a:pt x="375" y="408"/>
                      <a:pt x="375" y="400"/>
                    </a:cubicBezTo>
                    <a:cubicBezTo>
                      <a:pt x="375" y="381"/>
                      <a:pt x="375" y="381"/>
                      <a:pt x="375" y="381"/>
                    </a:cubicBezTo>
                    <a:cubicBezTo>
                      <a:pt x="375" y="372"/>
                      <a:pt x="368" y="365"/>
                      <a:pt x="359" y="365"/>
                    </a:cubicBezTo>
                    <a:cubicBezTo>
                      <a:pt x="359" y="365"/>
                      <a:pt x="337" y="365"/>
                      <a:pt x="325" y="365"/>
                    </a:cubicBezTo>
                    <a:cubicBezTo>
                      <a:pt x="321" y="365"/>
                      <a:pt x="312" y="363"/>
                      <a:pt x="306" y="357"/>
                    </a:cubicBezTo>
                    <a:cubicBezTo>
                      <a:pt x="299" y="352"/>
                      <a:pt x="293" y="343"/>
                      <a:pt x="293" y="328"/>
                    </a:cubicBezTo>
                    <a:cubicBezTo>
                      <a:pt x="293" y="328"/>
                      <a:pt x="293" y="328"/>
                      <a:pt x="293" y="328"/>
                    </a:cubicBezTo>
                    <a:cubicBezTo>
                      <a:pt x="280" y="78"/>
                      <a:pt x="280" y="78"/>
                      <a:pt x="280" y="78"/>
                    </a:cubicBezTo>
                    <a:cubicBezTo>
                      <a:pt x="423" y="78"/>
                      <a:pt x="423" y="78"/>
                      <a:pt x="423" y="78"/>
                    </a:cubicBezTo>
                    <a:cubicBezTo>
                      <a:pt x="347" y="254"/>
                      <a:pt x="347" y="254"/>
                      <a:pt x="347" y="254"/>
                    </a:cubicBezTo>
                    <a:cubicBezTo>
                      <a:pt x="347" y="254"/>
                      <a:pt x="347" y="254"/>
                      <a:pt x="347" y="254"/>
                    </a:cubicBezTo>
                    <a:cubicBezTo>
                      <a:pt x="346" y="255"/>
                      <a:pt x="346" y="255"/>
                      <a:pt x="346" y="255"/>
                    </a:cubicBezTo>
                    <a:cubicBezTo>
                      <a:pt x="346" y="256"/>
                      <a:pt x="346" y="256"/>
                      <a:pt x="346" y="256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8"/>
                      <a:pt x="346" y="258"/>
                      <a:pt x="346" y="258"/>
                    </a:cubicBezTo>
                    <a:cubicBezTo>
                      <a:pt x="346" y="259"/>
                      <a:pt x="346" y="259"/>
                      <a:pt x="346" y="259"/>
                    </a:cubicBezTo>
                    <a:cubicBezTo>
                      <a:pt x="347" y="260"/>
                      <a:pt x="347" y="260"/>
                      <a:pt x="347" y="260"/>
                    </a:cubicBezTo>
                    <a:cubicBezTo>
                      <a:pt x="347" y="261"/>
                      <a:pt x="347" y="261"/>
                      <a:pt x="347" y="261"/>
                    </a:cubicBezTo>
                    <a:cubicBezTo>
                      <a:pt x="348" y="262"/>
                      <a:pt x="373" y="305"/>
                      <a:pt x="435" y="305"/>
                    </a:cubicBezTo>
                    <a:cubicBezTo>
                      <a:pt x="498" y="305"/>
                      <a:pt x="523" y="262"/>
                      <a:pt x="524" y="261"/>
                    </a:cubicBezTo>
                    <a:cubicBezTo>
                      <a:pt x="524" y="261"/>
                      <a:pt x="524" y="260"/>
                      <a:pt x="524" y="260"/>
                    </a:cubicBezTo>
                    <a:cubicBezTo>
                      <a:pt x="524" y="260"/>
                      <a:pt x="524" y="260"/>
                      <a:pt x="524" y="259"/>
                    </a:cubicBezTo>
                    <a:cubicBezTo>
                      <a:pt x="524" y="259"/>
                      <a:pt x="524" y="259"/>
                      <a:pt x="525" y="258"/>
                    </a:cubicBezTo>
                    <a:close/>
                    <a:moveTo>
                      <a:pt x="264" y="16"/>
                    </a:moveTo>
                    <a:cubicBezTo>
                      <a:pt x="276" y="16"/>
                      <a:pt x="287" y="27"/>
                      <a:pt x="287" y="39"/>
                    </a:cubicBezTo>
                    <a:cubicBezTo>
                      <a:pt x="287" y="52"/>
                      <a:pt x="277" y="62"/>
                      <a:pt x="264" y="62"/>
                    </a:cubicBezTo>
                    <a:cubicBezTo>
                      <a:pt x="264" y="62"/>
                      <a:pt x="264" y="62"/>
                      <a:pt x="264" y="62"/>
                    </a:cubicBezTo>
                    <a:cubicBezTo>
                      <a:pt x="251" y="62"/>
                      <a:pt x="241" y="52"/>
                      <a:pt x="241" y="39"/>
                    </a:cubicBezTo>
                    <a:cubicBezTo>
                      <a:pt x="241" y="27"/>
                      <a:pt x="251" y="16"/>
                      <a:pt x="264" y="16"/>
                    </a:cubicBezTo>
                    <a:close/>
                    <a:moveTo>
                      <a:pt x="89" y="289"/>
                    </a:moveTo>
                    <a:cubicBezTo>
                      <a:pt x="62" y="289"/>
                      <a:pt x="44" y="279"/>
                      <a:pt x="32" y="270"/>
                    </a:cubicBezTo>
                    <a:cubicBezTo>
                      <a:pt x="29" y="269"/>
                      <a:pt x="27" y="267"/>
                      <a:pt x="25" y="265"/>
                    </a:cubicBezTo>
                    <a:cubicBezTo>
                      <a:pt x="153" y="265"/>
                      <a:pt x="153" y="265"/>
                      <a:pt x="153" y="265"/>
                    </a:cubicBezTo>
                    <a:cubicBezTo>
                      <a:pt x="142" y="275"/>
                      <a:pt x="122" y="289"/>
                      <a:pt x="89" y="289"/>
                    </a:cubicBezTo>
                    <a:close/>
                    <a:moveTo>
                      <a:pt x="20" y="249"/>
                    </a:moveTo>
                    <a:cubicBezTo>
                      <a:pt x="89" y="90"/>
                      <a:pt x="89" y="90"/>
                      <a:pt x="89" y="90"/>
                    </a:cubicBezTo>
                    <a:cubicBezTo>
                      <a:pt x="158" y="249"/>
                      <a:pt x="158" y="249"/>
                      <a:pt x="158" y="249"/>
                    </a:cubicBezTo>
                    <a:lnTo>
                      <a:pt x="20" y="249"/>
                    </a:lnTo>
                    <a:close/>
                    <a:moveTo>
                      <a:pt x="277" y="329"/>
                    </a:moveTo>
                    <a:cubicBezTo>
                      <a:pt x="277" y="329"/>
                      <a:pt x="277" y="329"/>
                      <a:pt x="277" y="329"/>
                    </a:cubicBezTo>
                    <a:cubicBezTo>
                      <a:pt x="278" y="348"/>
                      <a:pt x="286" y="361"/>
                      <a:pt x="295" y="370"/>
                    </a:cubicBezTo>
                    <a:cubicBezTo>
                      <a:pt x="305" y="378"/>
                      <a:pt x="316" y="381"/>
                      <a:pt x="325" y="381"/>
                    </a:cubicBezTo>
                    <a:cubicBezTo>
                      <a:pt x="337" y="381"/>
                      <a:pt x="359" y="381"/>
                      <a:pt x="359" y="381"/>
                    </a:cubicBezTo>
                    <a:cubicBezTo>
                      <a:pt x="359" y="381"/>
                      <a:pt x="359" y="381"/>
                      <a:pt x="359" y="381"/>
                    </a:cubicBezTo>
                    <a:cubicBezTo>
                      <a:pt x="359" y="400"/>
                      <a:pt x="359" y="400"/>
                      <a:pt x="359" y="400"/>
                    </a:cubicBezTo>
                    <a:cubicBezTo>
                      <a:pt x="359" y="400"/>
                      <a:pt x="359" y="400"/>
                      <a:pt x="359" y="400"/>
                    </a:cubicBezTo>
                    <a:cubicBezTo>
                      <a:pt x="359" y="400"/>
                      <a:pt x="359" y="400"/>
                      <a:pt x="359" y="400"/>
                    </a:cubicBezTo>
                    <a:cubicBezTo>
                      <a:pt x="158" y="400"/>
                      <a:pt x="158" y="400"/>
                      <a:pt x="158" y="400"/>
                    </a:cubicBezTo>
                    <a:cubicBezTo>
                      <a:pt x="158" y="400"/>
                      <a:pt x="157" y="400"/>
                      <a:pt x="157" y="400"/>
                    </a:cubicBezTo>
                    <a:cubicBezTo>
                      <a:pt x="157" y="381"/>
                      <a:pt x="157" y="381"/>
                      <a:pt x="157" y="381"/>
                    </a:cubicBezTo>
                    <a:cubicBezTo>
                      <a:pt x="157" y="381"/>
                      <a:pt x="157" y="381"/>
                      <a:pt x="157" y="381"/>
                    </a:cubicBezTo>
                    <a:cubicBezTo>
                      <a:pt x="157" y="381"/>
                      <a:pt x="163" y="381"/>
                      <a:pt x="171" y="381"/>
                    </a:cubicBezTo>
                    <a:cubicBezTo>
                      <a:pt x="178" y="381"/>
                      <a:pt x="187" y="381"/>
                      <a:pt x="191" y="381"/>
                    </a:cubicBezTo>
                    <a:cubicBezTo>
                      <a:pt x="199" y="381"/>
                      <a:pt x="211" y="377"/>
                      <a:pt x="223" y="369"/>
                    </a:cubicBezTo>
                    <a:cubicBezTo>
                      <a:pt x="235" y="361"/>
                      <a:pt x="247" y="348"/>
                      <a:pt x="248" y="329"/>
                    </a:cubicBezTo>
                    <a:cubicBezTo>
                      <a:pt x="248" y="329"/>
                      <a:pt x="248" y="329"/>
                      <a:pt x="248" y="329"/>
                    </a:cubicBezTo>
                    <a:cubicBezTo>
                      <a:pt x="261" y="78"/>
                      <a:pt x="261" y="78"/>
                      <a:pt x="261" y="78"/>
                    </a:cubicBezTo>
                    <a:cubicBezTo>
                      <a:pt x="264" y="78"/>
                      <a:pt x="264" y="78"/>
                      <a:pt x="264" y="78"/>
                    </a:cubicBezTo>
                    <a:lnTo>
                      <a:pt x="277" y="329"/>
                    </a:lnTo>
                    <a:close/>
                    <a:moveTo>
                      <a:pt x="435" y="289"/>
                    </a:moveTo>
                    <a:cubicBezTo>
                      <a:pt x="408" y="289"/>
                      <a:pt x="390" y="279"/>
                      <a:pt x="378" y="270"/>
                    </a:cubicBezTo>
                    <a:cubicBezTo>
                      <a:pt x="375" y="269"/>
                      <a:pt x="373" y="267"/>
                      <a:pt x="371" y="265"/>
                    </a:cubicBezTo>
                    <a:cubicBezTo>
                      <a:pt x="500" y="265"/>
                      <a:pt x="500" y="265"/>
                      <a:pt x="500" y="265"/>
                    </a:cubicBezTo>
                    <a:cubicBezTo>
                      <a:pt x="488" y="275"/>
                      <a:pt x="468" y="289"/>
                      <a:pt x="435" y="289"/>
                    </a:cubicBezTo>
                    <a:close/>
                  </a:path>
                </a:pathLst>
              </a:custGeom>
              <a:blipFill dpi="0" rotWithShape="0">
                <a:blip r:embed="rId3"/>
                <a:srcRect/>
                <a:stretch>
                  <a:fillRect/>
                </a:stretch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670" name="Text Box 45"/>
              <p:cNvSpPr txBox="1">
                <a:spLocks noChangeArrowheads="1"/>
              </p:cNvSpPr>
              <p:nvPr/>
            </p:nvSpPr>
            <p:spPr bwMode="auto">
              <a:xfrm>
                <a:off x="4044" y="1922"/>
                <a:ext cx="678" cy="43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2E4275"/>
                    </a:solidFill>
                  </a14:hiddenFill>
                </a:ext>
                <a:ext uri="{91240B29-F687-4F45-9708-019B960494DF}">
                  <a14:hiddenLine xmlns:a14="http://schemas.microsoft.com/office/drawing/2010/main" w="38100" algn="ctr">
                    <a:solidFill>
                      <a:srgbClr val="E32119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rIns="0">
                <a:spAutoFit/>
              </a:bodyPr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/>
                <a:r>
                  <a:rPr lang="sv-SE" sz="1800">
                    <a:solidFill>
                      <a:srgbClr val="2E4275"/>
                    </a:solidFill>
                  </a:rPr>
                  <a:t> </a:t>
                </a:r>
                <a:endParaRPr lang="en-US" sz="1800">
                  <a:solidFill>
                    <a:srgbClr val="2E4275"/>
                  </a:solidFill>
                </a:endParaRPr>
              </a:p>
            </p:txBody>
          </p:sp>
        </p:grpSp>
        <p:sp>
          <p:nvSpPr>
            <p:cNvPr id="27662" name="Line 46"/>
            <p:cNvSpPr>
              <a:spLocks noChangeShapeType="1"/>
            </p:cNvSpPr>
            <p:nvPr/>
          </p:nvSpPr>
          <p:spPr bwMode="auto">
            <a:xfrm>
              <a:off x="512" y="975"/>
              <a:ext cx="2491" cy="0"/>
            </a:xfrm>
            <a:prstGeom prst="line">
              <a:avLst/>
            </a:prstGeom>
            <a:noFill/>
            <a:ln w="19050" cap="rnd">
              <a:solidFill>
                <a:srgbClr val="00285F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rIns="72000"/>
            <a:lstStyle/>
            <a:p>
              <a:endParaRPr lang="en-US"/>
            </a:p>
          </p:txBody>
        </p:sp>
        <p:sp>
          <p:nvSpPr>
            <p:cNvPr id="27663" name="Oval 47"/>
            <p:cNvSpPr>
              <a:spLocks noChangeArrowheads="1"/>
            </p:cNvSpPr>
            <p:nvPr/>
          </p:nvSpPr>
          <p:spPr bwMode="auto">
            <a:xfrm>
              <a:off x="2907" y="2161"/>
              <a:ext cx="114" cy="90"/>
            </a:xfrm>
            <a:prstGeom prst="ellipse">
              <a:avLst/>
            </a:prstGeom>
            <a:solidFill>
              <a:srgbClr val="FFFFFF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rIns="72000" anchor="ctr"/>
            <a:lstStyle/>
            <a:p>
              <a:endParaRPr lang="en-US"/>
            </a:p>
          </p:txBody>
        </p:sp>
        <p:sp>
          <p:nvSpPr>
            <p:cNvPr id="27664" name="Freeform 48"/>
            <p:cNvSpPr>
              <a:spLocks/>
            </p:cNvSpPr>
            <p:nvPr/>
          </p:nvSpPr>
          <p:spPr bwMode="auto">
            <a:xfrm>
              <a:off x="554" y="1155"/>
              <a:ext cx="2378" cy="1101"/>
            </a:xfrm>
            <a:custGeom>
              <a:avLst/>
              <a:gdLst>
                <a:gd name="T0" fmla="*/ 0 w 4038"/>
                <a:gd name="T1" fmla="*/ 1095 h 2272"/>
                <a:gd name="T2" fmla="*/ 184 w 4038"/>
                <a:gd name="T3" fmla="*/ 955 h 2272"/>
                <a:gd name="T4" fmla="*/ 396 w 4038"/>
                <a:gd name="T5" fmla="*/ 891 h 2272"/>
                <a:gd name="T6" fmla="*/ 572 w 4038"/>
                <a:gd name="T7" fmla="*/ 906 h 2272"/>
                <a:gd name="T8" fmla="*/ 827 w 4038"/>
                <a:gd name="T9" fmla="*/ 676 h 2272"/>
                <a:gd name="T10" fmla="*/ 1042 w 4038"/>
                <a:gd name="T11" fmla="*/ 874 h 2272"/>
                <a:gd name="T12" fmla="*/ 1237 w 4038"/>
                <a:gd name="T13" fmla="*/ 118 h 2272"/>
                <a:gd name="T14" fmla="*/ 1382 w 4038"/>
                <a:gd name="T15" fmla="*/ 167 h 2272"/>
                <a:gd name="T16" fmla="*/ 1650 w 4038"/>
                <a:gd name="T17" fmla="*/ 717 h 2272"/>
                <a:gd name="T18" fmla="*/ 1979 w 4038"/>
                <a:gd name="T19" fmla="*/ 938 h 2272"/>
                <a:gd name="T20" fmla="*/ 2138 w 4038"/>
                <a:gd name="T21" fmla="*/ 720 h 2272"/>
                <a:gd name="T22" fmla="*/ 2318 w 4038"/>
                <a:gd name="T23" fmla="*/ 1039 h 2272"/>
                <a:gd name="T24" fmla="*/ 2378 w 4038"/>
                <a:gd name="T25" fmla="*/ 1089 h 227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038" h="2272">
                  <a:moveTo>
                    <a:pt x="0" y="2259"/>
                  </a:moveTo>
                  <a:cubicBezTo>
                    <a:pt x="100" y="2150"/>
                    <a:pt x="200" y="2041"/>
                    <a:pt x="312" y="1971"/>
                  </a:cubicBezTo>
                  <a:cubicBezTo>
                    <a:pt x="424" y="1901"/>
                    <a:pt x="562" y="1856"/>
                    <a:pt x="672" y="1839"/>
                  </a:cubicBezTo>
                  <a:cubicBezTo>
                    <a:pt x="782" y="1822"/>
                    <a:pt x="850" y="1943"/>
                    <a:pt x="972" y="1869"/>
                  </a:cubicBezTo>
                  <a:cubicBezTo>
                    <a:pt x="1094" y="1795"/>
                    <a:pt x="1271" y="1406"/>
                    <a:pt x="1404" y="1395"/>
                  </a:cubicBezTo>
                  <a:cubicBezTo>
                    <a:pt x="1537" y="1384"/>
                    <a:pt x="1654" y="1995"/>
                    <a:pt x="1770" y="1803"/>
                  </a:cubicBezTo>
                  <a:cubicBezTo>
                    <a:pt x="1886" y="1611"/>
                    <a:pt x="2004" y="486"/>
                    <a:pt x="2100" y="243"/>
                  </a:cubicBezTo>
                  <a:cubicBezTo>
                    <a:pt x="2196" y="0"/>
                    <a:pt x="2229" y="139"/>
                    <a:pt x="2346" y="345"/>
                  </a:cubicBezTo>
                  <a:cubicBezTo>
                    <a:pt x="2463" y="551"/>
                    <a:pt x="2633" y="1214"/>
                    <a:pt x="2802" y="1479"/>
                  </a:cubicBezTo>
                  <a:cubicBezTo>
                    <a:pt x="2971" y="1744"/>
                    <a:pt x="3222" y="1934"/>
                    <a:pt x="3360" y="1935"/>
                  </a:cubicBezTo>
                  <a:cubicBezTo>
                    <a:pt x="3498" y="1936"/>
                    <a:pt x="3534" y="1450"/>
                    <a:pt x="3630" y="1485"/>
                  </a:cubicBezTo>
                  <a:cubicBezTo>
                    <a:pt x="3726" y="1520"/>
                    <a:pt x="3868" y="2018"/>
                    <a:pt x="3936" y="2145"/>
                  </a:cubicBezTo>
                  <a:cubicBezTo>
                    <a:pt x="4004" y="2272"/>
                    <a:pt x="4021" y="2259"/>
                    <a:pt x="4038" y="2247"/>
                  </a:cubicBezTo>
                </a:path>
              </a:pathLst>
            </a:custGeom>
            <a:solidFill>
              <a:srgbClr val="C3C5D9">
                <a:alpha val="76862"/>
              </a:srgbClr>
            </a:solidFill>
            <a:ln w="19050" cmpd="sng">
              <a:solidFill>
                <a:srgbClr val="00285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665" name="Rectangle 49"/>
            <p:cNvSpPr>
              <a:spLocks noChangeArrowheads="1"/>
            </p:cNvSpPr>
            <p:nvPr/>
          </p:nvSpPr>
          <p:spPr bwMode="auto">
            <a:xfrm>
              <a:off x="470" y="2250"/>
              <a:ext cx="2480" cy="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algn="ctr">
                  <a:solidFill>
                    <a:srgbClr val="E32119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rIns="72000" anchor="ctr"/>
            <a:lstStyle/>
            <a:p>
              <a:endParaRPr lang="en-US"/>
            </a:p>
          </p:txBody>
        </p:sp>
        <p:sp>
          <p:nvSpPr>
            <p:cNvPr id="27666" name="Line 50"/>
            <p:cNvSpPr>
              <a:spLocks noChangeShapeType="1"/>
            </p:cNvSpPr>
            <p:nvPr/>
          </p:nvSpPr>
          <p:spPr bwMode="auto">
            <a:xfrm>
              <a:off x="437" y="2251"/>
              <a:ext cx="2582" cy="0"/>
            </a:xfrm>
            <a:prstGeom prst="line">
              <a:avLst/>
            </a:prstGeom>
            <a:noFill/>
            <a:ln w="19050">
              <a:solidFill>
                <a:srgbClr val="00285F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rIns="72000"/>
            <a:lstStyle/>
            <a:p>
              <a:endParaRPr lang="en-US"/>
            </a:p>
          </p:txBody>
        </p:sp>
        <p:sp>
          <p:nvSpPr>
            <p:cNvPr id="27667" name="Line 51"/>
            <p:cNvSpPr>
              <a:spLocks noChangeShapeType="1"/>
            </p:cNvSpPr>
            <p:nvPr/>
          </p:nvSpPr>
          <p:spPr bwMode="auto">
            <a:xfrm flipV="1">
              <a:off x="511" y="907"/>
              <a:ext cx="0" cy="1435"/>
            </a:xfrm>
            <a:prstGeom prst="line">
              <a:avLst/>
            </a:prstGeom>
            <a:noFill/>
            <a:ln w="19050">
              <a:solidFill>
                <a:srgbClr val="00285F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rIns="72000"/>
            <a:lstStyle/>
            <a:p>
              <a:endParaRPr lang="en-US"/>
            </a:p>
          </p:txBody>
        </p:sp>
        <p:sp>
          <p:nvSpPr>
            <p:cNvPr id="27668" name="Oval 52"/>
            <p:cNvSpPr>
              <a:spLocks noChangeArrowheads="1"/>
            </p:cNvSpPr>
            <p:nvPr/>
          </p:nvSpPr>
          <p:spPr bwMode="auto">
            <a:xfrm>
              <a:off x="2900" y="2152"/>
              <a:ext cx="56" cy="9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algn="ctr">
                  <a:solidFill>
                    <a:srgbClr val="E32119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rIns="72000" anchor="ctr"/>
            <a:lstStyle/>
            <a:p>
              <a:endParaRPr lang="en-US"/>
            </a:p>
          </p:txBody>
        </p:sp>
      </p:grp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8125" y="1166405"/>
            <a:ext cx="9182100" cy="1395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7650" y="2432219"/>
            <a:ext cx="9163050" cy="141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6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6164" y="3798553"/>
            <a:ext cx="9193212" cy="1377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7" name="Picture 5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4997" y="5140911"/>
            <a:ext cx="9193212" cy="1377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847141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8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8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8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8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36" y="1"/>
            <a:ext cx="12174268" cy="6873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6918" name="Title 3"/>
          <p:cNvSpPr>
            <a:spLocks/>
          </p:cNvSpPr>
          <p:nvPr/>
        </p:nvSpPr>
        <p:spPr bwMode="auto">
          <a:xfrm>
            <a:off x="192530" y="304800"/>
            <a:ext cx="3953664" cy="2563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 anchor="ctr"/>
          <a:lstStyle/>
          <a:p>
            <a:pPr algn="ctr">
              <a:lnSpc>
                <a:spcPct val="75000"/>
              </a:lnSpc>
            </a:pPr>
            <a:r>
              <a:rPr lang="en-US" sz="4000" b="1" dirty="0" smtClean="0">
                <a:solidFill>
                  <a:srgbClr val="00A9D4"/>
                </a:solidFill>
                <a:latin typeface="Ericsson Capital TT" pitchFamily="2" charset="0"/>
              </a:rPr>
              <a:t>What is a Network </a:t>
            </a:r>
            <a:r>
              <a:rPr lang="en-US" sz="4000" b="1" dirty="0">
                <a:solidFill>
                  <a:srgbClr val="00A9D4"/>
                </a:solidFill>
                <a:latin typeface="Ericsson Capital TT" pitchFamily="2" charset="0"/>
              </a:rPr>
              <a:t>enabled </a:t>
            </a:r>
            <a:r>
              <a:rPr lang="en-US" sz="4000" b="1" dirty="0" smtClean="0">
                <a:solidFill>
                  <a:srgbClr val="00A9D4"/>
                </a:solidFill>
                <a:latin typeface="Ericsson Capital TT" pitchFamily="2" charset="0"/>
              </a:rPr>
              <a:t>cloud ?</a:t>
            </a:r>
            <a:endParaRPr lang="en-US" sz="4000" b="1" dirty="0">
              <a:solidFill>
                <a:srgbClr val="00A9D4"/>
              </a:solidFill>
              <a:latin typeface="Ericsson Capital TT" pitchFamily="2" charset="0"/>
            </a:endParaRPr>
          </a:p>
        </p:txBody>
      </p:sp>
      <p:sp>
        <p:nvSpPr>
          <p:cNvPr id="49160" name="Freeform 70"/>
          <p:cNvSpPr>
            <a:spLocks noChangeAspect="1"/>
          </p:cNvSpPr>
          <p:nvPr/>
        </p:nvSpPr>
        <p:spPr bwMode="auto">
          <a:xfrm>
            <a:off x="7791613" y="6256701"/>
            <a:ext cx="4400387" cy="601299"/>
          </a:xfrm>
          <a:custGeom>
            <a:avLst/>
            <a:gdLst>
              <a:gd name="T0" fmla="*/ 2147483647 w 717"/>
              <a:gd name="T1" fmla="*/ 2147483647 h 211"/>
              <a:gd name="T2" fmla="*/ 2147483647 w 717"/>
              <a:gd name="T3" fmla="*/ 2147483647 h 211"/>
              <a:gd name="T4" fmla="*/ 2147483647 w 717"/>
              <a:gd name="T5" fmla="*/ 0 h 211"/>
              <a:gd name="T6" fmla="*/ 2147483647 w 717"/>
              <a:gd name="T7" fmla="*/ 2147483647 h 211"/>
              <a:gd name="T8" fmla="*/ 2147483647 w 717"/>
              <a:gd name="T9" fmla="*/ 2147483647 h 211"/>
              <a:gd name="T10" fmla="*/ 0 w 717"/>
              <a:gd name="T11" fmla="*/ 2147483647 h 211"/>
              <a:gd name="T12" fmla="*/ 0 w 717"/>
              <a:gd name="T13" fmla="*/ 2147483647 h 211"/>
              <a:gd name="T14" fmla="*/ 2147483647 w 717"/>
              <a:gd name="T15" fmla="*/ 2147483647 h 211"/>
              <a:gd name="T16" fmla="*/ 2147483647 w 717"/>
              <a:gd name="T17" fmla="*/ 2147483647 h 211"/>
              <a:gd name="T18" fmla="*/ 2147483647 w 717"/>
              <a:gd name="T19" fmla="*/ 2147483647 h 211"/>
              <a:gd name="T20" fmla="*/ 2147483647 w 717"/>
              <a:gd name="T21" fmla="*/ 2147483647 h 211"/>
              <a:gd name="T22" fmla="*/ 2147483647 w 717"/>
              <a:gd name="T23" fmla="*/ 2147483647 h 21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717"/>
              <a:gd name="T37" fmla="*/ 0 h 211"/>
              <a:gd name="T38" fmla="*/ 717 w 717"/>
              <a:gd name="T39" fmla="*/ 211 h 21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717" h="211">
                <a:moveTo>
                  <a:pt x="695" y="95"/>
                </a:moveTo>
                <a:cubicBezTo>
                  <a:pt x="375" y="2"/>
                  <a:pt x="375" y="2"/>
                  <a:pt x="375" y="2"/>
                </a:cubicBezTo>
                <a:cubicBezTo>
                  <a:pt x="375" y="2"/>
                  <a:pt x="369" y="0"/>
                  <a:pt x="358" y="0"/>
                </a:cubicBezTo>
                <a:cubicBezTo>
                  <a:pt x="348" y="0"/>
                  <a:pt x="341" y="2"/>
                  <a:pt x="341" y="2"/>
                </a:cubicBezTo>
                <a:cubicBezTo>
                  <a:pt x="21" y="95"/>
                  <a:pt x="21" y="95"/>
                  <a:pt x="21" y="95"/>
                </a:cubicBezTo>
                <a:cubicBezTo>
                  <a:pt x="21" y="95"/>
                  <a:pt x="0" y="100"/>
                  <a:pt x="0" y="118"/>
                </a:cubicBezTo>
                <a:cubicBezTo>
                  <a:pt x="0" y="125"/>
                  <a:pt x="0" y="176"/>
                  <a:pt x="0" y="190"/>
                </a:cubicBezTo>
                <a:cubicBezTo>
                  <a:pt x="0" y="202"/>
                  <a:pt x="10" y="211"/>
                  <a:pt x="21" y="211"/>
                </a:cubicBezTo>
                <a:cubicBezTo>
                  <a:pt x="695" y="211"/>
                  <a:pt x="695" y="211"/>
                  <a:pt x="695" y="211"/>
                </a:cubicBezTo>
                <a:cubicBezTo>
                  <a:pt x="707" y="211"/>
                  <a:pt x="717" y="202"/>
                  <a:pt x="717" y="190"/>
                </a:cubicBezTo>
                <a:cubicBezTo>
                  <a:pt x="717" y="175"/>
                  <a:pt x="717" y="125"/>
                  <a:pt x="717" y="118"/>
                </a:cubicBezTo>
                <a:cubicBezTo>
                  <a:pt x="717" y="100"/>
                  <a:pt x="695" y="95"/>
                  <a:pt x="695" y="95"/>
                </a:cubicBezTo>
                <a:close/>
              </a:path>
            </a:pathLst>
          </a:custGeom>
          <a:ln/>
          <a:ex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ts val="0"/>
              </a:spcBef>
            </a:pPr>
            <a:r>
              <a:rPr lang="sv-SE" sz="2800" dirty="0" smtClean="0">
                <a:solidFill>
                  <a:schemeClr val="bg1"/>
                </a:solidFill>
                <a:latin typeface="Ericsson Capital TT" pitchFamily="2" charset="0"/>
                <a:cs typeface="Arial" pitchFamily="34" charset="0"/>
              </a:rPr>
              <a:t>Telco CLOUD</a:t>
            </a:r>
            <a:endParaRPr lang="en-US" sz="2800" dirty="0">
              <a:solidFill>
                <a:schemeClr val="bg1"/>
              </a:solidFill>
              <a:latin typeface="Ericsson Capital TT" pitchFamily="2" charset="0"/>
              <a:cs typeface="Arial" pitchFamily="34" charset="0"/>
            </a:endParaRPr>
          </a:p>
        </p:txBody>
      </p:sp>
      <p:sp>
        <p:nvSpPr>
          <p:cNvPr id="49161" name="Freeform 71"/>
          <p:cNvSpPr>
            <a:spLocks noChangeAspect="1"/>
          </p:cNvSpPr>
          <p:nvPr/>
        </p:nvSpPr>
        <p:spPr bwMode="auto">
          <a:xfrm>
            <a:off x="13236" y="6245818"/>
            <a:ext cx="3818015" cy="601299"/>
          </a:xfrm>
          <a:custGeom>
            <a:avLst/>
            <a:gdLst>
              <a:gd name="T0" fmla="*/ 2147483647 w 717"/>
              <a:gd name="T1" fmla="*/ 2147483647 h 211"/>
              <a:gd name="T2" fmla="*/ 2147483647 w 717"/>
              <a:gd name="T3" fmla="*/ 2147483647 h 211"/>
              <a:gd name="T4" fmla="*/ 2147483647 w 717"/>
              <a:gd name="T5" fmla="*/ 0 h 211"/>
              <a:gd name="T6" fmla="*/ 2147483647 w 717"/>
              <a:gd name="T7" fmla="*/ 2147483647 h 211"/>
              <a:gd name="T8" fmla="*/ 2147483647 w 717"/>
              <a:gd name="T9" fmla="*/ 2147483647 h 211"/>
              <a:gd name="T10" fmla="*/ 0 w 717"/>
              <a:gd name="T11" fmla="*/ 2147483647 h 211"/>
              <a:gd name="T12" fmla="*/ 0 w 717"/>
              <a:gd name="T13" fmla="*/ 2147483647 h 211"/>
              <a:gd name="T14" fmla="*/ 2147483647 w 717"/>
              <a:gd name="T15" fmla="*/ 2147483647 h 211"/>
              <a:gd name="T16" fmla="*/ 2147483647 w 717"/>
              <a:gd name="T17" fmla="*/ 2147483647 h 211"/>
              <a:gd name="T18" fmla="*/ 2147483647 w 717"/>
              <a:gd name="T19" fmla="*/ 2147483647 h 211"/>
              <a:gd name="T20" fmla="*/ 2147483647 w 717"/>
              <a:gd name="T21" fmla="*/ 2147483647 h 211"/>
              <a:gd name="T22" fmla="*/ 2147483647 w 717"/>
              <a:gd name="T23" fmla="*/ 2147483647 h 21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717"/>
              <a:gd name="T37" fmla="*/ 0 h 211"/>
              <a:gd name="T38" fmla="*/ 717 w 717"/>
              <a:gd name="T39" fmla="*/ 211 h 21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717" h="211">
                <a:moveTo>
                  <a:pt x="695" y="95"/>
                </a:moveTo>
                <a:cubicBezTo>
                  <a:pt x="375" y="2"/>
                  <a:pt x="375" y="2"/>
                  <a:pt x="375" y="2"/>
                </a:cubicBezTo>
                <a:cubicBezTo>
                  <a:pt x="375" y="2"/>
                  <a:pt x="369" y="0"/>
                  <a:pt x="358" y="0"/>
                </a:cubicBezTo>
                <a:cubicBezTo>
                  <a:pt x="348" y="0"/>
                  <a:pt x="341" y="2"/>
                  <a:pt x="341" y="2"/>
                </a:cubicBezTo>
                <a:cubicBezTo>
                  <a:pt x="21" y="95"/>
                  <a:pt x="21" y="95"/>
                  <a:pt x="21" y="95"/>
                </a:cubicBezTo>
                <a:cubicBezTo>
                  <a:pt x="21" y="95"/>
                  <a:pt x="0" y="100"/>
                  <a:pt x="0" y="118"/>
                </a:cubicBezTo>
                <a:cubicBezTo>
                  <a:pt x="0" y="125"/>
                  <a:pt x="0" y="176"/>
                  <a:pt x="0" y="190"/>
                </a:cubicBezTo>
                <a:cubicBezTo>
                  <a:pt x="0" y="202"/>
                  <a:pt x="10" y="211"/>
                  <a:pt x="21" y="211"/>
                </a:cubicBezTo>
                <a:cubicBezTo>
                  <a:pt x="695" y="211"/>
                  <a:pt x="695" y="211"/>
                  <a:pt x="695" y="211"/>
                </a:cubicBezTo>
                <a:cubicBezTo>
                  <a:pt x="707" y="211"/>
                  <a:pt x="717" y="202"/>
                  <a:pt x="717" y="190"/>
                </a:cubicBezTo>
                <a:cubicBezTo>
                  <a:pt x="717" y="175"/>
                  <a:pt x="717" y="125"/>
                  <a:pt x="717" y="118"/>
                </a:cubicBezTo>
                <a:cubicBezTo>
                  <a:pt x="717" y="100"/>
                  <a:pt x="695" y="95"/>
                  <a:pt x="695" y="95"/>
                </a:cubicBezTo>
                <a:close/>
              </a:path>
            </a:pathLst>
          </a:custGeom>
          <a:ln/>
          <a:ex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sv-SE" sz="2800">
                <a:solidFill>
                  <a:schemeClr val="bg1"/>
                </a:solidFill>
                <a:latin typeface="Ericsson Capital TT" pitchFamily="2" charset="0"/>
                <a:cs typeface="Arial" pitchFamily="34" charset="0"/>
              </a:rPr>
              <a:t>NFV</a:t>
            </a:r>
            <a:endParaRPr lang="en-US" sz="2800">
              <a:solidFill>
                <a:schemeClr val="bg1"/>
              </a:solidFill>
              <a:latin typeface="Ericsson Capital TT" pitchFamily="2" charset="0"/>
              <a:cs typeface="Arial" pitchFamily="34" charset="0"/>
            </a:endParaRPr>
          </a:p>
        </p:txBody>
      </p:sp>
      <p:sp>
        <p:nvSpPr>
          <p:cNvPr id="49162" name="Freeform 72"/>
          <p:cNvSpPr>
            <a:spLocks noChangeAspect="1"/>
          </p:cNvSpPr>
          <p:nvPr/>
        </p:nvSpPr>
        <p:spPr bwMode="auto">
          <a:xfrm>
            <a:off x="3831251" y="6245817"/>
            <a:ext cx="3960362" cy="601299"/>
          </a:xfrm>
          <a:custGeom>
            <a:avLst/>
            <a:gdLst>
              <a:gd name="T0" fmla="*/ 2147483647 w 717"/>
              <a:gd name="T1" fmla="*/ 2147483647 h 211"/>
              <a:gd name="T2" fmla="*/ 2147483647 w 717"/>
              <a:gd name="T3" fmla="*/ 2147483647 h 211"/>
              <a:gd name="T4" fmla="*/ 2147483647 w 717"/>
              <a:gd name="T5" fmla="*/ 0 h 211"/>
              <a:gd name="T6" fmla="*/ 2147483647 w 717"/>
              <a:gd name="T7" fmla="*/ 2147483647 h 211"/>
              <a:gd name="T8" fmla="*/ 2147483647 w 717"/>
              <a:gd name="T9" fmla="*/ 2147483647 h 211"/>
              <a:gd name="T10" fmla="*/ 0 w 717"/>
              <a:gd name="T11" fmla="*/ 2147483647 h 211"/>
              <a:gd name="T12" fmla="*/ 0 w 717"/>
              <a:gd name="T13" fmla="*/ 2147483647 h 211"/>
              <a:gd name="T14" fmla="*/ 2147483647 w 717"/>
              <a:gd name="T15" fmla="*/ 2147483647 h 211"/>
              <a:gd name="T16" fmla="*/ 2147483647 w 717"/>
              <a:gd name="T17" fmla="*/ 2147483647 h 211"/>
              <a:gd name="T18" fmla="*/ 2147483647 w 717"/>
              <a:gd name="T19" fmla="*/ 2147483647 h 211"/>
              <a:gd name="T20" fmla="*/ 2147483647 w 717"/>
              <a:gd name="T21" fmla="*/ 2147483647 h 211"/>
              <a:gd name="T22" fmla="*/ 2147483647 w 717"/>
              <a:gd name="T23" fmla="*/ 2147483647 h 21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717"/>
              <a:gd name="T37" fmla="*/ 0 h 211"/>
              <a:gd name="T38" fmla="*/ 717 w 717"/>
              <a:gd name="T39" fmla="*/ 211 h 21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717" h="211">
                <a:moveTo>
                  <a:pt x="695" y="95"/>
                </a:moveTo>
                <a:cubicBezTo>
                  <a:pt x="375" y="2"/>
                  <a:pt x="375" y="2"/>
                  <a:pt x="375" y="2"/>
                </a:cubicBezTo>
                <a:cubicBezTo>
                  <a:pt x="375" y="2"/>
                  <a:pt x="369" y="0"/>
                  <a:pt x="358" y="0"/>
                </a:cubicBezTo>
                <a:cubicBezTo>
                  <a:pt x="348" y="0"/>
                  <a:pt x="341" y="2"/>
                  <a:pt x="341" y="2"/>
                </a:cubicBezTo>
                <a:cubicBezTo>
                  <a:pt x="21" y="95"/>
                  <a:pt x="21" y="95"/>
                  <a:pt x="21" y="95"/>
                </a:cubicBezTo>
                <a:cubicBezTo>
                  <a:pt x="21" y="95"/>
                  <a:pt x="0" y="100"/>
                  <a:pt x="0" y="118"/>
                </a:cubicBezTo>
                <a:cubicBezTo>
                  <a:pt x="0" y="125"/>
                  <a:pt x="0" y="176"/>
                  <a:pt x="0" y="190"/>
                </a:cubicBezTo>
                <a:cubicBezTo>
                  <a:pt x="0" y="202"/>
                  <a:pt x="10" y="211"/>
                  <a:pt x="21" y="211"/>
                </a:cubicBezTo>
                <a:cubicBezTo>
                  <a:pt x="695" y="211"/>
                  <a:pt x="695" y="211"/>
                  <a:pt x="695" y="211"/>
                </a:cubicBezTo>
                <a:cubicBezTo>
                  <a:pt x="707" y="211"/>
                  <a:pt x="717" y="202"/>
                  <a:pt x="717" y="190"/>
                </a:cubicBezTo>
                <a:cubicBezTo>
                  <a:pt x="717" y="175"/>
                  <a:pt x="717" y="125"/>
                  <a:pt x="717" y="118"/>
                </a:cubicBezTo>
                <a:cubicBezTo>
                  <a:pt x="717" y="100"/>
                  <a:pt x="695" y="95"/>
                  <a:pt x="695" y="95"/>
                </a:cubicBezTo>
                <a:close/>
              </a:path>
            </a:pathLst>
          </a:custGeom>
          <a:ln/>
          <a:ex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sv-SE" sz="2800" dirty="0" smtClean="0">
                <a:solidFill>
                  <a:schemeClr val="bg1"/>
                </a:solidFill>
                <a:latin typeface="Ericsson Capital TT" pitchFamily="2" charset="0"/>
                <a:cs typeface="Arial" pitchFamily="34" charset="0"/>
              </a:rPr>
              <a:t>Sp - SDN</a:t>
            </a:r>
            <a:endParaRPr lang="en-US" sz="2800" dirty="0">
              <a:solidFill>
                <a:schemeClr val="bg1"/>
              </a:solidFill>
              <a:latin typeface="Ericsson Capital TT" pitchFamily="2" charset="0"/>
              <a:cs typeface="Arial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8140390" y="858972"/>
            <a:ext cx="4069416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dirty="0" smtClean="0">
                <a:solidFill>
                  <a:srgbClr val="0070C0"/>
                </a:solidFill>
              </a:rPr>
              <a:t>Cloud that provides elastic </a:t>
            </a:r>
            <a:r>
              <a:rPr lang="en-US" sz="2800" dirty="0">
                <a:solidFill>
                  <a:srgbClr val="0070C0"/>
                </a:solidFill>
              </a:rPr>
              <a:t>responsive allocation of resources for networking services in real time</a:t>
            </a:r>
          </a:p>
        </p:txBody>
      </p:sp>
    </p:spTree>
    <p:extLst>
      <p:ext uri="{BB962C8B-B14F-4D97-AF65-F5344CB8AC3E}">
        <p14:creationId xmlns:p14="http://schemas.microsoft.com/office/powerpoint/2010/main" val="34225623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524934" y="200025"/>
            <a:ext cx="10435167" cy="852488"/>
          </a:xfrm>
        </p:spPr>
        <p:txBody>
          <a:bodyPr/>
          <a:lstStyle/>
          <a:p>
            <a:pPr eaLnBrk="1" hangingPunct="1"/>
            <a:r>
              <a:rPr lang="en-US" dirty="0" smtClean="0">
                <a:solidFill>
                  <a:schemeClr val="hlink"/>
                </a:solidFill>
                <a:latin typeface="Ericsson Capital TT" pitchFamily="2" charset="0"/>
              </a:rPr>
              <a:t>Virtualization</a:t>
            </a:r>
            <a:endParaRPr lang="en-US" dirty="0" smtClean="0">
              <a:solidFill>
                <a:srgbClr val="A50021"/>
              </a:solidFill>
              <a:latin typeface="Ericsson Capital TT" pitchFamily="2" charset="0"/>
            </a:endParaRPr>
          </a:p>
        </p:txBody>
      </p:sp>
      <p:grpSp>
        <p:nvGrpSpPr>
          <p:cNvPr id="631811" name="Group 3"/>
          <p:cNvGrpSpPr>
            <a:grpSpLocks/>
          </p:cNvGrpSpPr>
          <p:nvPr/>
        </p:nvGrpSpPr>
        <p:grpSpPr bwMode="auto">
          <a:xfrm>
            <a:off x="9264651" y="1268413"/>
            <a:ext cx="2698749" cy="2430462"/>
            <a:chOff x="4156" y="2358"/>
            <a:chExt cx="1275" cy="1531"/>
          </a:xfrm>
        </p:grpSpPr>
        <p:sp>
          <p:nvSpPr>
            <p:cNvPr id="9243" name="AutoShape 4"/>
            <p:cNvSpPr>
              <a:spLocks noChangeArrowheads="1"/>
            </p:cNvSpPr>
            <p:nvPr/>
          </p:nvSpPr>
          <p:spPr bwMode="auto">
            <a:xfrm>
              <a:off x="4156" y="2358"/>
              <a:ext cx="1275" cy="1531"/>
            </a:xfrm>
            <a:prstGeom prst="roundRect">
              <a:avLst>
                <a:gd name="adj" fmla="val 6963"/>
              </a:avLst>
            </a:prstGeom>
            <a:solidFill>
              <a:schemeClr val="bg2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rIns="72000" anchor="ctr"/>
            <a:lstStyle/>
            <a:p>
              <a:pPr algn="ctr"/>
              <a:endParaRPr lang="en-AU"/>
            </a:p>
          </p:txBody>
        </p:sp>
        <p:sp>
          <p:nvSpPr>
            <p:cNvPr id="9244" name="AutoShape 5"/>
            <p:cNvSpPr>
              <a:spLocks noChangeArrowheads="1"/>
            </p:cNvSpPr>
            <p:nvPr/>
          </p:nvSpPr>
          <p:spPr bwMode="auto">
            <a:xfrm>
              <a:off x="4184" y="3549"/>
              <a:ext cx="1219" cy="284"/>
            </a:xfrm>
            <a:prstGeom prst="roundRect">
              <a:avLst>
                <a:gd name="adj" fmla="val 16667"/>
              </a:avLst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1991" tIns="45715" rIns="71991" bIns="45715" anchor="ctr"/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HW</a:t>
              </a:r>
            </a:p>
          </p:txBody>
        </p:sp>
        <p:sp>
          <p:nvSpPr>
            <p:cNvPr id="9245" name="AutoShape 6"/>
            <p:cNvSpPr>
              <a:spLocks noChangeArrowheads="1"/>
            </p:cNvSpPr>
            <p:nvPr/>
          </p:nvSpPr>
          <p:spPr bwMode="auto">
            <a:xfrm>
              <a:off x="4184" y="2443"/>
              <a:ext cx="595" cy="340"/>
            </a:xfrm>
            <a:prstGeom prst="roundRect">
              <a:avLst>
                <a:gd name="adj" fmla="val 16667"/>
              </a:avLst>
            </a:prstGeom>
            <a:solidFill>
              <a:srgbClr val="9900CC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1991" tIns="45715" rIns="71991" bIns="45715" anchor="ctr"/>
            <a:lstStyle/>
            <a:p>
              <a:pPr algn="ctr"/>
              <a:r>
                <a:rPr lang="en-US" sz="1200" b="1">
                  <a:solidFill>
                    <a:schemeClr val="bg1"/>
                  </a:solidFill>
                </a:rPr>
                <a:t>Applications</a:t>
              </a:r>
            </a:p>
          </p:txBody>
        </p:sp>
        <p:sp>
          <p:nvSpPr>
            <p:cNvPr id="9246" name="AutoShape 7"/>
            <p:cNvSpPr>
              <a:spLocks noChangeArrowheads="1"/>
            </p:cNvSpPr>
            <p:nvPr/>
          </p:nvSpPr>
          <p:spPr bwMode="auto">
            <a:xfrm>
              <a:off x="4184" y="3181"/>
              <a:ext cx="1219" cy="340"/>
            </a:xfrm>
            <a:prstGeom prst="roundRect">
              <a:avLst>
                <a:gd name="adj" fmla="val 16667"/>
              </a:avLst>
            </a:prstGeom>
            <a:solidFill>
              <a:schemeClr val="hlink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1991" tIns="45715" rIns="71991" bIns="45715" anchor="ctr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Hypervisor</a:t>
              </a:r>
              <a:br>
                <a:rPr lang="en-US" sz="1400" b="1" dirty="0">
                  <a:solidFill>
                    <a:schemeClr val="bg1"/>
                  </a:solidFill>
                </a:rPr>
              </a:br>
              <a:r>
                <a:rPr lang="en-US" sz="1400" b="1" dirty="0">
                  <a:solidFill>
                    <a:schemeClr val="bg1"/>
                  </a:solidFill>
                </a:rPr>
                <a:t>(</a:t>
              </a:r>
              <a:r>
                <a:rPr lang="en-US" sz="1400" b="1" dirty="0" smtClean="0">
                  <a:solidFill>
                    <a:schemeClr val="bg1"/>
                  </a:solidFill>
                </a:rPr>
                <a:t>Virtualization </a:t>
              </a:r>
              <a:r>
                <a:rPr lang="en-US" sz="1400" b="1" dirty="0" err="1" smtClean="0">
                  <a:solidFill>
                    <a:schemeClr val="bg1"/>
                  </a:solidFill>
                </a:rPr>
                <a:t>Sw</a:t>
              </a:r>
              <a:r>
                <a:rPr lang="en-US" sz="1400" b="1" dirty="0">
                  <a:solidFill>
                    <a:schemeClr val="bg1"/>
                  </a:solidFill>
                </a:rPr>
                <a:t>)</a:t>
              </a:r>
            </a:p>
          </p:txBody>
        </p:sp>
        <p:sp>
          <p:nvSpPr>
            <p:cNvPr id="9247" name="AutoShape 8"/>
            <p:cNvSpPr>
              <a:spLocks noChangeArrowheads="1"/>
            </p:cNvSpPr>
            <p:nvPr/>
          </p:nvSpPr>
          <p:spPr bwMode="auto">
            <a:xfrm>
              <a:off x="4184" y="2812"/>
              <a:ext cx="595" cy="340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1991" tIns="45715" rIns="71991" bIns="45715" anchor="ctr"/>
            <a:lstStyle/>
            <a:p>
              <a:pPr algn="ctr"/>
              <a:r>
                <a:rPr lang="en-US" sz="1400"/>
                <a:t>Operating</a:t>
              </a:r>
              <a:br>
                <a:rPr lang="en-US" sz="1400"/>
              </a:br>
              <a:r>
                <a:rPr lang="en-US" sz="1400"/>
                <a:t>System</a:t>
              </a:r>
            </a:p>
          </p:txBody>
        </p:sp>
        <p:sp>
          <p:nvSpPr>
            <p:cNvPr id="9248" name="AutoShape 9"/>
            <p:cNvSpPr>
              <a:spLocks noChangeArrowheads="1"/>
            </p:cNvSpPr>
            <p:nvPr/>
          </p:nvSpPr>
          <p:spPr bwMode="auto">
            <a:xfrm>
              <a:off x="4808" y="2443"/>
              <a:ext cx="595" cy="340"/>
            </a:xfrm>
            <a:prstGeom prst="roundRect">
              <a:avLst>
                <a:gd name="adj" fmla="val 16667"/>
              </a:avLst>
            </a:prstGeom>
            <a:solidFill>
              <a:srgbClr val="9900CC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1991" tIns="45715" rIns="71991" bIns="45715" anchor="ctr"/>
            <a:lstStyle/>
            <a:p>
              <a:pPr algn="ctr"/>
              <a:r>
                <a:rPr lang="en-US" sz="1200" b="1">
                  <a:solidFill>
                    <a:schemeClr val="bg1"/>
                  </a:solidFill>
                </a:rPr>
                <a:t>Applications</a:t>
              </a:r>
            </a:p>
          </p:txBody>
        </p:sp>
        <p:sp>
          <p:nvSpPr>
            <p:cNvPr id="9249" name="AutoShape 10"/>
            <p:cNvSpPr>
              <a:spLocks noChangeArrowheads="1"/>
            </p:cNvSpPr>
            <p:nvPr/>
          </p:nvSpPr>
          <p:spPr bwMode="auto">
            <a:xfrm>
              <a:off x="4808" y="2812"/>
              <a:ext cx="595" cy="340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1991" tIns="45715" rIns="71991" bIns="45715" anchor="ctr"/>
            <a:lstStyle/>
            <a:p>
              <a:pPr algn="ctr"/>
              <a:r>
                <a:rPr lang="en-US" sz="1400"/>
                <a:t>Operating</a:t>
              </a:r>
              <a:br>
                <a:rPr lang="en-US" sz="1400"/>
              </a:br>
              <a:r>
                <a:rPr lang="en-US" sz="1400"/>
                <a:t>System</a:t>
              </a:r>
            </a:p>
          </p:txBody>
        </p:sp>
      </p:grpSp>
      <p:grpSp>
        <p:nvGrpSpPr>
          <p:cNvPr id="9220" name="Group 11"/>
          <p:cNvGrpSpPr>
            <a:grpSpLocks/>
          </p:cNvGrpSpPr>
          <p:nvPr/>
        </p:nvGrpSpPr>
        <p:grpSpPr bwMode="auto">
          <a:xfrm>
            <a:off x="6959600" y="1557339"/>
            <a:ext cx="1498600" cy="1844675"/>
            <a:chOff x="2597" y="2585"/>
            <a:chExt cx="708" cy="1162"/>
          </a:xfrm>
        </p:grpSpPr>
        <p:sp>
          <p:nvSpPr>
            <p:cNvPr id="9239" name="AutoShape 12"/>
            <p:cNvSpPr>
              <a:spLocks noChangeArrowheads="1"/>
            </p:cNvSpPr>
            <p:nvPr/>
          </p:nvSpPr>
          <p:spPr bwMode="auto">
            <a:xfrm>
              <a:off x="2597" y="2585"/>
              <a:ext cx="708" cy="1162"/>
            </a:xfrm>
            <a:prstGeom prst="roundRect">
              <a:avLst>
                <a:gd name="adj" fmla="val 6963"/>
              </a:avLst>
            </a:prstGeom>
            <a:solidFill>
              <a:schemeClr val="bg2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rIns="72000" anchor="ctr"/>
            <a:lstStyle/>
            <a:p>
              <a:pPr algn="ctr"/>
              <a:endParaRPr lang="en-AU"/>
            </a:p>
          </p:txBody>
        </p:sp>
        <p:sp>
          <p:nvSpPr>
            <p:cNvPr id="9240" name="AutoShape 13"/>
            <p:cNvSpPr>
              <a:spLocks noChangeArrowheads="1"/>
            </p:cNvSpPr>
            <p:nvPr/>
          </p:nvSpPr>
          <p:spPr bwMode="auto">
            <a:xfrm>
              <a:off x="2653" y="3407"/>
              <a:ext cx="596" cy="284"/>
            </a:xfrm>
            <a:prstGeom prst="roundRect">
              <a:avLst>
                <a:gd name="adj" fmla="val 16667"/>
              </a:avLst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1991" tIns="45715" rIns="71991" bIns="45715" anchor="ctr"/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HW</a:t>
              </a:r>
            </a:p>
          </p:txBody>
        </p:sp>
        <p:sp>
          <p:nvSpPr>
            <p:cNvPr id="9241" name="AutoShape 14"/>
            <p:cNvSpPr>
              <a:spLocks noChangeArrowheads="1"/>
            </p:cNvSpPr>
            <p:nvPr/>
          </p:nvSpPr>
          <p:spPr bwMode="auto">
            <a:xfrm>
              <a:off x="2654" y="2642"/>
              <a:ext cx="595" cy="340"/>
            </a:xfrm>
            <a:prstGeom prst="roundRect">
              <a:avLst>
                <a:gd name="adj" fmla="val 16667"/>
              </a:avLst>
            </a:prstGeom>
            <a:solidFill>
              <a:srgbClr val="9900CC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1991" tIns="45715" rIns="71991" bIns="45715" anchor="ctr"/>
            <a:lstStyle/>
            <a:p>
              <a:pPr algn="ctr"/>
              <a:r>
                <a:rPr lang="en-US" sz="1200" b="1">
                  <a:solidFill>
                    <a:schemeClr val="bg1"/>
                  </a:solidFill>
                </a:rPr>
                <a:t>Applications</a:t>
              </a:r>
            </a:p>
          </p:txBody>
        </p:sp>
        <p:sp>
          <p:nvSpPr>
            <p:cNvPr id="9242" name="AutoShape 15"/>
            <p:cNvSpPr>
              <a:spLocks noChangeArrowheads="1"/>
            </p:cNvSpPr>
            <p:nvPr/>
          </p:nvSpPr>
          <p:spPr bwMode="auto">
            <a:xfrm>
              <a:off x="2653" y="3010"/>
              <a:ext cx="595" cy="340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1991" tIns="45715" rIns="71991" bIns="45715" anchor="ctr"/>
            <a:lstStyle/>
            <a:p>
              <a:pPr algn="ctr"/>
              <a:r>
                <a:rPr lang="en-US" sz="1400"/>
                <a:t>Operating</a:t>
              </a:r>
              <a:br>
                <a:rPr lang="en-US" sz="1400"/>
              </a:br>
              <a:r>
                <a:rPr lang="en-US" sz="1400"/>
                <a:t>System</a:t>
              </a:r>
            </a:p>
          </p:txBody>
        </p:sp>
      </p:grpSp>
      <p:sp>
        <p:nvSpPr>
          <p:cNvPr id="631824" name="AutoShape 16"/>
          <p:cNvSpPr>
            <a:spLocks noChangeArrowheads="1"/>
          </p:cNvSpPr>
          <p:nvPr/>
        </p:nvSpPr>
        <p:spPr bwMode="auto">
          <a:xfrm>
            <a:off x="8555567" y="2032000"/>
            <a:ext cx="601133" cy="901700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hlink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ctr"/>
            <a:endParaRPr lang="en-AU"/>
          </a:p>
        </p:txBody>
      </p:sp>
      <p:grpSp>
        <p:nvGrpSpPr>
          <p:cNvPr id="631825" name="Group 17"/>
          <p:cNvGrpSpPr>
            <a:grpSpLocks/>
          </p:cNvGrpSpPr>
          <p:nvPr/>
        </p:nvGrpSpPr>
        <p:grpSpPr bwMode="auto">
          <a:xfrm>
            <a:off x="622301" y="1196976"/>
            <a:ext cx="5990166" cy="2555875"/>
            <a:chOff x="272" y="771"/>
            <a:chExt cx="2830" cy="1610"/>
          </a:xfrm>
        </p:grpSpPr>
        <p:sp>
          <p:nvSpPr>
            <p:cNvPr id="9236" name="Freeform 18"/>
            <p:cNvSpPr>
              <a:spLocks noChangeAspect="1"/>
            </p:cNvSpPr>
            <p:nvPr/>
          </p:nvSpPr>
          <p:spPr bwMode="auto">
            <a:xfrm>
              <a:off x="612" y="771"/>
              <a:ext cx="2490" cy="1610"/>
            </a:xfrm>
            <a:custGeom>
              <a:avLst/>
              <a:gdLst>
                <a:gd name="T0" fmla="*/ 2147483647 w 1091"/>
                <a:gd name="T1" fmla="*/ 530240 h 1139"/>
                <a:gd name="T2" fmla="*/ 2147483647 w 1091"/>
                <a:gd name="T3" fmla="*/ 844540 h 1139"/>
                <a:gd name="T4" fmla="*/ 2147483647 w 1091"/>
                <a:gd name="T5" fmla="*/ 1331152 h 1139"/>
                <a:gd name="T6" fmla="*/ 2147483647 w 1091"/>
                <a:gd name="T7" fmla="*/ 1331152 h 1139"/>
                <a:gd name="T8" fmla="*/ 0 w 1091"/>
                <a:gd name="T9" fmla="*/ 1802021 h 1139"/>
                <a:gd name="T10" fmla="*/ 0 w 1091"/>
                <a:gd name="T11" fmla="*/ 34927982 h 1139"/>
                <a:gd name="T12" fmla="*/ 2147483647 w 1091"/>
                <a:gd name="T13" fmla="*/ 35396929 h 1139"/>
                <a:gd name="T14" fmla="*/ 2147483647 w 1091"/>
                <a:gd name="T15" fmla="*/ 35396929 h 1139"/>
                <a:gd name="T16" fmla="*/ 2147483647 w 1091"/>
                <a:gd name="T17" fmla="*/ 35917171 h 1139"/>
                <a:gd name="T18" fmla="*/ 2147483647 w 1091"/>
                <a:gd name="T19" fmla="*/ 36249851 h 1139"/>
                <a:gd name="T20" fmla="*/ 2147483647 w 1091"/>
                <a:gd name="T21" fmla="*/ 18912585 h 1139"/>
                <a:gd name="T22" fmla="*/ 2147483647 w 1091"/>
                <a:gd name="T23" fmla="*/ 18362552 h 1139"/>
                <a:gd name="T24" fmla="*/ 2147483647 w 1091"/>
                <a:gd name="T25" fmla="*/ 17859008 h 1139"/>
                <a:gd name="T26" fmla="*/ 2147483647 w 1091"/>
                <a:gd name="T27" fmla="*/ 530240 h 113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1" h="1139">
                  <a:moveTo>
                    <a:pt x="980" y="16"/>
                  </a:moveTo>
                  <a:cubicBezTo>
                    <a:pt x="977" y="0"/>
                    <a:pt x="953" y="6"/>
                    <a:pt x="953" y="26"/>
                  </a:cubicBezTo>
                  <a:cubicBezTo>
                    <a:pt x="953" y="30"/>
                    <a:pt x="953" y="35"/>
                    <a:pt x="953" y="42"/>
                  </a:cubicBezTo>
                  <a:cubicBezTo>
                    <a:pt x="14" y="42"/>
                    <a:pt x="14" y="42"/>
                    <a:pt x="14" y="42"/>
                  </a:cubicBezTo>
                  <a:cubicBezTo>
                    <a:pt x="6" y="42"/>
                    <a:pt x="0" y="48"/>
                    <a:pt x="0" y="56"/>
                  </a:cubicBezTo>
                  <a:cubicBezTo>
                    <a:pt x="0" y="1082"/>
                    <a:pt x="0" y="1082"/>
                    <a:pt x="0" y="1082"/>
                  </a:cubicBezTo>
                  <a:cubicBezTo>
                    <a:pt x="0" y="1090"/>
                    <a:pt x="6" y="1096"/>
                    <a:pt x="14" y="1096"/>
                  </a:cubicBezTo>
                  <a:cubicBezTo>
                    <a:pt x="953" y="1096"/>
                    <a:pt x="953" y="1096"/>
                    <a:pt x="953" y="1096"/>
                  </a:cubicBezTo>
                  <a:cubicBezTo>
                    <a:pt x="953" y="1103"/>
                    <a:pt x="953" y="1109"/>
                    <a:pt x="953" y="1113"/>
                  </a:cubicBezTo>
                  <a:cubicBezTo>
                    <a:pt x="953" y="1133"/>
                    <a:pt x="976" y="1139"/>
                    <a:pt x="979" y="1123"/>
                  </a:cubicBezTo>
                  <a:cubicBezTo>
                    <a:pt x="985" y="1098"/>
                    <a:pt x="1089" y="586"/>
                    <a:pt x="1089" y="586"/>
                  </a:cubicBezTo>
                  <a:cubicBezTo>
                    <a:pt x="1089" y="586"/>
                    <a:pt x="1091" y="575"/>
                    <a:pt x="1091" y="569"/>
                  </a:cubicBezTo>
                  <a:cubicBezTo>
                    <a:pt x="1091" y="564"/>
                    <a:pt x="1089" y="553"/>
                    <a:pt x="1089" y="553"/>
                  </a:cubicBezTo>
                  <a:cubicBezTo>
                    <a:pt x="1089" y="553"/>
                    <a:pt x="986" y="44"/>
                    <a:pt x="980" y="16"/>
                  </a:cubicBezTo>
                  <a:close/>
                </a:path>
              </a:pathLst>
            </a:custGeom>
            <a:solidFill>
              <a:schemeClr val="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37" name="Rectangle 19"/>
            <p:cNvSpPr>
              <a:spLocks noChangeArrowheads="1"/>
            </p:cNvSpPr>
            <p:nvPr/>
          </p:nvSpPr>
          <p:spPr bwMode="auto">
            <a:xfrm>
              <a:off x="673" y="1099"/>
              <a:ext cx="2325" cy="9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1991" tIns="45715" rIns="71991" bIns="45715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i="1" dirty="0">
                  <a:solidFill>
                    <a:schemeClr val="bg1"/>
                  </a:solidFill>
                </a:rPr>
                <a:t>Virtualization</a:t>
              </a:r>
              <a:r>
                <a:rPr lang="en-US" dirty="0">
                  <a:solidFill>
                    <a:schemeClr val="bg1"/>
                  </a:solidFill>
                </a:rPr>
                <a:t> is a technology to partition processing resources (CPU, memory, storage and IO) to execute different OS and applications on the same HW</a:t>
              </a:r>
            </a:p>
          </p:txBody>
        </p:sp>
        <p:sp>
          <p:nvSpPr>
            <p:cNvPr id="9238" name="Text Box 20"/>
            <p:cNvSpPr txBox="1">
              <a:spLocks noChangeArrowheads="1"/>
            </p:cNvSpPr>
            <p:nvPr/>
          </p:nvSpPr>
          <p:spPr bwMode="auto">
            <a:xfrm rot="16200000">
              <a:off x="-328" y="1395"/>
              <a:ext cx="1448" cy="2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1991" tIns="45715" rIns="71991" bIns="45715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r>
                <a:rPr lang="en-US" sz="2800">
                  <a:solidFill>
                    <a:schemeClr val="hlink"/>
                  </a:solidFill>
                  <a:cs typeface="Arial" pitchFamily="34" charset="0"/>
                </a:rPr>
                <a:t>Virtualization</a:t>
              </a:r>
            </a:p>
          </p:txBody>
        </p:sp>
      </p:grpSp>
      <p:sp>
        <p:nvSpPr>
          <p:cNvPr id="631831" name="Rectangle 23"/>
          <p:cNvSpPr>
            <a:spLocks noChangeArrowheads="1"/>
          </p:cNvSpPr>
          <p:nvPr/>
        </p:nvSpPr>
        <p:spPr bwMode="auto">
          <a:xfrm>
            <a:off x="1295400" y="4652964"/>
            <a:ext cx="4980517" cy="1108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1991" tIns="45715" rIns="71991" bIns="45715">
            <a:spAutoFit/>
          </a:bodyPr>
          <a:lstStyle/>
          <a:p>
            <a:pPr>
              <a:lnSpc>
                <a:spcPct val="110000"/>
              </a:lnSpc>
            </a:pPr>
            <a:r>
              <a:rPr lang="en-US" i="1" dirty="0">
                <a:solidFill>
                  <a:schemeClr val="bg1"/>
                </a:solidFill>
              </a:rPr>
              <a:t>Cloud computing</a:t>
            </a:r>
            <a:r>
              <a:rPr lang="en-US" dirty="0">
                <a:solidFill>
                  <a:schemeClr val="bg1"/>
                </a:solidFill>
              </a:rPr>
              <a:t> is a model for enabling network access to a shared pool of resources.</a:t>
            </a:r>
          </a:p>
        </p:txBody>
      </p:sp>
      <p:sp>
        <p:nvSpPr>
          <p:cNvPr id="631832" name="Text Box 24"/>
          <p:cNvSpPr txBox="1">
            <a:spLocks noChangeArrowheads="1"/>
          </p:cNvSpPr>
          <p:nvPr/>
        </p:nvSpPr>
        <p:spPr bwMode="auto">
          <a:xfrm>
            <a:off x="3857349" y="5807077"/>
            <a:ext cx="4982633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1991" tIns="45715" rIns="71991" bIns="45715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b="1" i="1" dirty="0">
                <a:solidFill>
                  <a:schemeClr val="hlink"/>
                </a:solidFill>
                <a:cs typeface="Arial" pitchFamily="34" charset="0"/>
              </a:rPr>
              <a:t>Virtualization</a:t>
            </a:r>
            <a:r>
              <a:rPr lang="en-US" dirty="0">
                <a:cs typeface="Arial" pitchFamily="34" charset="0"/>
              </a:rPr>
              <a:t> is typically used to build </a:t>
            </a:r>
            <a:r>
              <a:rPr lang="en-US" b="1" i="1" dirty="0">
                <a:solidFill>
                  <a:srgbClr val="A50021"/>
                </a:solidFill>
                <a:cs typeface="Arial" pitchFamily="34" charset="0"/>
              </a:rPr>
              <a:t>Cloud Infrastructure</a:t>
            </a:r>
          </a:p>
        </p:txBody>
      </p:sp>
      <p:grpSp>
        <p:nvGrpSpPr>
          <p:cNvPr id="631833" name="Group 25"/>
          <p:cNvGrpSpPr>
            <a:grpSpLocks/>
          </p:cNvGrpSpPr>
          <p:nvPr/>
        </p:nvGrpSpPr>
        <p:grpSpPr bwMode="auto">
          <a:xfrm>
            <a:off x="3736699" y="4006851"/>
            <a:ext cx="4991100" cy="1754188"/>
            <a:chOff x="3277" y="2500"/>
            <a:chExt cx="2358" cy="1105"/>
          </a:xfrm>
        </p:grpSpPr>
        <p:sp>
          <p:nvSpPr>
            <p:cNvPr id="9228" name="Freeform 26" descr="bpct-blend4"/>
            <p:cNvSpPr>
              <a:spLocks noChangeAspect="1"/>
            </p:cNvSpPr>
            <p:nvPr/>
          </p:nvSpPr>
          <p:spPr bwMode="auto">
            <a:xfrm>
              <a:off x="3277" y="2500"/>
              <a:ext cx="2358" cy="1105"/>
            </a:xfrm>
            <a:custGeom>
              <a:avLst/>
              <a:gdLst>
                <a:gd name="T0" fmla="*/ 2147483647 w 474"/>
                <a:gd name="T1" fmla="*/ 2147483647 h 295"/>
                <a:gd name="T2" fmla="*/ 2147483647 w 474"/>
                <a:gd name="T3" fmla="*/ 2147483647 h 295"/>
                <a:gd name="T4" fmla="*/ 2147483647 w 474"/>
                <a:gd name="T5" fmla="*/ 2147483647 h 295"/>
                <a:gd name="T6" fmla="*/ 2147483647 w 474"/>
                <a:gd name="T7" fmla="*/ 2147483647 h 295"/>
                <a:gd name="T8" fmla="*/ 2147483647 w 474"/>
                <a:gd name="T9" fmla="*/ 2147483647 h 295"/>
                <a:gd name="T10" fmla="*/ 2147483647 w 474"/>
                <a:gd name="T11" fmla="*/ 2147483647 h 295"/>
                <a:gd name="T12" fmla="*/ 2147483647 w 474"/>
                <a:gd name="T13" fmla="*/ 2147483647 h 295"/>
                <a:gd name="T14" fmla="*/ 2147483647 w 474"/>
                <a:gd name="T15" fmla="*/ 2147483647 h 295"/>
                <a:gd name="T16" fmla="*/ 2147483647 w 474"/>
                <a:gd name="T17" fmla="*/ 2147483647 h 295"/>
                <a:gd name="T18" fmla="*/ 2147483647 w 474"/>
                <a:gd name="T19" fmla="*/ 2147483647 h 295"/>
                <a:gd name="T20" fmla="*/ 2147483647 w 474"/>
                <a:gd name="T21" fmla="*/ 2147483647 h 295"/>
                <a:gd name="T22" fmla="*/ 2147483647 w 474"/>
                <a:gd name="T23" fmla="*/ 2147483647 h 295"/>
                <a:gd name="T24" fmla="*/ 2147483647 w 474"/>
                <a:gd name="T25" fmla="*/ 2147483647 h 295"/>
                <a:gd name="T26" fmla="*/ 2147483647 w 474"/>
                <a:gd name="T27" fmla="*/ 2147483647 h 295"/>
                <a:gd name="T28" fmla="*/ 2147483647 w 474"/>
                <a:gd name="T29" fmla="*/ 2147483647 h 295"/>
                <a:gd name="T30" fmla="*/ 2147483647 w 474"/>
                <a:gd name="T31" fmla="*/ 2147483647 h 295"/>
                <a:gd name="T32" fmla="*/ 2147483647 w 474"/>
                <a:gd name="T33" fmla="*/ 2147483647 h 295"/>
                <a:gd name="T34" fmla="*/ 2147483647 w 474"/>
                <a:gd name="T35" fmla="*/ 2147483647 h 295"/>
                <a:gd name="T36" fmla="*/ 2147483647 w 474"/>
                <a:gd name="T37" fmla="*/ 2147483647 h 295"/>
                <a:gd name="T38" fmla="*/ 2147483647 w 474"/>
                <a:gd name="T39" fmla="*/ 2147483647 h 295"/>
                <a:gd name="T40" fmla="*/ 2147483647 w 474"/>
                <a:gd name="T41" fmla="*/ 2147483647 h 295"/>
                <a:gd name="T42" fmla="*/ 2147483647 w 474"/>
                <a:gd name="T43" fmla="*/ 2147483647 h 295"/>
                <a:gd name="T44" fmla="*/ 2147483647 w 474"/>
                <a:gd name="T45" fmla="*/ 2147483647 h 295"/>
                <a:gd name="T46" fmla="*/ 2147483647 w 474"/>
                <a:gd name="T47" fmla="*/ 2147483647 h 295"/>
                <a:gd name="T48" fmla="*/ 2147483647 w 474"/>
                <a:gd name="T49" fmla="*/ 2147483647 h 295"/>
                <a:gd name="T50" fmla="*/ 2147483647 w 474"/>
                <a:gd name="T51" fmla="*/ 2147483647 h 295"/>
                <a:gd name="T52" fmla="*/ 2147483647 w 474"/>
                <a:gd name="T53" fmla="*/ 2147483647 h 295"/>
                <a:gd name="T54" fmla="*/ 2147483647 w 474"/>
                <a:gd name="T55" fmla="*/ 2147483647 h 295"/>
                <a:gd name="T56" fmla="*/ 2147483647 w 474"/>
                <a:gd name="T57" fmla="*/ 2147483647 h 295"/>
                <a:gd name="T58" fmla="*/ 2147483647 w 474"/>
                <a:gd name="T59" fmla="*/ 0 h 295"/>
                <a:gd name="T60" fmla="*/ 2147483647 w 474"/>
                <a:gd name="T61" fmla="*/ 2147483647 h 295"/>
                <a:gd name="T62" fmla="*/ 0 w 474"/>
                <a:gd name="T63" fmla="*/ 2147483647 h 295"/>
                <a:gd name="T64" fmla="*/ 2147483647 w 474"/>
                <a:gd name="T65" fmla="*/ 2147483647 h 295"/>
                <a:gd name="T66" fmla="*/ 2147483647 w 474"/>
                <a:gd name="T67" fmla="*/ 2147483647 h 295"/>
                <a:gd name="T68" fmla="*/ 2147483647 w 474"/>
                <a:gd name="T69" fmla="*/ 2147483647 h 295"/>
                <a:gd name="T70" fmla="*/ 2147483647 w 474"/>
                <a:gd name="T71" fmla="*/ 2147483647 h 295"/>
                <a:gd name="T72" fmla="*/ 2147483647 w 474"/>
                <a:gd name="T73" fmla="*/ 2147483647 h 295"/>
                <a:gd name="T74" fmla="*/ 2147483647 w 474"/>
                <a:gd name="T75" fmla="*/ 2147483647 h 295"/>
                <a:gd name="T76" fmla="*/ 2147483647 w 474"/>
                <a:gd name="T77" fmla="*/ 2147483647 h 295"/>
                <a:gd name="T78" fmla="*/ 2147483647 w 474"/>
                <a:gd name="T79" fmla="*/ 2147483647 h 295"/>
                <a:gd name="T80" fmla="*/ 2147483647 w 474"/>
                <a:gd name="T81" fmla="*/ 2147483647 h 295"/>
                <a:gd name="T82" fmla="*/ 2147483647 w 474"/>
                <a:gd name="T83" fmla="*/ 2147483647 h 295"/>
                <a:gd name="T84" fmla="*/ 2147483647 w 474"/>
                <a:gd name="T85" fmla="*/ 2147483647 h 29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474" h="295">
                  <a:moveTo>
                    <a:pt x="454" y="182"/>
                  </a:moveTo>
                  <a:cubicBezTo>
                    <a:pt x="461" y="168"/>
                    <a:pt x="466" y="153"/>
                    <a:pt x="466" y="136"/>
                  </a:cubicBezTo>
                  <a:cubicBezTo>
                    <a:pt x="466" y="106"/>
                    <a:pt x="452" y="80"/>
                    <a:pt x="432" y="61"/>
                  </a:cubicBezTo>
                  <a:cubicBezTo>
                    <a:pt x="428" y="58"/>
                    <a:pt x="423" y="59"/>
                    <a:pt x="420" y="63"/>
                  </a:cubicBezTo>
                  <a:cubicBezTo>
                    <a:pt x="418" y="66"/>
                    <a:pt x="418" y="71"/>
                    <a:pt x="422" y="74"/>
                  </a:cubicBezTo>
                  <a:cubicBezTo>
                    <a:pt x="422" y="74"/>
                    <a:pt x="422" y="74"/>
                    <a:pt x="422" y="74"/>
                  </a:cubicBezTo>
                  <a:cubicBezTo>
                    <a:pt x="439" y="90"/>
                    <a:pt x="450" y="112"/>
                    <a:pt x="450" y="136"/>
                  </a:cubicBezTo>
                  <a:cubicBezTo>
                    <a:pt x="450" y="152"/>
                    <a:pt x="445" y="167"/>
                    <a:pt x="437" y="179"/>
                  </a:cubicBezTo>
                  <a:cubicBezTo>
                    <a:pt x="435" y="183"/>
                    <a:pt x="436" y="187"/>
                    <a:pt x="439" y="189"/>
                  </a:cubicBezTo>
                  <a:cubicBezTo>
                    <a:pt x="450" y="200"/>
                    <a:pt x="458" y="214"/>
                    <a:pt x="458" y="230"/>
                  </a:cubicBezTo>
                  <a:cubicBezTo>
                    <a:pt x="458" y="240"/>
                    <a:pt x="453" y="253"/>
                    <a:pt x="445" y="262"/>
                  </a:cubicBezTo>
                  <a:cubicBezTo>
                    <a:pt x="436" y="272"/>
                    <a:pt x="424" y="279"/>
                    <a:pt x="410" y="279"/>
                  </a:cubicBezTo>
                  <a:cubicBezTo>
                    <a:pt x="350" y="279"/>
                    <a:pt x="350" y="279"/>
                    <a:pt x="350" y="279"/>
                  </a:cubicBezTo>
                  <a:cubicBezTo>
                    <a:pt x="74" y="279"/>
                    <a:pt x="74" y="279"/>
                    <a:pt x="74" y="279"/>
                  </a:cubicBezTo>
                  <a:cubicBezTo>
                    <a:pt x="58" y="279"/>
                    <a:pt x="44" y="270"/>
                    <a:pt x="33" y="256"/>
                  </a:cubicBezTo>
                  <a:cubicBezTo>
                    <a:pt x="22" y="243"/>
                    <a:pt x="16" y="225"/>
                    <a:pt x="16" y="209"/>
                  </a:cubicBezTo>
                  <a:cubicBezTo>
                    <a:pt x="16" y="172"/>
                    <a:pt x="42" y="141"/>
                    <a:pt x="77" y="134"/>
                  </a:cubicBezTo>
                  <a:cubicBezTo>
                    <a:pt x="81" y="133"/>
                    <a:pt x="83" y="130"/>
                    <a:pt x="84" y="127"/>
                  </a:cubicBezTo>
                  <a:cubicBezTo>
                    <a:pt x="90" y="65"/>
                    <a:pt x="142" y="16"/>
                    <a:pt x="206" y="16"/>
                  </a:cubicBezTo>
                  <a:cubicBezTo>
                    <a:pt x="247" y="16"/>
                    <a:pt x="282" y="36"/>
                    <a:pt x="305" y="66"/>
                  </a:cubicBezTo>
                  <a:cubicBezTo>
                    <a:pt x="308" y="70"/>
                    <a:pt x="313" y="70"/>
                    <a:pt x="316" y="68"/>
                  </a:cubicBezTo>
                  <a:cubicBezTo>
                    <a:pt x="330" y="58"/>
                    <a:pt x="347" y="52"/>
                    <a:pt x="365" y="52"/>
                  </a:cubicBezTo>
                  <a:cubicBezTo>
                    <a:pt x="376" y="52"/>
                    <a:pt x="386" y="54"/>
                    <a:pt x="395" y="57"/>
                  </a:cubicBezTo>
                  <a:cubicBezTo>
                    <a:pt x="395" y="57"/>
                    <a:pt x="396" y="58"/>
                    <a:pt x="396" y="58"/>
                  </a:cubicBezTo>
                  <a:cubicBezTo>
                    <a:pt x="400" y="59"/>
                    <a:pt x="405" y="58"/>
                    <a:pt x="406" y="54"/>
                  </a:cubicBezTo>
                  <a:cubicBezTo>
                    <a:pt x="407" y="52"/>
                    <a:pt x="407" y="51"/>
                    <a:pt x="407" y="49"/>
                  </a:cubicBezTo>
                  <a:cubicBezTo>
                    <a:pt x="407" y="47"/>
                    <a:pt x="405" y="44"/>
                    <a:pt x="403" y="43"/>
                  </a:cubicBezTo>
                  <a:cubicBezTo>
                    <a:pt x="391" y="38"/>
                    <a:pt x="378" y="36"/>
                    <a:pt x="365" y="36"/>
                  </a:cubicBezTo>
                  <a:cubicBezTo>
                    <a:pt x="346" y="36"/>
                    <a:pt x="328" y="41"/>
                    <a:pt x="313" y="51"/>
                  </a:cubicBezTo>
                  <a:cubicBezTo>
                    <a:pt x="288" y="20"/>
                    <a:pt x="249" y="0"/>
                    <a:pt x="206" y="0"/>
                  </a:cubicBezTo>
                  <a:cubicBezTo>
                    <a:pt x="136" y="0"/>
                    <a:pt x="78" y="52"/>
                    <a:pt x="68" y="120"/>
                  </a:cubicBezTo>
                  <a:cubicBezTo>
                    <a:pt x="29" y="130"/>
                    <a:pt x="0" y="166"/>
                    <a:pt x="0" y="209"/>
                  </a:cubicBezTo>
                  <a:cubicBezTo>
                    <a:pt x="0" y="229"/>
                    <a:pt x="7" y="250"/>
                    <a:pt x="20" y="266"/>
                  </a:cubicBezTo>
                  <a:cubicBezTo>
                    <a:pt x="33" y="283"/>
                    <a:pt x="52" y="295"/>
                    <a:pt x="74" y="295"/>
                  </a:cubicBezTo>
                  <a:cubicBezTo>
                    <a:pt x="350" y="295"/>
                    <a:pt x="350" y="295"/>
                    <a:pt x="350" y="295"/>
                  </a:cubicBezTo>
                  <a:cubicBezTo>
                    <a:pt x="350" y="295"/>
                    <a:pt x="351" y="295"/>
                    <a:pt x="351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382" y="295"/>
                    <a:pt x="382" y="295"/>
                    <a:pt x="382" y="295"/>
                  </a:cubicBezTo>
                  <a:cubicBezTo>
                    <a:pt x="410" y="295"/>
                    <a:pt x="410" y="295"/>
                    <a:pt x="410" y="295"/>
                  </a:cubicBezTo>
                  <a:cubicBezTo>
                    <a:pt x="430" y="295"/>
                    <a:pt x="446" y="286"/>
                    <a:pt x="457" y="273"/>
                  </a:cubicBezTo>
                  <a:cubicBezTo>
                    <a:pt x="468" y="260"/>
                    <a:pt x="474" y="244"/>
                    <a:pt x="474" y="230"/>
                  </a:cubicBezTo>
                  <a:cubicBezTo>
                    <a:pt x="474" y="211"/>
                    <a:pt x="466" y="194"/>
                    <a:pt x="454" y="182"/>
                  </a:cubicBezTo>
                  <a:close/>
                </a:path>
              </a:pathLst>
            </a:custGeom>
            <a:blipFill dpi="0" rotWithShape="0">
              <a:blip r:embed="rId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29" name="Freeform 3" descr="bpct-blend3"/>
            <p:cNvSpPr>
              <a:spLocks noChangeAspect="1" noEditPoints="1"/>
            </p:cNvSpPr>
            <p:nvPr/>
          </p:nvSpPr>
          <p:spPr bwMode="auto">
            <a:xfrm>
              <a:off x="4042" y="2731"/>
              <a:ext cx="355" cy="251"/>
            </a:xfrm>
            <a:custGeom>
              <a:avLst/>
              <a:gdLst>
                <a:gd name="T0" fmla="*/ 4623 w 324"/>
                <a:gd name="T1" fmla="*/ 2 h 324"/>
                <a:gd name="T2" fmla="*/ 4434 w 324"/>
                <a:gd name="T3" fmla="*/ 2 h 324"/>
                <a:gd name="T4" fmla="*/ 4413 w 324"/>
                <a:gd name="T5" fmla="*/ 2 h 324"/>
                <a:gd name="T6" fmla="*/ 4752 w 324"/>
                <a:gd name="T7" fmla="*/ 2 h 324"/>
                <a:gd name="T8" fmla="*/ 2506 w 324"/>
                <a:gd name="T9" fmla="*/ 2 h 324"/>
                <a:gd name="T10" fmla="*/ 261 w 324"/>
                <a:gd name="T11" fmla="*/ 2 h 324"/>
                <a:gd name="T12" fmla="*/ 2506 w 324"/>
                <a:gd name="T13" fmla="*/ 2 h 324"/>
                <a:gd name="T14" fmla="*/ 4087 w 324"/>
                <a:gd name="T15" fmla="*/ 2 h 324"/>
                <a:gd name="T16" fmla="*/ 4291 w 324"/>
                <a:gd name="T17" fmla="*/ 2 h 324"/>
                <a:gd name="T18" fmla="*/ 4291 w 324"/>
                <a:gd name="T19" fmla="*/ 2 h 324"/>
                <a:gd name="T20" fmla="*/ 2506 w 324"/>
                <a:gd name="T21" fmla="*/ 0 h 324"/>
                <a:gd name="T22" fmla="*/ 0 w 324"/>
                <a:gd name="T23" fmla="*/ 2 h 324"/>
                <a:gd name="T24" fmla="*/ 2506 w 324"/>
                <a:gd name="T25" fmla="*/ 2 h 324"/>
                <a:gd name="T26" fmla="*/ 5032 w 324"/>
                <a:gd name="T27" fmla="*/ 2 h 324"/>
                <a:gd name="T28" fmla="*/ 4623 w 324"/>
                <a:gd name="T29" fmla="*/ 2 h 324"/>
                <a:gd name="T30" fmla="*/ 2506 w 324"/>
                <a:gd name="T31" fmla="*/ 2 h 324"/>
                <a:gd name="T32" fmla="*/ 2970 w 324"/>
                <a:gd name="T33" fmla="*/ 2 h 324"/>
                <a:gd name="T34" fmla="*/ 2506 w 324"/>
                <a:gd name="T35" fmla="*/ 2 h 324"/>
                <a:gd name="T36" fmla="*/ 2062 w 324"/>
                <a:gd name="T37" fmla="*/ 2 h 324"/>
                <a:gd name="T38" fmla="*/ 2506 w 324"/>
                <a:gd name="T39" fmla="*/ 2 h 324"/>
                <a:gd name="T40" fmla="*/ 2506 w 324"/>
                <a:gd name="T41" fmla="*/ 2 h 324"/>
                <a:gd name="T42" fmla="*/ 2712 w 324"/>
                <a:gd name="T43" fmla="*/ 2 h 324"/>
                <a:gd name="T44" fmla="*/ 2506 w 324"/>
                <a:gd name="T45" fmla="*/ 2 h 324"/>
                <a:gd name="T46" fmla="*/ 2328 w 324"/>
                <a:gd name="T47" fmla="*/ 2 h 324"/>
                <a:gd name="T48" fmla="*/ 2506 w 324"/>
                <a:gd name="T49" fmla="*/ 2 h 324"/>
                <a:gd name="T50" fmla="*/ 2506 w 324"/>
                <a:gd name="T51" fmla="*/ 2 h 324"/>
                <a:gd name="T52" fmla="*/ 3368 w 324"/>
                <a:gd name="T53" fmla="*/ 2 h 324"/>
                <a:gd name="T54" fmla="*/ 2506 w 324"/>
                <a:gd name="T55" fmla="*/ 2 h 324"/>
                <a:gd name="T56" fmla="*/ 1646 w 324"/>
                <a:gd name="T57" fmla="*/ 2 h 324"/>
                <a:gd name="T58" fmla="*/ 2506 w 324"/>
                <a:gd name="T59" fmla="*/ 2 h 324"/>
                <a:gd name="T60" fmla="*/ 2506 w 324"/>
                <a:gd name="T61" fmla="*/ 2 h 324"/>
                <a:gd name="T62" fmla="*/ 3107 w 324"/>
                <a:gd name="T63" fmla="*/ 2 h 324"/>
                <a:gd name="T64" fmla="*/ 2506 w 324"/>
                <a:gd name="T65" fmla="*/ 2 h 324"/>
                <a:gd name="T66" fmla="*/ 1905 w 324"/>
                <a:gd name="T67" fmla="*/ 2 h 324"/>
                <a:gd name="T68" fmla="*/ 2506 w 324"/>
                <a:gd name="T69" fmla="*/ 2 h 324"/>
                <a:gd name="T70" fmla="*/ 954 w 324"/>
                <a:gd name="T71" fmla="*/ 2 h 324"/>
                <a:gd name="T72" fmla="*/ 779 w 324"/>
                <a:gd name="T73" fmla="*/ 2 h 324"/>
                <a:gd name="T74" fmla="*/ 451 w 324"/>
                <a:gd name="T75" fmla="*/ 2 h 324"/>
                <a:gd name="T76" fmla="*/ 1615 w 324"/>
                <a:gd name="T77" fmla="*/ 2 h 324"/>
                <a:gd name="T78" fmla="*/ 1639 w 324"/>
                <a:gd name="T79" fmla="*/ 2 h 324"/>
                <a:gd name="T80" fmla="*/ 1776 w 324"/>
                <a:gd name="T81" fmla="*/ 2 h 324"/>
                <a:gd name="T82" fmla="*/ 1718 w 324"/>
                <a:gd name="T83" fmla="*/ 2 h 324"/>
                <a:gd name="T84" fmla="*/ 712 w 324"/>
                <a:gd name="T85" fmla="*/ 2 h 324"/>
                <a:gd name="T86" fmla="*/ 995 w 324"/>
                <a:gd name="T87" fmla="*/ 2 h 324"/>
                <a:gd name="T88" fmla="*/ 954 w 324"/>
                <a:gd name="T89" fmla="*/ 2 h 324"/>
                <a:gd name="T90" fmla="*/ 1351 w 324"/>
                <a:gd name="T91" fmla="*/ 2 h 324"/>
                <a:gd name="T92" fmla="*/ 1448 w 324"/>
                <a:gd name="T93" fmla="*/ 2 h 324"/>
                <a:gd name="T94" fmla="*/ 2259 w 324"/>
                <a:gd name="T95" fmla="*/ 2 h 324"/>
                <a:gd name="T96" fmla="*/ 2372 w 324"/>
                <a:gd name="T97" fmla="*/ 2 h 324"/>
                <a:gd name="T98" fmla="*/ 2235 w 324"/>
                <a:gd name="T99" fmla="*/ 2 h 324"/>
                <a:gd name="T100" fmla="*/ 1308 w 324"/>
                <a:gd name="T101" fmla="*/ 2 h 324"/>
                <a:gd name="T102" fmla="*/ 1255 w 324"/>
                <a:gd name="T103" fmla="*/ 2 h 324"/>
                <a:gd name="T104" fmla="*/ 1351 w 324"/>
                <a:gd name="T105" fmla="*/ 2 h 3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324"/>
                <a:gd name="T160" fmla="*/ 0 h 324"/>
                <a:gd name="T161" fmla="*/ 324 w 324"/>
                <a:gd name="T162" fmla="*/ 324 h 32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324" h="324">
                  <a:moveTo>
                    <a:pt x="299" y="75"/>
                  </a:moveTo>
                  <a:cubicBezTo>
                    <a:pt x="297" y="70"/>
                    <a:pt x="291" y="69"/>
                    <a:pt x="287" y="72"/>
                  </a:cubicBezTo>
                  <a:cubicBezTo>
                    <a:pt x="283" y="75"/>
                    <a:pt x="281" y="80"/>
                    <a:pt x="284" y="84"/>
                  </a:cubicBezTo>
                  <a:cubicBezTo>
                    <a:pt x="299" y="107"/>
                    <a:pt x="307" y="133"/>
                    <a:pt x="307" y="162"/>
                  </a:cubicBezTo>
                  <a:cubicBezTo>
                    <a:pt x="307" y="241"/>
                    <a:pt x="241" y="306"/>
                    <a:pt x="162" y="306"/>
                  </a:cubicBezTo>
                  <a:cubicBezTo>
                    <a:pt x="82" y="306"/>
                    <a:pt x="17" y="241"/>
                    <a:pt x="17" y="162"/>
                  </a:cubicBezTo>
                  <a:cubicBezTo>
                    <a:pt x="17" y="82"/>
                    <a:pt x="82" y="17"/>
                    <a:pt x="162" y="17"/>
                  </a:cubicBezTo>
                  <a:cubicBezTo>
                    <a:pt x="202" y="17"/>
                    <a:pt x="238" y="33"/>
                    <a:pt x="264" y="59"/>
                  </a:cubicBezTo>
                  <a:cubicBezTo>
                    <a:pt x="268" y="62"/>
                    <a:pt x="273" y="62"/>
                    <a:pt x="277" y="59"/>
                  </a:cubicBezTo>
                  <a:cubicBezTo>
                    <a:pt x="280" y="56"/>
                    <a:pt x="280" y="50"/>
                    <a:pt x="277" y="47"/>
                  </a:cubicBezTo>
                  <a:cubicBezTo>
                    <a:pt x="247" y="17"/>
                    <a:pt x="207" y="0"/>
                    <a:pt x="162" y="0"/>
                  </a:cubicBezTo>
                  <a:cubicBezTo>
                    <a:pt x="72" y="0"/>
                    <a:pt x="0" y="72"/>
                    <a:pt x="0" y="162"/>
                  </a:cubicBezTo>
                  <a:cubicBezTo>
                    <a:pt x="0" y="251"/>
                    <a:pt x="72" y="324"/>
                    <a:pt x="162" y="324"/>
                  </a:cubicBezTo>
                  <a:cubicBezTo>
                    <a:pt x="251" y="324"/>
                    <a:pt x="324" y="251"/>
                    <a:pt x="324" y="162"/>
                  </a:cubicBezTo>
                  <a:cubicBezTo>
                    <a:pt x="324" y="130"/>
                    <a:pt x="315" y="100"/>
                    <a:pt x="299" y="75"/>
                  </a:cubicBezTo>
                  <a:close/>
                  <a:moveTo>
                    <a:pt x="162" y="191"/>
                  </a:moveTo>
                  <a:cubicBezTo>
                    <a:pt x="178" y="191"/>
                    <a:pt x="191" y="178"/>
                    <a:pt x="191" y="162"/>
                  </a:cubicBezTo>
                  <a:cubicBezTo>
                    <a:pt x="191" y="145"/>
                    <a:pt x="178" y="132"/>
                    <a:pt x="162" y="132"/>
                  </a:cubicBezTo>
                  <a:cubicBezTo>
                    <a:pt x="146" y="132"/>
                    <a:pt x="133" y="145"/>
                    <a:pt x="133" y="162"/>
                  </a:cubicBezTo>
                  <a:cubicBezTo>
                    <a:pt x="133" y="178"/>
                    <a:pt x="146" y="191"/>
                    <a:pt x="162" y="191"/>
                  </a:cubicBezTo>
                  <a:close/>
                  <a:moveTo>
                    <a:pt x="162" y="149"/>
                  </a:moveTo>
                  <a:cubicBezTo>
                    <a:pt x="169" y="149"/>
                    <a:pt x="175" y="155"/>
                    <a:pt x="175" y="162"/>
                  </a:cubicBezTo>
                  <a:cubicBezTo>
                    <a:pt x="175" y="169"/>
                    <a:pt x="169" y="175"/>
                    <a:pt x="162" y="175"/>
                  </a:cubicBezTo>
                  <a:cubicBezTo>
                    <a:pt x="155" y="175"/>
                    <a:pt x="149" y="169"/>
                    <a:pt x="149" y="162"/>
                  </a:cubicBezTo>
                  <a:cubicBezTo>
                    <a:pt x="149" y="155"/>
                    <a:pt x="155" y="149"/>
                    <a:pt x="162" y="149"/>
                  </a:cubicBezTo>
                  <a:close/>
                  <a:moveTo>
                    <a:pt x="162" y="217"/>
                  </a:moveTo>
                  <a:cubicBezTo>
                    <a:pt x="193" y="217"/>
                    <a:pt x="217" y="192"/>
                    <a:pt x="217" y="162"/>
                  </a:cubicBezTo>
                  <a:cubicBezTo>
                    <a:pt x="217" y="131"/>
                    <a:pt x="193" y="106"/>
                    <a:pt x="162" y="106"/>
                  </a:cubicBezTo>
                  <a:cubicBezTo>
                    <a:pt x="131" y="106"/>
                    <a:pt x="107" y="131"/>
                    <a:pt x="107" y="162"/>
                  </a:cubicBezTo>
                  <a:cubicBezTo>
                    <a:pt x="107" y="192"/>
                    <a:pt x="131" y="217"/>
                    <a:pt x="162" y="217"/>
                  </a:cubicBezTo>
                  <a:close/>
                  <a:moveTo>
                    <a:pt x="162" y="123"/>
                  </a:moveTo>
                  <a:cubicBezTo>
                    <a:pt x="184" y="123"/>
                    <a:pt x="201" y="140"/>
                    <a:pt x="201" y="162"/>
                  </a:cubicBezTo>
                  <a:cubicBezTo>
                    <a:pt x="201" y="183"/>
                    <a:pt x="184" y="200"/>
                    <a:pt x="162" y="201"/>
                  </a:cubicBezTo>
                  <a:cubicBezTo>
                    <a:pt x="141" y="200"/>
                    <a:pt x="123" y="183"/>
                    <a:pt x="123" y="162"/>
                  </a:cubicBezTo>
                  <a:cubicBezTo>
                    <a:pt x="123" y="140"/>
                    <a:pt x="141" y="123"/>
                    <a:pt x="162" y="123"/>
                  </a:cubicBezTo>
                  <a:close/>
                  <a:moveTo>
                    <a:pt x="62" y="89"/>
                  </a:moveTo>
                  <a:cubicBezTo>
                    <a:pt x="58" y="86"/>
                    <a:pt x="53" y="87"/>
                    <a:pt x="50" y="91"/>
                  </a:cubicBezTo>
                  <a:cubicBezTo>
                    <a:pt x="37" y="112"/>
                    <a:pt x="30" y="136"/>
                    <a:pt x="30" y="162"/>
                  </a:cubicBezTo>
                  <a:cubicBezTo>
                    <a:pt x="30" y="213"/>
                    <a:pt x="60" y="258"/>
                    <a:pt x="103" y="280"/>
                  </a:cubicBezTo>
                  <a:cubicBezTo>
                    <a:pt x="104" y="280"/>
                    <a:pt x="105" y="280"/>
                    <a:pt x="106" y="280"/>
                  </a:cubicBezTo>
                  <a:cubicBezTo>
                    <a:pt x="109" y="280"/>
                    <a:pt x="112" y="279"/>
                    <a:pt x="114" y="276"/>
                  </a:cubicBezTo>
                  <a:cubicBezTo>
                    <a:pt x="116" y="272"/>
                    <a:pt x="114" y="267"/>
                    <a:pt x="110" y="265"/>
                  </a:cubicBezTo>
                  <a:cubicBezTo>
                    <a:pt x="72" y="246"/>
                    <a:pt x="47" y="207"/>
                    <a:pt x="47" y="162"/>
                  </a:cubicBezTo>
                  <a:cubicBezTo>
                    <a:pt x="47" y="139"/>
                    <a:pt x="53" y="118"/>
                    <a:pt x="64" y="100"/>
                  </a:cubicBezTo>
                  <a:cubicBezTo>
                    <a:pt x="67" y="96"/>
                    <a:pt x="66" y="91"/>
                    <a:pt x="62" y="89"/>
                  </a:cubicBezTo>
                  <a:close/>
                  <a:moveTo>
                    <a:pt x="88" y="70"/>
                  </a:moveTo>
                  <a:cubicBezTo>
                    <a:pt x="90" y="70"/>
                    <a:pt x="92" y="70"/>
                    <a:pt x="93" y="69"/>
                  </a:cubicBezTo>
                  <a:cubicBezTo>
                    <a:pt x="109" y="58"/>
                    <a:pt x="127" y="50"/>
                    <a:pt x="146" y="47"/>
                  </a:cubicBezTo>
                  <a:cubicBezTo>
                    <a:pt x="151" y="47"/>
                    <a:pt x="154" y="42"/>
                    <a:pt x="153" y="38"/>
                  </a:cubicBezTo>
                  <a:cubicBezTo>
                    <a:pt x="153" y="33"/>
                    <a:pt x="148" y="30"/>
                    <a:pt x="144" y="31"/>
                  </a:cubicBezTo>
                  <a:cubicBezTo>
                    <a:pt x="121" y="34"/>
                    <a:pt x="101" y="43"/>
                    <a:pt x="84" y="56"/>
                  </a:cubicBezTo>
                  <a:cubicBezTo>
                    <a:pt x="80" y="58"/>
                    <a:pt x="79" y="63"/>
                    <a:pt x="82" y="67"/>
                  </a:cubicBezTo>
                  <a:cubicBezTo>
                    <a:pt x="83" y="69"/>
                    <a:pt x="86" y="70"/>
                    <a:pt x="88" y="70"/>
                  </a:cubicBezTo>
                  <a:close/>
                </a:path>
              </a:pathLst>
            </a:custGeom>
            <a:blipFill dpi="0" rotWithShape="0">
              <a:blip r:embed="rId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1429" tIns="45715" rIns="91429" bIns="45715"/>
            <a:lstStyle/>
            <a:p>
              <a:endParaRPr lang="en-US"/>
            </a:p>
          </p:txBody>
        </p:sp>
        <p:sp>
          <p:nvSpPr>
            <p:cNvPr id="9230" name="Freeform 8" descr="bpct-blend3"/>
            <p:cNvSpPr>
              <a:spLocks noChangeAspect="1" noEditPoints="1"/>
            </p:cNvSpPr>
            <p:nvPr/>
          </p:nvSpPr>
          <p:spPr bwMode="auto">
            <a:xfrm>
              <a:off x="4065" y="3124"/>
              <a:ext cx="309" cy="351"/>
            </a:xfrm>
            <a:custGeom>
              <a:avLst/>
              <a:gdLst>
                <a:gd name="T0" fmla="*/ 2147483647 w 255"/>
                <a:gd name="T1" fmla="*/ 17547970 h 412"/>
                <a:gd name="T2" fmla="*/ 2147483647 w 255"/>
                <a:gd name="T3" fmla="*/ 17547970 h 412"/>
                <a:gd name="T4" fmla="*/ 2147483647 w 255"/>
                <a:gd name="T5" fmla="*/ 17547970 h 412"/>
                <a:gd name="T6" fmla="*/ 2147483647 w 255"/>
                <a:gd name="T7" fmla="*/ 17547970 h 412"/>
                <a:gd name="T8" fmla="*/ 2147483647 w 255"/>
                <a:gd name="T9" fmla="*/ 17547970 h 412"/>
                <a:gd name="T10" fmla="*/ 2147483647 w 255"/>
                <a:gd name="T11" fmla="*/ 17547970 h 412"/>
                <a:gd name="T12" fmla="*/ 2147483647 w 255"/>
                <a:gd name="T13" fmla="*/ 17547970 h 412"/>
                <a:gd name="T14" fmla="*/ 2147483647 w 255"/>
                <a:gd name="T15" fmla="*/ 17547970 h 412"/>
                <a:gd name="T16" fmla="*/ 2147483647 w 255"/>
                <a:gd name="T17" fmla="*/ 17547970 h 412"/>
                <a:gd name="T18" fmla="*/ 2147483647 w 255"/>
                <a:gd name="T19" fmla="*/ 17547970 h 412"/>
                <a:gd name="T20" fmla="*/ 2147483647 w 255"/>
                <a:gd name="T21" fmla="*/ 17547970 h 412"/>
                <a:gd name="T22" fmla="*/ 2147483647 w 255"/>
                <a:gd name="T23" fmla="*/ 17547970 h 412"/>
                <a:gd name="T24" fmla="*/ 2147483647 w 255"/>
                <a:gd name="T25" fmla="*/ 17547970 h 412"/>
                <a:gd name="T26" fmla="*/ 2147483647 w 255"/>
                <a:gd name="T27" fmla="*/ 17547970 h 412"/>
                <a:gd name="T28" fmla="*/ 2147483647 w 255"/>
                <a:gd name="T29" fmla="*/ 17547970 h 412"/>
                <a:gd name="T30" fmla="*/ 2147483647 w 255"/>
                <a:gd name="T31" fmla="*/ 17547970 h 412"/>
                <a:gd name="T32" fmla="*/ 2147483647 w 255"/>
                <a:gd name="T33" fmla="*/ 17547970 h 412"/>
                <a:gd name="T34" fmla="*/ 2147483647 w 255"/>
                <a:gd name="T35" fmla="*/ 17547970 h 412"/>
                <a:gd name="T36" fmla="*/ 2147483647 w 255"/>
                <a:gd name="T37" fmla="*/ 17547970 h 412"/>
                <a:gd name="T38" fmla="*/ 2147483647 w 255"/>
                <a:gd name="T39" fmla="*/ 17547970 h 412"/>
                <a:gd name="T40" fmla="*/ 2147483647 w 255"/>
                <a:gd name="T41" fmla="*/ 17547970 h 412"/>
                <a:gd name="T42" fmla="*/ 2147483647 w 255"/>
                <a:gd name="T43" fmla="*/ 15390778 h 412"/>
                <a:gd name="T44" fmla="*/ 2147483647 w 255"/>
                <a:gd name="T45" fmla="*/ 17547970 h 412"/>
                <a:gd name="T46" fmla="*/ 2147483647 w 255"/>
                <a:gd name="T47" fmla="*/ 17547970 h 412"/>
                <a:gd name="T48" fmla="*/ 2147483647 w 255"/>
                <a:gd name="T49" fmla="*/ 17547970 h 412"/>
                <a:gd name="T50" fmla="*/ 2147483647 w 255"/>
                <a:gd name="T51" fmla="*/ 17228486 h 412"/>
                <a:gd name="T52" fmla="*/ 2147483647 w 255"/>
                <a:gd name="T53" fmla="*/ 11026214 h 412"/>
                <a:gd name="T54" fmla="*/ 2147483647 w 255"/>
                <a:gd name="T55" fmla="*/ 11026214 h 412"/>
                <a:gd name="T56" fmla="*/ 2147483647 w 255"/>
                <a:gd name="T57" fmla="*/ 14127366 h 412"/>
                <a:gd name="T58" fmla="*/ 2147483647 w 255"/>
                <a:gd name="T59" fmla="*/ 12289658 h 412"/>
                <a:gd name="T60" fmla="*/ 2147483647 w 255"/>
                <a:gd name="T61" fmla="*/ 11141099 h 412"/>
                <a:gd name="T62" fmla="*/ 2147483647 w 255"/>
                <a:gd name="T63" fmla="*/ 12289658 h 412"/>
                <a:gd name="T64" fmla="*/ 2147483647 w 255"/>
                <a:gd name="T65" fmla="*/ 3330826 h 412"/>
                <a:gd name="T66" fmla="*/ 2147483647 w 255"/>
                <a:gd name="T67" fmla="*/ 8039948 h 412"/>
                <a:gd name="T68" fmla="*/ 2147483647 w 255"/>
                <a:gd name="T69" fmla="*/ 5053680 h 412"/>
                <a:gd name="T70" fmla="*/ 2147483647 w 255"/>
                <a:gd name="T71" fmla="*/ 6202241 h 412"/>
                <a:gd name="T72" fmla="*/ 2147483647 w 255"/>
                <a:gd name="T73" fmla="*/ 5168533 h 412"/>
                <a:gd name="T74" fmla="*/ 2147483647 w 255"/>
                <a:gd name="T75" fmla="*/ 11715363 h 412"/>
                <a:gd name="T76" fmla="*/ 2147483647 w 255"/>
                <a:gd name="T77" fmla="*/ 10107361 h 412"/>
                <a:gd name="T78" fmla="*/ 2147483647 w 255"/>
                <a:gd name="T79" fmla="*/ 7350830 h 412"/>
                <a:gd name="T80" fmla="*/ 2147483647 w 255"/>
                <a:gd name="T81" fmla="*/ 16079927 h 412"/>
                <a:gd name="T82" fmla="*/ 2147483647 w 255"/>
                <a:gd name="T83" fmla="*/ 17547970 h 412"/>
                <a:gd name="T84" fmla="*/ 2147483647 w 255"/>
                <a:gd name="T85" fmla="*/ 17547970 h 412"/>
                <a:gd name="T86" fmla="*/ 2147483647 w 255"/>
                <a:gd name="T87" fmla="*/ 17547970 h 412"/>
                <a:gd name="T88" fmla="*/ 2147483647 w 255"/>
                <a:gd name="T89" fmla="*/ 17547970 h 412"/>
                <a:gd name="T90" fmla="*/ 2147483647 w 255"/>
                <a:gd name="T91" fmla="*/ 17547970 h 412"/>
                <a:gd name="T92" fmla="*/ 2147483647 w 255"/>
                <a:gd name="T93" fmla="*/ 17547970 h 412"/>
                <a:gd name="T94" fmla="*/ 2147483647 w 255"/>
                <a:gd name="T95" fmla="*/ 17547970 h 412"/>
                <a:gd name="T96" fmla="*/ 2147483647 w 255"/>
                <a:gd name="T97" fmla="*/ 17547970 h 412"/>
                <a:gd name="T98" fmla="*/ 2147483647 w 255"/>
                <a:gd name="T99" fmla="*/ 1837707 h 412"/>
                <a:gd name="T100" fmla="*/ 0 w 255"/>
                <a:gd name="T101" fmla="*/ 1837707 h 412"/>
                <a:gd name="T102" fmla="*/ 2147483647 w 255"/>
                <a:gd name="T103" fmla="*/ 17547970 h 412"/>
                <a:gd name="T104" fmla="*/ 2147483647 w 255"/>
                <a:gd name="T105" fmla="*/ 5972535 h 412"/>
                <a:gd name="T106" fmla="*/ 2147483647 w 255"/>
                <a:gd name="T107" fmla="*/ 17547970 h 412"/>
                <a:gd name="T108" fmla="*/ 2147483647 w 255"/>
                <a:gd name="T109" fmla="*/ 1837707 h 412"/>
                <a:gd name="T110" fmla="*/ 2147483647 w 255"/>
                <a:gd name="T111" fmla="*/ 5053680 h 41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55"/>
                <a:gd name="T169" fmla="*/ 0 h 412"/>
                <a:gd name="T170" fmla="*/ 255 w 255"/>
                <a:gd name="T171" fmla="*/ 412 h 41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55" h="412">
                  <a:moveTo>
                    <a:pt x="169" y="344"/>
                  </a:moveTo>
                  <a:cubicBezTo>
                    <a:pt x="45" y="344"/>
                    <a:pt x="45" y="344"/>
                    <a:pt x="45" y="344"/>
                  </a:cubicBezTo>
                  <a:cubicBezTo>
                    <a:pt x="37" y="344"/>
                    <a:pt x="30" y="349"/>
                    <a:pt x="29" y="358"/>
                  </a:cubicBezTo>
                  <a:cubicBezTo>
                    <a:pt x="29" y="370"/>
                    <a:pt x="29" y="370"/>
                    <a:pt x="29" y="370"/>
                  </a:cubicBezTo>
                  <a:cubicBezTo>
                    <a:pt x="30" y="380"/>
                    <a:pt x="37" y="385"/>
                    <a:pt x="45" y="385"/>
                  </a:cubicBezTo>
                  <a:cubicBezTo>
                    <a:pt x="169" y="385"/>
                    <a:pt x="169" y="385"/>
                    <a:pt x="169" y="385"/>
                  </a:cubicBezTo>
                  <a:cubicBezTo>
                    <a:pt x="177" y="385"/>
                    <a:pt x="185" y="380"/>
                    <a:pt x="185" y="370"/>
                  </a:cubicBezTo>
                  <a:cubicBezTo>
                    <a:pt x="185" y="358"/>
                    <a:pt x="185" y="358"/>
                    <a:pt x="185" y="358"/>
                  </a:cubicBezTo>
                  <a:cubicBezTo>
                    <a:pt x="184" y="349"/>
                    <a:pt x="177" y="344"/>
                    <a:pt x="169" y="344"/>
                  </a:cubicBezTo>
                  <a:close/>
                  <a:moveTo>
                    <a:pt x="169" y="369"/>
                  </a:moveTo>
                  <a:cubicBezTo>
                    <a:pt x="45" y="369"/>
                    <a:pt x="45" y="369"/>
                    <a:pt x="45" y="369"/>
                  </a:cubicBezTo>
                  <a:cubicBezTo>
                    <a:pt x="45" y="369"/>
                    <a:pt x="45" y="369"/>
                    <a:pt x="45" y="369"/>
                  </a:cubicBezTo>
                  <a:cubicBezTo>
                    <a:pt x="45" y="360"/>
                    <a:pt x="45" y="360"/>
                    <a:pt x="45" y="360"/>
                  </a:cubicBezTo>
                  <a:cubicBezTo>
                    <a:pt x="45" y="360"/>
                    <a:pt x="45" y="360"/>
                    <a:pt x="45" y="360"/>
                  </a:cubicBezTo>
                  <a:cubicBezTo>
                    <a:pt x="169" y="360"/>
                    <a:pt x="169" y="360"/>
                    <a:pt x="169" y="360"/>
                  </a:cubicBezTo>
                  <a:lnTo>
                    <a:pt x="169" y="369"/>
                  </a:lnTo>
                  <a:close/>
                  <a:moveTo>
                    <a:pt x="185" y="306"/>
                  </a:moveTo>
                  <a:cubicBezTo>
                    <a:pt x="185" y="297"/>
                    <a:pt x="177" y="291"/>
                    <a:pt x="169" y="291"/>
                  </a:cubicBezTo>
                  <a:cubicBezTo>
                    <a:pt x="45" y="291"/>
                    <a:pt x="45" y="291"/>
                    <a:pt x="45" y="291"/>
                  </a:cubicBezTo>
                  <a:cubicBezTo>
                    <a:pt x="37" y="291"/>
                    <a:pt x="30" y="297"/>
                    <a:pt x="29" y="306"/>
                  </a:cubicBezTo>
                  <a:cubicBezTo>
                    <a:pt x="29" y="318"/>
                    <a:pt x="29" y="318"/>
                    <a:pt x="29" y="318"/>
                  </a:cubicBezTo>
                  <a:cubicBezTo>
                    <a:pt x="30" y="327"/>
                    <a:pt x="37" y="333"/>
                    <a:pt x="45" y="333"/>
                  </a:cubicBezTo>
                  <a:cubicBezTo>
                    <a:pt x="169" y="333"/>
                    <a:pt x="169" y="333"/>
                    <a:pt x="169" y="333"/>
                  </a:cubicBezTo>
                  <a:cubicBezTo>
                    <a:pt x="177" y="333"/>
                    <a:pt x="184" y="327"/>
                    <a:pt x="185" y="318"/>
                  </a:cubicBezTo>
                  <a:lnTo>
                    <a:pt x="185" y="306"/>
                  </a:lnTo>
                  <a:close/>
                  <a:moveTo>
                    <a:pt x="169" y="317"/>
                  </a:moveTo>
                  <a:cubicBezTo>
                    <a:pt x="45" y="317"/>
                    <a:pt x="45" y="317"/>
                    <a:pt x="45" y="317"/>
                  </a:cubicBezTo>
                  <a:cubicBezTo>
                    <a:pt x="45" y="317"/>
                    <a:pt x="45" y="317"/>
                    <a:pt x="45" y="317"/>
                  </a:cubicBezTo>
                  <a:cubicBezTo>
                    <a:pt x="45" y="307"/>
                    <a:pt x="45" y="307"/>
                    <a:pt x="45" y="307"/>
                  </a:cubicBezTo>
                  <a:cubicBezTo>
                    <a:pt x="45" y="307"/>
                    <a:pt x="45" y="307"/>
                    <a:pt x="45" y="307"/>
                  </a:cubicBezTo>
                  <a:cubicBezTo>
                    <a:pt x="169" y="307"/>
                    <a:pt x="169" y="307"/>
                    <a:pt x="169" y="307"/>
                  </a:cubicBezTo>
                  <a:lnTo>
                    <a:pt x="169" y="317"/>
                  </a:lnTo>
                  <a:close/>
                  <a:moveTo>
                    <a:pt x="185" y="253"/>
                  </a:moveTo>
                  <a:cubicBezTo>
                    <a:pt x="184" y="244"/>
                    <a:pt x="177" y="239"/>
                    <a:pt x="169" y="239"/>
                  </a:cubicBezTo>
                  <a:cubicBezTo>
                    <a:pt x="45" y="239"/>
                    <a:pt x="45" y="239"/>
                    <a:pt x="45" y="239"/>
                  </a:cubicBezTo>
                  <a:cubicBezTo>
                    <a:pt x="37" y="239"/>
                    <a:pt x="30" y="244"/>
                    <a:pt x="29" y="253"/>
                  </a:cubicBezTo>
                  <a:cubicBezTo>
                    <a:pt x="29" y="265"/>
                    <a:pt x="29" y="265"/>
                    <a:pt x="29" y="265"/>
                  </a:cubicBezTo>
                  <a:cubicBezTo>
                    <a:pt x="30" y="275"/>
                    <a:pt x="37" y="280"/>
                    <a:pt x="45" y="280"/>
                  </a:cubicBezTo>
                  <a:cubicBezTo>
                    <a:pt x="169" y="280"/>
                    <a:pt x="169" y="280"/>
                    <a:pt x="169" y="280"/>
                  </a:cubicBezTo>
                  <a:cubicBezTo>
                    <a:pt x="177" y="280"/>
                    <a:pt x="185" y="275"/>
                    <a:pt x="185" y="265"/>
                  </a:cubicBezTo>
                  <a:lnTo>
                    <a:pt x="185" y="253"/>
                  </a:lnTo>
                  <a:close/>
                  <a:moveTo>
                    <a:pt x="169" y="264"/>
                  </a:moveTo>
                  <a:cubicBezTo>
                    <a:pt x="45" y="264"/>
                    <a:pt x="45" y="264"/>
                    <a:pt x="45" y="264"/>
                  </a:cubicBezTo>
                  <a:cubicBezTo>
                    <a:pt x="45" y="264"/>
                    <a:pt x="45" y="264"/>
                    <a:pt x="45" y="264"/>
                  </a:cubicBezTo>
                  <a:cubicBezTo>
                    <a:pt x="45" y="255"/>
                    <a:pt x="45" y="255"/>
                    <a:pt x="45" y="255"/>
                  </a:cubicBezTo>
                  <a:cubicBezTo>
                    <a:pt x="45" y="255"/>
                    <a:pt x="45" y="255"/>
                    <a:pt x="45" y="255"/>
                  </a:cubicBezTo>
                  <a:cubicBezTo>
                    <a:pt x="169" y="255"/>
                    <a:pt x="169" y="255"/>
                    <a:pt x="169" y="255"/>
                  </a:cubicBezTo>
                  <a:lnTo>
                    <a:pt x="169" y="264"/>
                  </a:lnTo>
                  <a:close/>
                  <a:moveTo>
                    <a:pt x="185" y="201"/>
                  </a:moveTo>
                  <a:cubicBezTo>
                    <a:pt x="185" y="192"/>
                    <a:pt x="177" y="186"/>
                    <a:pt x="169" y="18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37" y="186"/>
                    <a:pt x="30" y="192"/>
                    <a:pt x="29" y="201"/>
                  </a:cubicBezTo>
                  <a:cubicBezTo>
                    <a:pt x="29" y="213"/>
                    <a:pt x="29" y="213"/>
                    <a:pt x="29" y="213"/>
                  </a:cubicBezTo>
                  <a:cubicBezTo>
                    <a:pt x="30" y="222"/>
                    <a:pt x="37" y="228"/>
                    <a:pt x="45" y="228"/>
                  </a:cubicBezTo>
                  <a:cubicBezTo>
                    <a:pt x="169" y="228"/>
                    <a:pt x="169" y="228"/>
                    <a:pt x="169" y="228"/>
                  </a:cubicBezTo>
                  <a:cubicBezTo>
                    <a:pt x="177" y="228"/>
                    <a:pt x="184" y="222"/>
                    <a:pt x="185" y="213"/>
                  </a:cubicBezTo>
                  <a:lnTo>
                    <a:pt x="185" y="201"/>
                  </a:lnTo>
                  <a:close/>
                  <a:moveTo>
                    <a:pt x="169" y="212"/>
                  </a:moveTo>
                  <a:cubicBezTo>
                    <a:pt x="45" y="212"/>
                    <a:pt x="45" y="212"/>
                    <a:pt x="45" y="212"/>
                  </a:cubicBezTo>
                  <a:cubicBezTo>
                    <a:pt x="45" y="212"/>
                    <a:pt x="45" y="212"/>
                    <a:pt x="45" y="212"/>
                  </a:cubicBezTo>
                  <a:cubicBezTo>
                    <a:pt x="45" y="202"/>
                    <a:pt x="45" y="202"/>
                    <a:pt x="45" y="202"/>
                  </a:cubicBezTo>
                  <a:cubicBezTo>
                    <a:pt x="45" y="202"/>
                    <a:pt x="45" y="202"/>
                    <a:pt x="45" y="202"/>
                  </a:cubicBezTo>
                  <a:cubicBezTo>
                    <a:pt x="169" y="202"/>
                    <a:pt x="169" y="202"/>
                    <a:pt x="169" y="202"/>
                  </a:cubicBezTo>
                  <a:lnTo>
                    <a:pt x="169" y="212"/>
                  </a:lnTo>
                  <a:close/>
                  <a:moveTo>
                    <a:pt x="185" y="148"/>
                  </a:moveTo>
                  <a:cubicBezTo>
                    <a:pt x="184" y="139"/>
                    <a:pt x="177" y="134"/>
                    <a:pt x="169" y="134"/>
                  </a:cubicBezTo>
                  <a:cubicBezTo>
                    <a:pt x="45" y="134"/>
                    <a:pt x="45" y="134"/>
                    <a:pt x="45" y="134"/>
                  </a:cubicBezTo>
                  <a:cubicBezTo>
                    <a:pt x="37" y="134"/>
                    <a:pt x="30" y="139"/>
                    <a:pt x="29" y="148"/>
                  </a:cubicBezTo>
                  <a:cubicBezTo>
                    <a:pt x="29" y="161"/>
                    <a:pt x="29" y="161"/>
                    <a:pt x="29" y="161"/>
                  </a:cubicBezTo>
                  <a:cubicBezTo>
                    <a:pt x="30" y="170"/>
                    <a:pt x="37" y="175"/>
                    <a:pt x="45" y="175"/>
                  </a:cubicBezTo>
                  <a:cubicBezTo>
                    <a:pt x="169" y="175"/>
                    <a:pt x="169" y="175"/>
                    <a:pt x="169" y="175"/>
                  </a:cubicBezTo>
                  <a:cubicBezTo>
                    <a:pt x="177" y="175"/>
                    <a:pt x="185" y="170"/>
                    <a:pt x="185" y="161"/>
                  </a:cubicBezTo>
                  <a:lnTo>
                    <a:pt x="185" y="148"/>
                  </a:lnTo>
                  <a:close/>
                  <a:moveTo>
                    <a:pt x="169" y="159"/>
                  </a:moveTo>
                  <a:cubicBezTo>
                    <a:pt x="45" y="159"/>
                    <a:pt x="45" y="159"/>
                    <a:pt x="45" y="159"/>
                  </a:cubicBezTo>
                  <a:cubicBezTo>
                    <a:pt x="45" y="159"/>
                    <a:pt x="45" y="159"/>
                    <a:pt x="45" y="159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169" y="150"/>
                    <a:pt x="169" y="150"/>
                    <a:pt x="169" y="150"/>
                  </a:cubicBezTo>
                  <a:lnTo>
                    <a:pt x="169" y="159"/>
                  </a:lnTo>
                  <a:close/>
                  <a:moveTo>
                    <a:pt x="185" y="96"/>
                  </a:moveTo>
                  <a:cubicBezTo>
                    <a:pt x="185" y="87"/>
                    <a:pt x="177" y="81"/>
                    <a:pt x="169" y="81"/>
                  </a:cubicBezTo>
                  <a:cubicBezTo>
                    <a:pt x="45" y="81"/>
                    <a:pt x="45" y="81"/>
                    <a:pt x="45" y="81"/>
                  </a:cubicBezTo>
                  <a:cubicBezTo>
                    <a:pt x="37" y="81"/>
                    <a:pt x="30" y="87"/>
                    <a:pt x="29" y="96"/>
                  </a:cubicBezTo>
                  <a:cubicBezTo>
                    <a:pt x="29" y="108"/>
                    <a:pt x="29" y="108"/>
                    <a:pt x="29" y="108"/>
                  </a:cubicBezTo>
                  <a:cubicBezTo>
                    <a:pt x="30" y="117"/>
                    <a:pt x="37" y="123"/>
                    <a:pt x="45" y="123"/>
                  </a:cubicBezTo>
                  <a:cubicBezTo>
                    <a:pt x="169" y="123"/>
                    <a:pt x="169" y="123"/>
                    <a:pt x="169" y="123"/>
                  </a:cubicBezTo>
                  <a:cubicBezTo>
                    <a:pt x="177" y="123"/>
                    <a:pt x="184" y="117"/>
                    <a:pt x="185" y="108"/>
                  </a:cubicBezTo>
                  <a:lnTo>
                    <a:pt x="185" y="96"/>
                  </a:lnTo>
                  <a:close/>
                  <a:moveTo>
                    <a:pt x="169" y="107"/>
                  </a:moveTo>
                  <a:cubicBezTo>
                    <a:pt x="45" y="107"/>
                    <a:pt x="45" y="107"/>
                    <a:pt x="45" y="107"/>
                  </a:cubicBezTo>
                  <a:cubicBezTo>
                    <a:pt x="45" y="107"/>
                    <a:pt x="45" y="107"/>
                    <a:pt x="45" y="107"/>
                  </a:cubicBezTo>
                  <a:cubicBezTo>
                    <a:pt x="45" y="97"/>
                    <a:pt x="45" y="97"/>
                    <a:pt x="45" y="97"/>
                  </a:cubicBezTo>
                  <a:cubicBezTo>
                    <a:pt x="45" y="97"/>
                    <a:pt x="45" y="97"/>
                    <a:pt x="45" y="97"/>
                  </a:cubicBezTo>
                  <a:cubicBezTo>
                    <a:pt x="169" y="97"/>
                    <a:pt x="169" y="97"/>
                    <a:pt x="169" y="97"/>
                  </a:cubicBezTo>
                  <a:lnTo>
                    <a:pt x="169" y="107"/>
                  </a:lnTo>
                  <a:close/>
                  <a:moveTo>
                    <a:pt x="185" y="44"/>
                  </a:moveTo>
                  <a:cubicBezTo>
                    <a:pt x="184" y="34"/>
                    <a:pt x="177" y="29"/>
                    <a:pt x="169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37" y="29"/>
                    <a:pt x="30" y="34"/>
                    <a:pt x="29" y="44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30" y="65"/>
                    <a:pt x="37" y="70"/>
                    <a:pt x="45" y="70"/>
                  </a:cubicBezTo>
                  <a:cubicBezTo>
                    <a:pt x="169" y="70"/>
                    <a:pt x="169" y="70"/>
                    <a:pt x="169" y="70"/>
                  </a:cubicBezTo>
                  <a:cubicBezTo>
                    <a:pt x="177" y="70"/>
                    <a:pt x="185" y="65"/>
                    <a:pt x="185" y="56"/>
                  </a:cubicBezTo>
                  <a:lnTo>
                    <a:pt x="185" y="44"/>
                  </a:lnTo>
                  <a:close/>
                  <a:moveTo>
                    <a:pt x="169" y="54"/>
                  </a:moveTo>
                  <a:cubicBezTo>
                    <a:pt x="45" y="54"/>
                    <a:pt x="45" y="54"/>
                    <a:pt x="45" y="54"/>
                  </a:cubicBezTo>
                  <a:cubicBezTo>
                    <a:pt x="45" y="54"/>
                    <a:pt x="45" y="54"/>
                    <a:pt x="45" y="54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169" y="45"/>
                    <a:pt x="169" y="45"/>
                    <a:pt x="169" y="45"/>
                  </a:cubicBezTo>
                  <a:lnTo>
                    <a:pt x="169" y="54"/>
                  </a:lnTo>
                  <a:close/>
                  <a:moveTo>
                    <a:pt x="212" y="88"/>
                  </a:moveTo>
                  <a:cubicBezTo>
                    <a:pt x="204" y="88"/>
                    <a:pt x="198" y="94"/>
                    <a:pt x="198" y="102"/>
                  </a:cubicBezTo>
                  <a:cubicBezTo>
                    <a:pt x="198" y="110"/>
                    <a:pt x="204" y="116"/>
                    <a:pt x="212" y="116"/>
                  </a:cubicBezTo>
                  <a:cubicBezTo>
                    <a:pt x="220" y="116"/>
                    <a:pt x="226" y="110"/>
                    <a:pt x="226" y="102"/>
                  </a:cubicBezTo>
                  <a:cubicBezTo>
                    <a:pt x="226" y="94"/>
                    <a:pt x="220" y="88"/>
                    <a:pt x="212" y="88"/>
                  </a:cubicBezTo>
                  <a:close/>
                  <a:moveTo>
                    <a:pt x="212" y="35"/>
                  </a:moveTo>
                  <a:cubicBezTo>
                    <a:pt x="204" y="35"/>
                    <a:pt x="198" y="42"/>
                    <a:pt x="198" y="50"/>
                  </a:cubicBezTo>
                  <a:cubicBezTo>
                    <a:pt x="198" y="57"/>
                    <a:pt x="204" y="64"/>
                    <a:pt x="212" y="64"/>
                  </a:cubicBezTo>
                  <a:cubicBezTo>
                    <a:pt x="220" y="64"/>
                    <a:pt x="226" y="57"/>
                    <a:pt x="226" y="50"/>
                  </a:cubicBezTo>
                  <a:cubicBezTo>
                    <a:pt x="226" y="42"/>
                    <a:pt x="220" y="35"/>
                    <a:pt x="212" y="35"/>
                  </a:cubicBezTo>
                  <a:close/>
                  <a:moveTo>
                    <a:pt x="212" y="140"/>
                  </a:moveTo>
                  <a:cubicBezTo>
                    <a:pt x="204" y="140"/>
                    <a:pt x="198" y="147"/>
                    <a:pt x="198" y="155"/>
                  </a:cubicBezTo>
                  <a:cubicBezTo>
                    <a:pt x="198" y="162"/>
                    <a:pt x="204" y="169"/>
                    <a:pt x="212" y="169"/>
                  </a:cubicBezTo>
                  <a:cubicBezTo>
                    <a:pt x="220" y="169"/>
                    <a:pt x="226" y="162"/>
                    <a:pt x="226" y="155"/>
                  </a:cubicBezTo>
                  <a:cubicBezTo>
                    <a:pt x="226" y="147"/>
                    <a:pt x="220" y="140"/>
                    <a:pt x="212" y="140"/>
                  </a:cubicBezTo>
                  <a:close/>
                  <a:moveTo>
                    <a:pt x="212" y="193"/>
                  </a:moveTo>
                  <a:cubicBezTo>
                    <a:pt x="204" y="193"/>
                    <a:pt x="198" y="199"/>
                    <a:pt x="198" y="207"/>
                  </a:cubicBezTo>
                  <a:cubicBezTo>
                    <a:pt x="198" y="215"/>
                    <a:pt x="204" y="221"/>
                    <a:pt x="212" y="221"/>
                  </a:cubicBezTo>
                  <a:cubicBezTo>
                    <a:pt x="220" y="221"/>
                    <a:pt x="226" y="215"/>
                    <a:pt x="226" y="207"/>
                  </a:cubicBezTo>
                  <a:cubicBezTo>
                    <a:pt x="226" y="199"/>
                    <a:pt x="220" y="193"/>
                    <a:pt x="212" y="193"/>
                  </a:cubicBezTo>
                  <a:close/>
                  <a:moveTo>
                    <a:pt x="212" y="245"/>
                  </a:moveTo>
                  <a:cubicBezTo>
                    <a:pt x="204" y="245"/>
                    <a:pt x="198" y="252"/>
                    <a:pt x="198" y="259"/>
                  </a:cubicBezTo>
                  <a:cubicBezTo>
                    <a:pt x="198" y="267"/>
                    <a:pt x="204" y="274"/>
                    <a:pt x="212" y="274"/>
                  </a:cubicBezTo>
                  <a:cubicBezTo>
                    <a:pt x="220" y="274"/>
                    <a:pt x="226" y="267"/>
                    <a:pt x="226" y="259"/>
                  </a:cubicBezTo>
                  <a:cubicBezTo>
                    <a:pt x="226" y="252"/>
                    <a:pt x="220" y="245"/>
                    <a:pt x="212" y="245"/>
                  </a:cubicBezTo>
                  <a:close/>
                  <a:moveTo>
                    <a:pt x="212" y="298"/>
                  </a:moveTo>
                  <a:cubicBezTo>
                    <a:pt x="204" y="298"/>
                    <a:pt x="198" y="304"/>
                    <a:pt x="198" y="312"/>
                  </a:cubicBezTo>
                  <a:cubicBezTo>
                    <a:pt x="198" y="320"/>
                    <a:pt x="204" y="326"/>
                    <a:pt x="212" y="326"/>
                  </a:cubicBezTo>
                  <a:cubicBezTo>
                    <a:pt x="220" y="326"/>
                    <a:pt x="226" y="320"/>
                    <a:pt x="226" y="312"/>
                  </a:cubicBezTo>
                  <a:cubicBezTo>
                    <a:pt x="226" y="304"/>
                    <a:pt x="220" y="298"/>
                    <a:pt x="212" y="298"/>
                  </a:cubicBezTo>
                  <a:close/>
                  <a:moveTo>
                    <a:pt x="212" y="350"/>
                  </a:moveTo>
                  <a:cubicBezTo>
                    <a:pt x="204" y="350"/>
                    <a:pt x="198" y="356"/>
                    <a:pt x="198" y="364"/>
                  </a:cubicBezTo>
                  <a:cubicBezTo>
                    <a:pt x="198" y="372"/>
                    <a:pt x="204" y="379"/>
                    <a:pt x="212" y="379"/>
                  </a:cubicBezTo>
                  <a:cubicBezTo>
                    <a:pt x="220" y="379"/>
                    <a:pt x="226" y="372"/>
                    <a:pt x="226" y="364"/>
                  </a:cubicBezTo>
                  <a:cubicBezTo>
                    <a:pt x="226" y="356"/>
                    <a:pt x="220" y="350"/>
                    <a:pt x="212" y="350"/>
                  </a:cubicBezTo>
                  <a:close/>
                  <a:moveTo>
                    <a:pt x="247" y="44"/>
                  </a:moveTo>
                  <a:cubicBezTo>
                    <a:pt x="251" y="44"/>
                    <a:pt x="255" y="41"/>
                    <a:pt x="255" y="36"/>
                  </a:cubicBezTo>
                  <a:cubicBezTo>
                    <a:pt x="255" y="16"/>
                    <a:pt x="255" y="16"/>
                    <a:pt x="255" y="16"/>
                  </a:cubicBezTo>
                  <a:cubicBezTo>
                    <a:pt x="255" y="7"/>
                    <a:pt x="248" y="0"/>
                    <a:pt x="23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96"/>
                    <a:pt x="0" y="396"/>
                    <a:pt x="0" y="396"/>
                  </a:cubicBezTo>
                  <a:cubicBezTo>
                    <a:pt x="0" y="405"/>
                    <a:pt x="7" y="412"/>
                    <a:pt x="16" y="412"/>
                  </a:cubicBezTo>
                  <a:cubicBezTo>
                    <a:pt x="239" y="412"/>
                    <a:pt x="239" y="412"/>
                    <a:pt x="239" y="412"/>
                  </a:cubicBezTo>
                  <a:cubicBezTo>
                    <a:pt x="248" y="412"/>
                    <a:pt x="255" y="405"/>
                    <a:pt x="255" y="396"/>
                  </a:cubicBezTo>
                  <a:cubicBezTo>
                    <a:pt x="255" y="60"/>
                    <a:pt x="255" y="60"/>
                    <a:pt x="255" y="60"/>
                  </a:cubicBezTo>
                  <a:cubicBezTo>
                    <a:pt x="255" y="56"/>
                    <a:pt x="251" y="52"/>
                    <a:pt x="247" y="52"/>
                  </a:cubicBezTo>
                  <a:cubicBezTo>
                    <a:pt x="242" y="52"/>
                    <a:pt x="239" y="56"/>
                    <a:pt x="239" y="60"/>
                  </a:cubicBezTo>
                  <a:cubicBezTo>
                    <a:pt x="239" y="396"/>
                    <a:pt x="239" y="396"/>
                    <a:pt x="239" y="396"/>
                  </a:cubicBezTo>
                  <a:cubicBezTo>
                    <a:pt x="16" y="396"/>
                    <a:pt x="16" y="396"/>
                    <a:pt x="16" y="396"/>
                  </a:cubicBezTo>
                  <a:cubicBezTo>
                    <a:pt x="16" y="396"/>
                    <a:pt x="16" y="396"/>
                    <a:pt x="16" y="39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239" y="16"/>
                    <a:pt x="239" y="16"/>
                    <a:pt x="239" y="16"/>
                  </a:cubicBezTo>
                  <a:cubicBezTo>
                    <a:pt x="239" y="36"/>
                    <a:pt x="239" y="36"/>
                    <a:pt x="239" y="36"/>
                  </a:cubicBezTo>
                  <a:cubicBezTo>
                    <a:pt x="239" y="41"/>
                    <a:pt x="242" y="44"/>
                    <a:pt x="247" y="44"/>
                  </a:cubicBezTo>
                  <a:close/>
                </a:path>
              </a:pathLst>
            </a:custGeom>
            <a:blipFill dpi="0" rotWithShape="0">
              <a:blip r:embed="rId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1429" tIns="45715" rIns="91429" bIns="45715"/>
            <a:lstStyle/>
            <a:p>
              <a:endParaRPr lang="en-US"/>
            </a:p>
          </p:txBody>
        </p:sp>
        <p:sp>
          <p:nvSpPr>
            <p:cNvPr id="9231" name="Freeform 3" descr="bpct-blend3"/>
            <p:cNvSpPr>
              <a:spLocks noChangeAspect="1" noEditPoints="1"/>
            </p:cNvSpPr>
            <p:nvPr/>
          </p:nvSpPr>
          <p:spPr bwMode="auto">
            <a:xfrm>
              <a:off x="4850" y="2727"/>
              <a:ext cx="355" cy="250"/>
            </a:xfrm>
            <a:custGeom>
              <a:avLst/>
              <a:gdLst>
                <a:gd name="T0" fmla="*/ 4623 w 324"/>
                <a:gd name="T1" fmla="*/ 2 h 324"/>
                <a:gd name="T2" fmla="*/ 4434 w 324"/>
                <a:gd name="T3" fmla="*/ 2 h 324"/>
                <a:gd name="T4" fmla="*/ 4413 w 324"/>
                <a:gd name="T5" fmla="*/ 2 h 324"/>
                <a:gd name="T6" fmla="*/ 4752 w 324"/>
                <a:gd name="T7" fmla="*/ 2 h 324"/>
                <a:gd name="T8" fmla="*/ 2506 w 324"/>
                <a:gd name="T9" fmla="*/ 2 h 324"/>
                <a:gd name="T10" fmla="*/ 261 w 324"/>
                <a:gd name="T11" fmla="*/ 2 h 324"/>
                <a:gd name="T12" fmla="*/ 2506 w 324"/>
                <a:gd name="T13" fmla="*/ 2 h 324"/>
                <a:gd name="T14" fmla="*/ 4087 w 324"/>
                <a:gd name="T15" fmla="*/ 2 h 324"/>
                <a:gd name="T16" fmla="*/ 4291 w 324"/>
                <a:gd name="T17" fmla="*/ 2 h 324"/>
                <a:gd name="T18" fmla="*/ 4291 w 324"/>
                <a:gd name="T19" fmla="*/ 2 h 324"/>
                <a:gd name="T20" fmla="*/ 2506 w 324"/>
                <a:gd name="T21" fmla="*/ 0 h 324"/>
                <a:gd name="T22" fmla="*/ 0 w 324"/>
                <a:gd name="T23" fmla="*/ 2 h 324"/>
                <a:gd name="T24" fmla="*/ 2506 w 324"/>
                <a:gd name="T25" fmla="*/ 2 h 324"/>
                <a:gd name="T26" fmla="*/ 5032 w 324"/>
                <a:gd name="T27" fmla="*/ 2 h 324"/>
                <a:gd name="T28" fmla="*/ 4623 w 324"/>
                <a:gd name="T29" fmla="*/ 2 h 324"/>
                <a:gd name="T30" fmla="*/ 2506 w 324"/>
                <a:gd name="T31" fmla="*/ 2 h 324"/>
                <a:gd name="T32" fmla="*/ 2970 w 324"/>
                <a:gd name="T33" fmla="*/ 2 h 324"/>
                <a:gd name="T34" fmla="*/ 2506 w 324"/>
                <a:gd name="T35" fmla="*/ 2 h 324"/>
                <a:gd name="T36" fmla="*/ 2062 w 324"/>
                <a:gd name="T37" fmla="*/ 2 h 324"/>
                <a:gd name="T38" fmla="*/ 2506 w 324"/>
                <a:gd name="T39" fmla="*/ 2 h 324"/>
                <a:gd name="T40" fmla="*/ 2506 w 324"/>
                <a:gd name="T41" fmla="*/ 2 h 324"/>
                <a:gd name="T42" fmla="*/ 2712 w 324"/>
                <a:gd name="T43" fmla="*/ 2 h 324"/>
                <a:gd name="T44" fmla="*/ 2506 w 324"/>
                <a:gd name="T45" fmla="*/ 2 h 324"/>
                <a:gd name="T46" fmla="*/ 2328 w 324"/>
                <a:gd name="T47" fmla="*/ 2 h 324"/>
                <a:gd name="T48" fmla="*/ 2506 w 324"/>
                <a:gd name="T49" fmla="*/ 2 h 324"/>
                <a:gd name="T50" fmla="*/ 2506 w 324"/>
                <a:gd name="T51" fmla="*/ 2 h 324"/>
                <a:gd name="T52" fmla="*/ 3368 w 324"/>
                <a:gd name="T53" fmla="*/ 2 h 324"/>
                <a:gd name="T54" fmla="*/ 2506 w 324"/>
                <a:gd name="T55" fmla="*/ 2 h 324"/>
                <a:gd name="T56" fmla="*/ 1646 w 324"/>
                <a:gd name="T57" fmla="*/ 2 h 324"/>
                <a:gd name="T58" fmla="*/ 2506 w 324"/>
                <a:gd name="T59" fmla="*/ 2 h 324"/>
                <a:gd name="T60" fmla="*/ 2506 w 324"/>
                <a:gd name="T61" fmla="*/ 2 h 324"/>
                <a:gd name="T62" fmla="*/ 3107 w 324"/>
                <a:gd name="T63" fmla="*/ 2 h 324"/>
                <a:gd name="T64" fmla="*/ 2506 w 324"/>
                <a:gd name="T65" fmla="*/ 2 h 324"/>
                <a:gd name="T66" fmla="*/ 1905 w 324"/>
                <a:gd name="T67" fmla="*/ 2 h 324"/>
                <a:gd name="T68" fmla="*/ 2506 w 324"/>
                <a:gd name="T69" fmla="*/ 2 h 324"/>
                <a:gd name="T70" fmla="*/ 954 w 324"/>
                <a:gd name="T71" fmla="*/ 2 h 324"/>
                <a:gd name="T72" fmla="*/ 779 w 324"/>
                <a:gd name="T73" fmla="*/ 2 h 324"/>
                <a:gd name="T74" fmla="*/ 451 w 324"/>
                <a:gd name="T75" fmla="*/ 2 h 324"/>
                <a:gd name="T76" fmla="*/ 1615 w 324"/>
                <a:gd name="T77" fmla="*/ 2 h 324"/>
                <a:gd name="T78" fmla="*/ 1639 w 324"/>
                <a:gd name="T79" fmla="*/ 2 h 324"/>
                <a:gd name="T80" fmla="*/ 1776 w 324"/>
                <a:gd name="T81" fmla="*/ 2 h 324"/>
                <a:gd name="T82" fmla="*/ 1718 w 324"/>
                <a:gd name="T83" fmla="*/ 2 h 324"/>
                <a:gd name="T84" fmla="*/ 712 w 324"/>
                <a:gd name="T85" fmla="*/ 2 h 324"/>
                <a:gd name="T86" fmla="*/ 995 w 324"/>
                <a:gd name="T87" fmla="*/ 2 h 324"/>
                <a:gd name="T88" fmla="*/ 954 w 324"/>
                <a:gd name="T89" fmla="*/ 2 h 324"/>
                <a:gd name="T90" fmla="*/ 1351 w 324"/>
                <a:gd name="T91" fmla="*/ 2 h 324"/>
                <a:gd name="T92" fmla="*/ 1448 w 324"/>
                <a:gd name="T93" fmla="*/ 2 h 324"/>
                <a:gd name="T94" fmla="*/ 2259 w 324"/>
                <a:gd name="T95" fmla="*/ 2 h 324"/>
                <a:gd name="T96" fmla="*/ 2372 w 324"/>
                <a:gd name="T97" fmla="*/ 2 h 324"/>
                <a:gd name="T98" fmla="*/ 2235 w 324"/>
                <a:gd name="T99" fmla="*/ 2 h 324"/>
                <a:gd name="T100" fmla="*/ 1308 w 324"/>
                <a:gd name="T101" fmla="*/ 2 h 324"/>
                <a:gd name="T102" fmla="*/ 1255 w 324"/>
                <a:gd name="T103" fmla="*/ 2 h 324"/>
                <a:gd name="T104" fmla="*/ 1351 w 324"/>
                <a:gd name="T105" fmla="*/ 2 h 3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324"/>
                <a:gd name="T160" fmla="*/ 0 h 324"/>
                <a:gd name="T161" fmla="*/ 324 w 324"/>
                <a:gd name="T162" fmla="*/ 324 h 32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324" h="324">
                  <a:moveTo>
                    <a:pt x="299" y="75"/>
                  </a:moveTo>
                  <a:cubicBezTo>
                    <a:pt x="297" y="70"/>
                    <a:pt x="291" y="69"/>
                    <a:pt x="287" y="72"/>
                  </a:cubicBezTo>
                  <a:cubicBezTo>
                    <a:pt x="283" y="75"/>
                    <a:pt x="281" y="80"/>
                    <a:pt x="284" y="84"/>
                  </a:cubicBezTo>
                  <a:cubicBezTo>
                    <a:pt x="299" y="107"/>
                    <a:pt x="307" y="133"/>
                    <a:pt x="307" y="162"/>
                  </a:cubicBezTo>
                  <a:cubicBezTo>
                    <a:pt x="307" y="241"/>
                    <a:pt x="241" y="306"/>
                    <a:pt x="162" y="306"/>
                  </a:cubicBezTo>
                  <a:cubicBezTo>
                    <a:pt x="82" y="306"/>
                    <a:pt x="17" y="241"/>
                    <a:pt x="17" y="162"/>
                  </a:cubicBezTo>
                  <a:cubicBezTo>
                    <a:pt x="17" y="82"/>
                    <a:pt x="82" y="17"/>
                    <a:pt x="162" y="17"/>
                  </a:cubicBezTo>
                  <a:cubicBezTo>
                    <a:pt x="202" y="17"/>
                    <a:pt x="238" y="33"/>
                    <a:pt x="264" y="59"/>
                  </a:cubicBezTo>
                  <a:cubicBezTo>
                    <a:pt x="268" y="62"/>
                    <a:pt x="273" y="62"/>
                    <a:pt x="277" y="59"/>
                  </a:cubicBezTo>
                  <a:cubicBezTo>
                    <a:pt x="280" y="56"/>
                    <a:pt x="280" y="50"/>
                    <a:pt x="277" y="47"/>
                  </a:cubicBezTo>
                  <a:cubicBezTo>
                    <a:pt x="247" y="17"/>
                    <a:pt x="207" y="0"/>
                    <a:pt x="162" y="0"/>
                  </a:cubicBezTo>
                  <a:cubicBezTo>
                    <a:pt x="72" y="0"/>
                    <a:pt x="0" y="72"/>
                    <a:pt x="0" y="162"/>
                  </a:cubicBezTo>
                  <a:cubicBezTo>
                    <a:pt x="0" y="251"/>
                    <a:pt x="72" y="324"/>
                    <a:pt x="162" y="324"/>
                  </a:cubicBezTo>
                  <a:cubicBezTo>
                    <a:pt x="251" y="324"/>
                    <a:pt x="324" y="251"/>
                    <a:pt x="324" y="162"/>
                  </a:cubicBezTo>
                  <a:cubicBezTo>
                    <a:pt x="324" y="130"/>
                    <a:pt x="315" y="100"/>
                    <a:pt x="299" y="75"/>
                  </a:cubicBezTo>
                  <a:close/>
                  <a:moveTo>
                    <a:pt x="162" y="191"/>
                  </a:moveTo>
                  <a:cubicBezTo>
                    <a:pt x="178" y="191"/>
                    <a:pt x="191" y="178"/>
                    <a:pt x="191" y="162"/>
                  </a:cubicBezTo>
                  <a:cubicBezTo>
                    <a:pt x="191" y="145"/>
                    <a:pt x="178" y="132"/>
                    <a:pt x="162" y="132"/>
                  </a:cubicBezTo>
                  <a:cubicBezTo>
                    <a:pt x="146" y="132"/>
                    <a:pt x="133" y="145"/>
                    <a:pt x="133" y="162"/>
                  </a:cubicBezTo>
                  <a:cubicBezTo>
                    <a:pt x="133" y="178"/>
                    <a:pt x="146" y="191"/>
                    <a:pt x="162" y="191"/>
                  </a:cubicBezTo>
                  <a:close/>
                  <a:moveTo>
                    <a:pt x="162" y="149"/>
                  </a:moveTo>
                  <a:cubicBezTo>
                    <a:pt x="169" y="149"/>
                    <a:pt x="175" y="155"/>
                    <a:pt x="175" y="162"/>
                  </a:cubicBezTo>
                  <a:cubicBezTo>
                    <a:pt x="175" y="169"/>
                    <a:pt x="169" y="175"/>
                    <a:pt x="162" y="175"/>
                  </a:cubicBezTo>
                  <a:cubicBezTo>
                    <a:pt x="155" y="175"/>
                    <a:pt x="149" y="169"/>
                    <a:pt x="149" y="162"/>
                  </a:cubicBezTo>
                  <a:cubicBezTo>
                    <a:pt x="149" y="155"/>
                    <a:pt x="155" y="149"/>
                    <a:pt x="162" y="149"/>
                  </a:cubicBezTo>
                  <a:close/>
                  <a:moveTo>
                    <a:pt x="162" y="217"/>
                  </a:moveTo>
                  <a:cubicBezTo>
                    <a:pt x="193" y="217"/>
                    <a:pt x="217" y="192"/>
                    <a:pt x="217" y="162"/>
                  </a:cubicBezTo>
                  <a:cubicBezTo>
                    <a:pt x="217" y="131"/>
                    <a:pt x="193" y="106"/>
                    <a:pt x="162" y="106"/>
                  </a:cubicBezTo>
                  <a:cubicBezTo>
                    <a:pt x="131" y="106"/>
                    <a:pt x="107" y="131"/>
                    <a:pt x="107" y="162"/>
                  </a:cubicBezTo>
                  <a:cubicBezTo>
                    <a:pt x="107" y="192"/>
                    <a:pt x="131" y="217"/>
                    <a:pt x="162" y="217"/>
                  </a:cubicBezTo>
                  <a:close/>
                  <a:moveTo>
                    <a:pt x="162" y="123"/>
                  </a:moveTo>
                  <a:cubicBezTo>
                    <a:pt x="184" y="123"/>
                    <a:pt x="201" y="140"/>
                    <a:pt x="201" y="162"/>
                  </a:cubicBezTo>
                  <a:cubicBezTo>
                    <a:pt x="201" y="183"/>
                    <a:pt x="184" y="200"/>
                    <a:pt x="162" y="201"/>
                  </a:cubicBezTo>
                  <a:cubicBezTo>
                    <a:pt x="141" y="200"/>
                    <a:pt x="123" y="183"/>
                    <a:pt x="123" y="162"/>
                  </a:cubicBezTo>
                  <a:cubicBezTo>
                    <a:pt x="123" y="140"/>
                    <a:pt x="141" y="123"/>
                    <a:pt x="162" y="123"/>
                  </a:cubicBezTo>
                  <a:close/>
                  <a:moveTo>
                    <a:pt x="62" y="89"/>
                  </a:moveTo>
                  <a:cubicBezTo>
                    <a:pt x="58" y="86"/>
                    <a:pt x="53" y="87"/>
                    <a:pt x="50" y="91"/>
                  </a:cubicBezTo>
                  <a:cubicBezTo>
                    <a:pt x="37" y="112"/>
                    <a:pt x="30" y="136"/>
                    <a:pt x="30" y="162"/>
                  </a:cubicBezTo>
                  <a:cubicBezTo>
                    <a:pt x="30" y="213"/>
                    <a:pt x="60" y="258"/>
                    <a:pt x="103" y="280"/>
                  </a:cubicBezTo>
                  <a:cubicBezTo>
                    <a:pt x="104" y="280"/>
                    <a:pt x="105" y="280"/>
                    <a:pt x="106" y="280"/>
                  </a:cubicBezTo>
                  <a:cubicBezTo>
                    <a:pt x="109" y="280"/>
                    <a:pt x="112" y="279"/>
                    <a:pt x="114" y="276"/>
                  </a:cubicBezTo>
                  <a:cubicBezTo>
                    <a:pt x="116" y="272"/>
                    <a:pt x="114" y="267"/>
                    <a:pt x="110" y="265"/>
                  </a:cubicBezTo>
                  <a:cubicBezTo>
                    <a:pt x="72" y="246"/>
                    <a:pt x="47" y="207"/>
                    <a:pt x="47" y="162"/>
                  </a:cubicBezTo>
                  <a:cubicBezTo>
                    <a:pt x="47" y="139"/>
                    <a:pt x="53" y="118"/>
                    <a:pt x="64" y="100"/>
                  </a:cubicBezTo>
                  <a:cubicBezTo>
                    <a:pt x="67" y="96"/>
                    <a:pt x="66" y="91"/>
                    <a:pt x="62" y="89"/>
                  </a:cubicBezTo>
                  <a:close/>
                  <a:moveTo>
                    <a:pt x="88" y="70"/>
                  </a:moveTo>
                  <a:cubicBezTo>
                    <a:pt x="90" y="70"/>
                    <a:pt x="92" y="70"/>
                    <a:pt x="93" y="69"/>
                  </a:cubicBezTo>
                  <a:cubicBezTo>
                    <a:pt x="109" y="58"/>
                    <a:pt x="127" y="50"/>
                    <a:pt x="146" y="47"/>
                  </a:cubicBezTo>
                  <a:cubicBezTo>
                    <a:pt x="151" y="47"/>
                    <a:pt x="154" y="42"/>
                    <a:pt x="153" y="38"/>
                  </a:cubicBezTo>
                  <a:cubicBezTo>
                    <a:pt x="153" y="33"/>
                    <a:pt x="148" y="30"/>
                    <a:pt x="144" y="31"/>
                  </a:cubicBezTo>
                  <a:cubicBezTo>
                    <a:pt x="121" y="34"/>
                    <a:pt x="101" y="43"/>
                    <a:pt x="84" y="56"/>
                  </a:cubicBezTo>
                  <a:cubicBezTo>
                    <a:pt x="80" y="58"/>
                    <a:pt x="79" y="63"/>
                    <a:pt x="82" y="67"/>
                  </a:cubicBezTo>
                  <a:cubicBezTo>
                    <a:pt x="83" y="69"/>
                    <a:pt x="86" y="70"/>
                    <a:pt x="88" y="70"/>
                  </a:cubicBezTo>
                  <a:close/>
                </a:path>
              </a:pathLst>
            </a:custGeom>
            <a:blipFill dpi="0" rotWithShape="0">
              <a:blip r:embed="rId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1429" tIns="45715" rIns="91429" bIns="45715"/>
            <a:lstStyle/>
            <a:p>
              <a:endParaRPr lang="en-US"/>
            </a:p>
          </p:txBody>
        </p:sp>
        <p:sp>
          <p:nvSpPr>
            <p:cNvPr id="9232" name="Freeform 8" descr="bpct-blend3"/>
            <p:cNvSpPr>
              <a:spLocks noChangeAspect="1" noEditPoints="1"/>
            </p:cNvSpPr>
            <p:nvPr/>
          </p:nvSpPr>
          <p:spPr bwMode="auto">
            <a:xfrm>
              <a:off x="4886" y="3150"/>
              <a:ext cx="309" cy="351"/>
            </a:xfrm>
            <a:custGeom>
              <a:avLst/>
              <a:gdLst>
                <a:gd name="T0" fmla="*/ 2147483647 w 255"/>
                <a:gd name="T1" fmla="*/ 17547970 h 412"/>
                <a:gd name="T2" fmla="*/ 2147483647 w 255"/>
                <a:gd name="T3" fmla="*/ 17547970 h 412"/>
                <a:gd name="T4" fmla="*/ 2147483647 w 255"/>
                <a:gd name="T5" fmla="*/ 17547970 h 412"/>
                <a:gd name="T6" fmla="*/ 2147483647 w 255"/>
                <a:gd name="T7" fmla="*/ 17547970 h 412"/>
                <a:gd name="T8" fmla="*/ 2147483647 w 255"/>
                <a:gd name="T9" fmla="*/ 17547970 h 412"/>
                <a:gd name="T10" fmla="*/ 2147483647 w 255"/>
                <a:gd name="T11" fmla="*/ 17547970 h 412"/>
                <a:gd name="T12" fmla="*/ 2147483647 w 255"/>
                <a:gd name="T13" fmla="*/ 17547970 h 412"/>
                <a:gd name="T14" fmla="*/ 2147483647 w 255"/>
                <a:gd name="T15" fmla="*/ 17547970 h 412"/>
                <a:gd name="T16" fmla="*/ 2147483647 w 255"/>
                <a:gd name="T17" fmla="*/ 17547970 h 412"/>
                <a:gd name="T18" fmla="*/ 2147483647 w 255"/>
                <a:gd name="T19" fmla="*/ 17547970 h 412"/>
                <a:gd name="T20" fmla="*/ 2147483647 w 255"/>
                <a:gd name="T21" fmla="*/ 17547970 h 412"/>
                <a:gd name="T22" fmla="*/ 2147483647 w 255"/>
                <a:gd name="T23" fmla="*/ 17547970 h 412"/>
                <a:gd name="T24" fmla="*/ 2147483647 w 255"/>
                <a:gd name="T25" fmla="*/ 17547970 h 412"/>
                <a:gd name="T26" fmla="*/ 2147483647 w 255"/>
                <a:gd name="T27" fmla="*/ 17547970 h 412"/>
                <a:gd name="T28" fmla="*/ 2147483647 w 255"/>
                <a:gd name="T29" fmla="*/ 17547970 h 412"/>
                <a:gd name="T30" fmla="*/ 2147483647 w 255"/>
                <a:gd name="T31" fmla="*/ 17547970 h 412"/>
                <a:gd name="T32" fmla="*/ 2147483647 w 255"/>
                <a:gd name="T33" fmla="*/ 17547970 h 412"/>
                <a:gd name="T34" fmla="*/ 2147483647 w 255"/>
                <a:gd name="T35" fmla="*/ 17547970 h 412"/>
                <a:gd name="T36" fmla="*/ 2147483647 w 255"/>
                <a:gd name="T37" fmla="*/ 17547970 h 412"/>
                <a:gd name="T38" fmla="*/ 2147483647 w 255"/>
                <a:gd name="T39" fmla="*/ 17547970 h 412"/>
                <a:gd name="T40" fmla="*/ 2147483647 w 255"/>
                <a:gd name="T41" fmla="*/ 17547970 h 412"/>
                <a:gd name="T42" fmla="*/ 2147483647 w 255"/>
                <a:gd name="T43" fmla="*/ 15390778 h 412"/>
                <a:gd name="T44" fmla="*/ 2147483647 w 255"/>
                <a:gd name="T45" fmla="*/ 17547970 h 412"/>
                <a:gd name="T46" fmla="*/ 2147483647 w 255"/>
                <a:gd name="T47" fmla="*/ 17547970 h 412"/>
                <a:gd name="T48" fmla="*/ 2147483647 w 255"/>
                <a:gd name="T49" fmla="*/ 17547970 h 412"/>
                <a:gd name="T50" fmla="*/ 2147483647 w 255"/>
                <a:gd name="T51" fmla="*/ 17228486 h 412"/>
                <a:gd name="T52" fmla="*/ 2147483647 w 255"/>
                <a:gd name="T53" fmla="*/ 11026214 h 412"/>
                <a:gd name="T54" fmla="*/ 2147483647 w 255"/>
                <a:gd name="T55" fmla="*/ 11026214 h 412"/>
                <a:gd name="T56" fmla="*/ 2147483647 w 255"/>
                <a:gd name="T57" fmla="*/ 14127366 h 412"/>
                <a:gd name="T58" fmla="*/ 2147483647 w 255"/>
                <a:gd name="T59" fmla="*/ 12289658 h 412"/>
                <a:gd name="T60" fmla="*/ 2147483647 w 255"/>
                <a:gd name="T61" fmla="*/ 11141099 h 412"/>
                <a:gd name="T62" fmla="*/ 2147483647 w 255"/>
                <a:gd name="T63" fmla="*/ 12289658 h 412"/>
                <a:gd name="T64" fmla="*/ 2147483647 w 255"/>
                <a:gd name="T65" fmla="*/ 3330826 h 412"/>
                <a:gd name="T66" fmla="*/ 2147483647 w 255"/>
                <a:gd name="T67" fmla="*/ 8039948 h 412"/>
                <a:gd name="T68" fmla="*/ 2147483647 w 255"/>
                <a:gd name="T69" fmla="*/ 5053680 h 412"/>
                <a:gd name="T70" fmla="*/ 2147483647 w 255"/>
                <a:gd name="T71" fmla="*/ 6202241 h 412"/>
                <a:gd name="T72" fmla="*/ 2147483647 w 255"/>
                <a:gd name="T73" fmla="*/ 5168533 h 412"/>
                <a:gd name="T74" fmla="*/ 2147483647 w 255"/>
                <a:gd name="T75" fmla="*/ 11715363 h 412"/>
                <a:gd name="T76" fmla="*/ 2147483647 w 255"/>
                <a:gd name="T77" fmla="*/ 10107361 h 412"/>
                <a:gd name="T78" fmla="*/ 2147483647 w 255"/>
                <a:gd name="T79" fmla="*/ 7350830 h 412"/>
                <a:gd name="T80" fmla="*/ 2147483647 w 255"/>
                <a:gd name="T81" fmla="*/ 16079927 h 412"/>
                <a:gd name="T82" fmla="*/ 2147483647 w 255"/>
                <a:gd name="T83" fmla="*/ 17547970 h 412"/>
                <a:gd name="T84" fmla="*/ 2147483647 w 255"/>
                <a:gd name="T85" fmla="*/ 17547970 h 412"/>
                <a:gd name="T86" fmla="*/ 2147483647 w 255"/>
                <a:gd name="T87" fmla="*/ 17547970 h 412"/>
                <a:gd name="T88" fmla="*/ 2147483647 w 255"/>
                <a:gd name="T89" fmla="*/ 17547970 h 412"/>
                <a:gd name="T90" fmla="*/ 2147483647 w 255"/>
                <a:gd name="T91" fmla="*/ 17547970 h 412"/>
                <a:gd name="T92" fmla="*/ 2147483647 w 255"/>
                <a:gd name="T93" fmla="*/ 17547970 h 412"/>
                <a:gd name="T94" fmla="*/ 2147483647 w 255"/>
                <a:gd name="T95" fmla="*/ 17547970 h 412"/>
                <a:gd name="T96" fmla="*/ 2147483647 w 255"/>
                <a:gd name="T97" fmla="*/ 17547970 h 412"/>
                <a:gd name="T98" fmla="*/ 2147483647 w 255"/>
                <a:gd name="T99" fmla="*/ 1837707 h 412"/>
                <a:gd name="T100" fmla="*/ 0 w 255"/>
                <a:gd name="T101" fmla="*/ 1837707 h 412"/>
                <a:gd name="T102" fmla="*/ 2147483647 w 255"/>
                <a:gd name="T103" fmla="*/ 17547970 h 412"/>
                <a:gd name="T104" fmla="*/ 2147483647 w 255"/>
                <a:gd name="T105" fmla="*/ 5972535 h 412"/>
                <a:gd name="T106" fmla="*/ 2147483647 w 255"/>
                <a:gd name="T107" fmla="*/ 17547970 h 412"/>
                <a:gd name="T108" fmla="*/ 2147483647 w 255"/>
                <a:gd name="T109" fmla="*/ 1837707 h 412"/>
                <a:gd name="T110" fmla="*/ 2147483647 w 255"/>
                <a:gd name="T111" fmla="*/ 5053680 h 41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55"/>
                <a:gd name="T169" fmla="*/ 0 h 412"/>
                <a:gd name="T170" fmla="*/ 255 w 255"/>
                <a:gd name="T171" fmla="*/ 412 h 41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55" h="412">
                  <a:moveTo>
                    <a:pt x="169" y="344"/>
                  </a:moveTo>
                  <a:cubicBezTo>
                    <a:pt x="45" y="344"/>
                    <a:pt x="45" y="344"/>
                    <a:pt x="45" y="344"/>
                  </a:cubicBezTo>
                  <a:cubicBezTo>
                    <a:pt x="37" y="344"/>
                    <a:pt x="30" y="349"/>
                    <a:pt x="29" y="358"/>
                  </a:cubicBezTo>
                  <a:cubicBezTo>
                    <a:pt x="29" y="370"/>
                    <a:pt x="29" y="370"/>
                    <a:pt x="29" y="370"/>
                  </a:cubicBezTo>
                  <a:cubicBezTo>
                    <a:pt x="30" y="380"/>
                    <a:pt x="37" y="385"/>
                    <a:pt x="45" y="385"/>
                  </a:cubicBezTo>
                  <a:cubicBezTo>
                    <a:pt x="169" y="385"/>
                    <a:pt x="169" y="385"/>
                    <a:pt x="169" y="385"/>
                  </a:cubicBezTo>
                  <a:cubicBezTo>
                    <a:pt x="177" y="385"/>
                    <a:pt x="185" y="380"/>
                    <a:pt x="185" y="370"/>
                  </a:cubicBezTo>
                  <a:cubicBezTo>
                    <a:pt x="185" y="358"/>
                    <a:pt x="185" y="358"/>
                    <a:pt x="185" y="358"/>
                  </a:cubicBezTo>
                  <a:cubicBezTo>
                    <a:pt x="184" y="349"/>
                    <a:pt x="177" y="344"/>
                    <a:pt x="169" y="344"/>
                  </a:cubicBezTo>
                  <a:close/>
                  <a:moveTo>
                    <a:pt x="169" y="369"/>
                  </a:moveTo>
                  <a:cubicBezTo>
                    <a:pt x="45" y="369"/>
                    <a:pt x="45" y="369"/>
                    <a:pt x="45" y="369"/>
                  </a:cubicBezTo>
                  <a:cubicBezTo>
                    <a:pt x="45" y="369"/>
                    <a:pt x="45" y="369"/>
                    <a:pt x="45" y="369"/>
                  </a:cubicBezTo>
                  <a:cubicBezTo>
                    <a:pt x="45" y="360"/>
                    <a:pt x="45" y="360"/>
                    <a:pt x="45" y="360"/>
                  </a:cubicBezTo>
                  <a:cubicBezTo>
                    <a:pt x="45" y="360"/>
                    <a:pt x="45" y="360"/>
                    <a:pt x="45" y="360"/>
                  </a:cubicBezTo>
                  <a:cubicBezTo>
                    <a:pt x="169" y="360"/>
                    <a:pt x="169" y="360"/>
                    <a:pt x="169" y="360"/>
                  </a:cubicBezTo>
                  <a:lnTo>
                    <a:pt x="169" y="369"/>
                  </a:lnTo>
                  <a:close/>
                  <a:moveTo>
                    <a:pt x="185" y="306"/>
                  </a:moveTo>
                  <a:cubicBezTo>
                    <a:pt x="185" y="297"/>
                    <a:pt x="177" y="291"/>
                    <a:pt x="169" y="291"/>
                  </a:cubicBezTo>
                  <a:cubicBezTo>
                    <a:pt x="45" y="291"/>
                    <a:pt x="45" y="291"/>
                    <a:pt x="45" y="291"/>
                  </a:cubicBezTo>
                  <a:cubicBezTo>
                    <a:pt x="37" y="291"/>
                    <a:pt x="30" y="297"/>
                    <a:pt x="29" y="306"/>
                  </a:cubicBezTo>
                  <a:cubicBezTo>
                    <a:pt x="29" y="318"/>
                    <a:pt x="29" y="318"/>
                    <a:pt x="29" y="318"/>
                  </a:cubicBezTo>
                  <a:cubicBezTo>
                    <a:pt x="30" y="327"/>
                    <a:pt x="37" y="333"/>
                    <a:pt x="45" y="333"/>
                  </a:cubicBezTo>
                  <a:cubicBezTo>
                    <a:pt x="169" y="333"/>
                    <a:pt x="169" y="333"/>
                    <a:pt x="169" y="333"/>
                  </a:cubicBezTo>
                  <a:cubicBezTo>
                    <a:pt x="177" y="333"/>
                    <a:pt x="184" y="327"/>
                    <a:pt x="185" y="318"/>
                  </a:cubicBezTo>
                  <a:lnTo>
                    <a:pt x="185" y="306"/>
                  </a:lnTo>
                  <a:close/>
                  <a:moveTo>
                    <a:pt x="169" y="317"/>
                  </a:moveTo>
                  <a:cubicBezTo>
                    <a:pt x="45" y="317"/>
                    <a:pt x="45" y="317"/>
                    <a:pt x="45" y="317"/>
                  </a:cubicBezTo>
                  <a:cubicBezTo>
                    <a:pt x="45" y="317"/>
                    <a:pt x="45" y="317"/>
                    <a:pt x="45" y="317"/>
                  </a:cubicBezTo>
                  <a:cubicBezTo>
                    <a:pt x="45" y="307"/>
                    <a:pt x="45" y="307"/>
                    <a:pt x="45" y="307"/>
                  </a:cubicBezTo>
                  <a:cubicBezTo>
                    <a:pt x="45" y="307"/>
                    <a:pt x="45" y="307"/>
                    <a:pt x="45" y="307"/>
                  </a:cubicBezTo>
                  <a:cubicBezTo>
                    <a:pt x="169" y="307"/>
                    <a:pt x="169" y="307"/>
                    <a:pt x="169" y="307"/>
                  </a:cubicBezTo>
                  <a:lnTo>
                    <a:pt x="169" y="317"/>
                  </a:lnTo>
                  <a:close/>
                  <a:moveTo>
                    <a:pt x="185" y="253"/>
                  </a:moveTo>
                  <a:cubicBezTo>
                    <a:pt x="184" y="244"/>
                    <a:pt x="177" y="239"/>
                    <a:pt x="169" y="239"/>
                  </a:cubicBezTo>
                  <a:cubicBezTo>
                    <a:pt x="45" y="239"/>
                    <a:pt x="45" y="239"/>
                    <a:pt x="45" y="239"/>
                  </a:cubicBezTo>
                  <a:cubicBezTo>
                    <a:pt x="37" y="239"/>
                    <a:pt x="30" y="244"/>
                    <a:pt x="29" y="253"/>
                  </a:cubicBezTo>
                  <a:cubicBezTo>
                    <a:pt x="29" y="265"/>
                    <a:pt x="29" y="265"/>
                    <a:pt x="29" y="265"/>
                  </a:cubicBezTo>
                  <a:cubicBezTo>
                    <a:pt x="30" y="275"/>
                    <a:pt x="37" y="280"/>
                    <a:pt x="45" y="280"/>
                  </a:cubicBezTo>
                  <a:cubicBezTo>
                    <a:pt x="169" y="280"/>
                    <a:pt x="169" y="280"/>
                    <a:pt x="169" y="280"/>
                  </a:cubicBezTo>
                  <a:cubicBezTo>
                    <a:pt x="177" y="280"/>
                    <a:pt x="185" y="275"/>
                    <a:pt x="185" y="265"/>
                  </a:cubicBezTo>
                  <a:lnTo>
                    <a:pt x="185" y="253"/>
                  </a:lnTo>
                  <a:close/>
                  <a:moveTo>
                    <a:pt x="169" y="264"/>
                  </a:moveTo>
                  <a:cubicBezTo>
                    <a:pt x="45" y="264"/>
                    <a:pt x="45" y="264"/>
                    <a:pt x="45" y="264"/>
                  </a:cubicBezTo>
                  <a:cubicBezTo>
                    <a:pt x="45" y="264"/>
                    <a:pt x="45" y="264"/>
                    <a:pt x="45" y="264"/>
                  </a:cubicBezTo>
                  <a:cubicBezTo>
                    <a:pt x="45" y="255"/>
                    <a:pt x="45" y="255"/>
                    <a:pt x="45" y="255"/>
                  </a:cubicBezTo>
                  <a:cubicBezTo>
                    <a:pt x="45" y="255"/>
                    <a:pt x="45" y="255"/>
                    <a:pt x="45" y="255"/>
                  </a:cubicBezTo>
                  <a:cubicBezTo>
                    <a:pt x="169" y="255"/>
                    <a:pt x="169" y="255"/>
                    <a:pt x="169" y="255"/>
                  </a:cubicBezTo>
                  <a:lnTo>
                    <a:pt x="169" y="264"/>
                  </a:lnTo>
                  <a:close/>
                  <a:moveTo>
                    <a:pt x="185" y="201"/>
                  </a:moveTo>
                  <a:cubicBezTo>
                    <a:pt x="185" y="192"/>
                    <a:pt x="177" y="186"/>
                    <a:pt x="169" y="18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37" y="186"/>
                    <a:pt x="30" y="192"/>
                    <a:pt x="29" y="201"/>
                  </a:cubicBezTo>
                  <a:cubicBezTo>
                    <a:pt x="29" y="213"/>
                    <a:pt x="29" y="213"/>
                    <a:pt x="29" y="213"/>
                  </a:cubicBezTo>
                  <a:cubicBezTo>
                    <a:pt x="30" y="222"/>
                    <a:pt x="37" y="228"/>
                    <a:pt x="45" y="228"/>
                  </a:cubicBezTo>
                  <a:cubicBezTo>
                    <a:pt x="169" y="228"/>
                    <a:pt x="169" y="228"/>
                    <a:pt x="169" y="228"/>
                  </a:cubicBezTo>
                  <a:cubicBezTo>
                    <a:pt x="177" y="228"/>
                    <a:pt x="184" y="222"/>
                    <a:pt x="185" y="213"/>
                  </a:cubicBezTo>
                  <a:lnTo>
                    <a:pt x="185" y="201"/>
                  </a:lnTo>
                  <a:close/>
                  <a:moveTo>
                    <a:pt x="169" y="212"/>
                  </a:moveTo>
                  <a:cubicBezTo>
                    <a:pt x="45" y="212"/>
                    <a:pt x="45" y="212"/>
                    <a:pt x="45" y="212"/>
                  </a:cubicBezTo>
                  <a:cubicBezTo>
                    <a:pt x="45" y="212"/>
                    <a:pt x="45" y="212"/>
                    <a:pt x="45" y="212"/>
                  </a:cubicBezTo>
                  <a:cubicBezTo>
                    <a:pt x="45" y="202"/>
                    <a:pt x="45" y="202"/>
                    <a:pt x="45" y="202"/>
                  </a:cubicBezTo>
                  <a:cubicBezTo>
                    <a:pt x="45" y="202"/>
                    <a:pt x="45" y="202"/>
                    <a:pt x="45" y="202"/>
                  </a:cubicBezTo>
                  <a:cubicBezTo>
                    <a:pt x="169" y="202"/>
                    <a:pt x="169" y="202"/>
                    <a:pt x="169" y="202"/>
                  </a:cubicBezTo>
                  <a:lnTo>
                    <a:pt x="169" y="212"/>
                  </a:lnTo>
                  <a:close/>
                  <a:moveTo>
                    <a:pt x="185" y="148"/>
                  </a:moveTo>
                  <a:cubicBezTo>
                    <a:pt x="184" y="139"/>
                    <a:pt x="177" y="134"/>
                    <a:pt x="169" y="134"/>
                  </a:cubicBezTo>
                  <a:cubicBezTo>
                    <a:pt x="45" y="134"/>
                    <a:pt x="45" y="134"/>
                    <a:pt x="45" y="134"/>
                  </a:cubicBezTo>
                  <a:cubicBezTo>
                    <a:pt x="37" y="134"/>
                    <a:pt x="30" y="139"/>
                    <a:pt x="29" y="148"/>
                  </a:cubicBezTo>
                  <a:cubicBezTo>
                    <a:pt x="29" y="161"/>
                    <a:pt x="29" y="161"/>
                    <a:pt x="29" y="161"/>
                  </a:cubicBezTo>
                  <a:cubicBezTo>
                    <a:pt x="30" y="170"/>
                    <a:pt x="37" y="175"/>
                    <a:pt x="45" y="175"/>
                  </a:cubicBezTo>
                  <a:cubicBezTo>
                    <a:pt x="169" y="175"/>
                    <a:pt x="169" y="175"/>
                    <a:pt x="169" y="175"/>
                  </a:cubicBezTo>
                  <a:cubicBezTo>
                    <a:pt x="177" y="175"/>
                    <a:pt x="185" y="170"/>
                    <a:pt x="185" y="161"/>
                  </a:cubicBezTo>
                  <a:lnTo>
                    <a:pt x="185" y="148"/>
                  </a:lnTo>
                  <a:close/>
                  <a:moveTo>
                    <a:pt x="169" y="159"/>
                  </a:moveTo>
                  <a:cubicBezTo>
                    <a:pt x="45" y="159"/>
                    <a:pt x="45" y="159"/>
                    <a:pt x="45" y="159"/>
                  </a:cubicBezTo>
                  <a:cubicBezTo>
                    <a:pt x="45" y="159"/>
                    <a:pt x="45" y="159"/>
                    <a:pt x="45" y="159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169" y="150"/>
                    <a:pt x="169" y="150"/>
                    <a:pt x="169" y="150"/>
                  </a:cubicBezTo>
                  <a:lnTo>
                    <a:pt x="169" y="159"/>
                  </a:lnTo>
                  <a:close/>
                  <a:moveTo>
                    <a:pt x="185" y="96"/>
                  </a:moveTo>
                  <a:cubicBezTo>
                    <a:pt x="185" y="87"/>
                    <a:pt x="177" y="81"/>
                    <a:pt x="169" y="81"/>
                  </a:cubicBezTo>
                  <a:cubicBezTo>
                    <a:pt x="45" y="81"/>
                    <a:pt x="45" y="81"/>
                    <a:pt x="45" y="81"/>
                  </a:cubicBezTo>
                  <a:cubicBezTo>
                    <a:pt x="37" y="81"/>
                    <a:pt x="30" y="87"/>
                    <a:pt x="29" y="96"/>
                  </a:cubicBezTo>
                  <a:cubicBezTo>
                    <a:pt x="29" y="108"/>
                    <a:pt x="29" y="108"/>
                    <a:pt x="29" y="108"/>
                  </a:cubicBezTo>
                  <a:cubicBezTo>
                    <a:pt x="30" y="117"/>
                    <a:pt x="37" y="123"/>
                    <a:pt x="45" y="123"/>
                  </a:cubicBezTo>
                  <a:cubicBezTo>
                    <a:pt x="169" y="123"/>
                    <a:pt x="169" y="123"/>
                    <a:pt x="169" y="123"/>
                  </a:cubicBezTo>
                  <a:cubicBezTo>
                    <a:pt x="177" y="123"/>
                    <a:pt x="184" y="117"/>
                    <a:pt x="185" y="108"/>
                  </a:cubicBezTo>
                  <a:lnTo>
                    <a:pt x="185" y="96"/>
                  </a:lnTo>
                  <a:close/>
                  <a:moveTo>
                    <a:pt x="169" y="107"/>
                  </a:moveTo>
                  <a:cubicBezTo>
                    <a:pt x="45" y="107"/>
                    <a:pt x="45" y="107"/>
                    <a:pt x="45" y="107"/>
                  </a:cubicBezTo>
                  <a:cubicBezTo>
                    <a:pt x="45" y="107"/>
                    <a:pt x="45" y="107"/>
                    <a:pt x="45" y="107"/>
                  </a:cubicBezTo>
                  <a:cubicBezTo>
                    <a:pt x="45" y="97"/>
                    <a:pt x="45" y="97"/>
                    <a:pt x="45" y="97"/>
                  </a:cubicBezTo>
                  <a:cubicBezTo>
                    <a:pt x="45" y="97"/>
                    <a:pt x="45" y="97"/>
                    <a:pt x="45" y="97"/>
                  </a:cubicBezTo>
                  <a:cubicBezTo>
                    <a:pt x="169" y="97"/>
                    <a:pt x="169" y="97"/>
                    <a:pt x="169" y="97"/>
                  </a:cubicBezTo>
                  <a:lnTo>
                    <a:pt x="169" y="107"/>
                  </a:lnTo>
                  <a:close/>
                  <a:moveTo>
                    <a:pt x="185" y="44"/>
                  </a:moveTo>
                  <a:cubicBezTo>
                    <a:pt x="184" y="34"/>
                    <a:pt x="177" y="29"/>
                    <a:pt x="169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37" y="29"/>
                    <a:pt x="30" y="34"/>
                    <a:pt x="29" y="44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30" y="65"/>
                    <a:pt x="37" y="70"/>
                    <a:pt x="45" y="70"/>
                  </a:cubicBezTo>
                  <a:cubicBezTo>
                    <a:pt x="169" y="70"/>
                    <a:pt x="169" y="70"/>
                    <a:pt x="169" y="70"/>
                  </a:cubicBezTo>
                  <a:cubicBezTo>
                    <a:pt x="177" y="70"/>
                    <a:pt x="185" y="65"/>
                    <a:pt x="185" y="56"/>
                  </a:cubicBezTo>
                  <a:lnTo>
                    <a:pt x="185" y="44"/>
                  </a:lnTo>
                  <a:close/>
                  <a:moveTo>
                    <a:pt x="169" y="54"/>
                  </a:moveTo>
                  <a:cubicBezTo>
                    <a:pt x="45" y="54"/>
                    <a:pt x="45" y="54"/>
                    <a:pt x="45" y="54"/>
                  </a:cubicBezTo>
                  <a:cubicBezTo>
                    <a:pt x="45" y="54"/>
                    <a:pt x="45" y="54"/>
                    <a:pt x="45" y="54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169" y="45"/>
                    <a:pt x="169" y="45"/>
                    <a:pt x="169" y="45"/>
                  </a:cubicBezTo>
                  <a:lnTo>
                    <a:pt x="169" y="54"/>
                  </a:lnTo>
                  <a:close/>
                  <a:moveTo>
                    <a:pt x="212" y="88"/>
                  </a:moveTo>
                  <a:cubicBezTo>
                    <a:pt x="204" y="88"/>
                    <a:pt x="198" y="94"/>
                    <a:pt x="198" y="102"/>
                  </a:cubicBezTo>
                  <a:cubicBezTo>
                    <a:pt x="198" y="110"/>
                    <a:pt x="204" y="116"/>
                    <a:pt x="212" y="116"/>
                  </a:cubicBezTo>
                  <a:cubicBezTo>
                    <a:pt x="220" y="116"/>
                    <a:pt x="226" y="110"/>
                    <a:pt x="226" y="102"/>
                  </a:cubicBezTo>
                  <a:cubicBezTo>
                    <a:pt x="226" y="94"/>
                    <a:pt x="220" y="88"/>
                    <a:pt x="212" y="88"/>
                  </a:cubicBezTo>
                  <a:close/>
                  <a:moveTo>
                    <a:pt x="212" y="35"/>
                  </a:moveTo>
                  <a:cubicBezTo>
                    <a:pt x="204" y="35"/>
                    <a:pt x="198" y="42"/>
                    <a:pt x="198" y="50"/>
                  </a:cubicBezTo>
                  <a:cubicBezTo>
                    <a:pt x="198" y="57"/>
                    <a:pt x="204" y="64"/>
                    <a:pt x="212" y="64"/>
                  </a:cubicBezTo>
                  <a:cubicBezTo>
                    <a:pt x="220" y="64"/>
                    <a:pt x="226" y="57"/>
                    <a:pt x="226" y="50"/>
                  </a:cubicBezTo>
                  <a:cubicBezTo>
                    <a:pt x="226" y="42"/>
                    <a:pt x="220" y="35"/>
                    <a:pt x="212" y="35"/>
                  </a:cubicBezTo>
                  <a:close/>
                  <a:moveTo>
                    <a:pt x="212" y="140"/>
                  </a:moveTo>
                  <a:cubicBezTo>
                    <a:pt x="204" y="140"/>
                    <a:pt x="198" y="147"/>
                    <a:pt x="198" y="155"/>
                  </a:cubicBezTo>
                  <a:cubicBezTo>
                    <a:pt x="198" y="162"/>
                    <a:pt x="204" y="169"/>
                    <a:pt x="212" y="169"/>
                  </a:cubicBezTo>
                  <a:cubicBezTo>
                    <a:pt x="220" y="169"/>
                    <a:pt x="226" y="162"/>
                    <a:pt x="226" y="155"/>
                  </a:cubicBezTo>
                  <a:cubicBezTo>
                    <a:pt x="226" y="147"/>
                    <a:pt x="220" y="140"/>
                    <a:pt x="212" y="140"/>
                  </a:cubicBezTo>
                  <a:close/>
                  <a:moveTo>
                    <a:pt x="212" y="193"/>
                  </a:moveTo>
                  <a:cubicBezTo>
                    <a:pt x="204" y="193"/>
                    <a:pt x="198" y="199"/>
                    <a:pt x="198" y="207"/>
                  </a:cubicBezTo>
                  <a:cubicBezTo>
                    <a:pt x="198" y="215"/>
                    <a:pt x="204" y="221"/>
                    <a:pt x="212" y="221"/>
                  </a:cubicBezTo>
                  <a:cubicBezTo>
                    <a:pt x="220" y="221"/>
                    <a:pt x="226" y="215"/>
                    <a:pt x="226" y="207"/>
                  </a:cubicBezTo>
                  <a:cubicBezTo>
                    <a:pt x="226" y="199"/>
                    <a:pt x="220" y="193"/>
                    <a:pt x="212" y="193"/>
                  </a:cubicBezTo>
                  <a:close/>
                  <a:moveTo>
                    <a:pt x="212" y="245"/>
                  </a:moveTo>
                  <a:cubicBezTo>
                    <a:pt x="204" y="245"/>
                    <a:pt x="198" y="252"/>
                    <a:pt x="198" y="259"/>
                  </a:cubicBezTo>
                  <a:cubicBezTo>
                    <a:pt x="198" y="267"/>
                    <a:pt x="204" y="274"/>
                    <a:pt x="212" y="274"/>
                  </a:cubicBezTo>
                  <a:cubicBezTo>
                    <a:pt x="220" y="274"/>
                    <a:pt x="226" y="267"/>
                    <a:pt x="226" y="259"/>
                  </a:cubicBezTo>
                  <a:cubicBezTo>
                    <a:pt x="226" y="252"/>
                    <a:pt x="220" y="245"/>
                    <a:pt x="212" y="245"/>
                  </a:cubicBezTo>
                  <a:close/>
                  <a:moveTo>
                    <a:pt x="212" y="298"/>
                  </a:moveTo>
                  <a:cubicBezTo>
                    <a:pt x="204" y="298"/>
                    <a:pt x="198" y="304"/>
                    <a:pt x="198" y="312"/>
                  </a:cubicBezTo>
                  <a:cubicBezTo>
                    <a:pt x="198" y="320"/>
                    <a:pt x="204" y="326"/>
                    <a:pt x="212" y="326"/>
                  </a:cubicBezTo>
                  <a:cubicBezTo>
                    <a:pt x="220" y="326"/>
                    <a:pt x="226" y="320"/>
                    <a:pt x="226" y="312"/>
                  </a:cubicBezTo>
                  <a:cubicBezTo>
                    <a:pt x="226" y="304"/>
                    <a:pt x="220" y="298"/>
                    <a:pt x="212" y="298"/>
                  </a:cubicBezTo>
                  <a:close/>
                  <a:moveTo>
                    <a:pt x="212" y="350"/>
                  </a:moveTo>
                  <a:cubicBezTo>
                    <a:pt x="204" y="350"/>
                    <a:pt x="198" y="356"/>
                    <a:pt x="198" y="364"/>
                  </a:cubicBezTo>
                  <a:cubicBezTo>
                    <a:pt x="198" y="372"/>
                    <a:pt x="204" y="379"/>
                    <a:pt x="212" y="379"/>
                  </a:cubicBezTo>
                  <a:cubicBezTo>
                    <a:pt x="220" y="379"/>
                    <a:pt x="226" y="372"/>
                    <a:pt x="226" y="364"/>
                  </a:cubicBezTo>
                  <a:cubicBezTo>
                    <a:pt x="226" y="356"/>
                    <a:pt x="220" y="350"/>
                    <a:pt x="212" y="350"/>
                  </a:cubicBezTo>
                  <a:close/>
                  <a:moveTo>
                    <a:pt x="247" y="44"/>
                  </a:moveTo>
                  <a:cubicBezTo>
                    <a:pt x="251" y="44"/>
                    <a:pt x="255" y="41"/>
                    <a:pt x="255" y="36"/>
                  </a:cubicBezTo>
                  <a:cubicBezTo>
                    <a:pt x="255" y="16"/>
                    <a:pt x="255" y="16"/>
                    <a:pt x="255" y="16"/>
                  </a:cubicBezTo>
                  <a:cubicBezTo>
                    <a:pt x="255" y="7"/>
                    <a:pt x="248" y="0"/>
                    <a:pt x="23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96"/>
                    <a:pt x="0" y="396"/>
                    <a:pt x="0" y="396"/>
                  </a:cubicBezTo>
                  <a:cubicBezTo>
                    <a:pt x="0" y="405"/>
                    <a:pt x="7" y="412"/>
                    <a:pt x="16" y="412"/>
                  </a:cubicBezTo>
                  <a:cubicBezTo>
                    <a:pt x="239" y="412"/>
                    <a:pt x="239" y="412"/>
                    <a:pt x="239" y="412"/>
                  </a:cubicBezTo>
                  <a:cubicBezTo>
                    <a:pt x="248" y="412"/>
                    <a:pt x="255" y="405"/>
                    <a:pt x="255" y="396"/>
                  </a:cubicBezTo>
                  <a:cubicBezTo>
                    <a:pt x="255" y="60"/>
                    <a:pt x="255" y="60"/>
                    <a:pt x="255" y="60"/>
                  </a:cubicBezTo>
                  <a:cubicBezTo>
                    <a:pt x="255" y="56"/>
                    <a:pt x="251" y="52"/>
                    <a:pt x="247" y="52"/>
                  </a:cubicBezTo>
                  <a:cubicBezTo>
                    <a:pt x="242" y="52"/>
                    <a:pt x="239" y="56"/>
                    <a:pt x="239" y="60"/>
                  </a:cubicBezTo>
                  <a:cubicBezTo>
                    <a:pt x="239" y="396"/>
                    <a:pt x="239" y="396"/>
                    <a:pt x="239" y="396"/>
                  </a:cubicBezTo>
                  <a:cubicBezTo>
                    <a:pt x="16" y="396"/>
                    <a:pt x="16" y="396"/>
                    <a:pt x="16" y="396"/>
                  </a:cubicBezTo>
                  <a:cubicBezTo>
                    <a:pt x="16" y="396"/>
                    <a:pt x="16" y="396"/>
                    <a:pt x="16" y="39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239" y="16"/>
                    <a:pt x="239" y="16"/>
                    <a:pt x="239" y="16"/>
                  </a:cubicBezTo>
                  <a:cubicBezTo>
                    <a:pt x="239" y="36"/>
                    <a:pt x="239" y="36"/>
                    <a:pt x="239" y="36"/>
                  </a:cubicBezTo>
                  <a:cubicBezTo>
                    <a:pt x="239" y="41"/>
                    <a:pt x="242" y="44"/>
                    <a:pt x="247" y="44"/>
                  </a:cubicBezTo>
                  <a:close/>
                </a:path>
              </a:pathLst>
            </a:custGeom>
            <a:blipFill dpi="0" rotWithShape="0">
              <a:blip r:embed="rId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1429" tIns="45715" rIns="91429" bIns="45715"/>
            <a:lstStyle/>
            <a:p>
              <a:endParaRPr lang="en-US"/>
            </a:p>
          </p:txBody>
        </p:sp>
        <p:sp>
          <p:nvSpPr>
            <p:cNvPr id="9233" name="Freeform 3"/>
            <p:cNvSpPr>
              <a:spLocks noChangeAspect="1" noEditPoints="1"/>
            </p:cNvSpPr>
            <p:nvPr/>
          </p:nvSpPr>
          <p:spPr bwMode="auto">
            <a:xfrm rot="-3195677">
              <a:off x="4491" y="2902"/>
              <a:ext cx="277" cy="381"/>
            </a:xfrm>
            <a:custGeom>
              <a:avLst/>
              <a:gdLst>
                <a:gd name="T0" fmla="*/ 265234160 w 297"/>
                <a:gd name="T1" fmla="*/ 2147483647 h 295"/>
                <a:gd name="T2" fmla="*/ 265234160 w 297"/>
                <a:gd name="T3" fmla="*/ 2147483647 h 295"/>
                <a:gd name="T4" fmla="*/ 199979676 w 297"/>
                <a:gd name="T5" fmla="*/ 2147483647 h 295"/>
                <a:gd name="T6" fmla="*/ 205196625 w 297"/>
                <a:gd name="T7" fmla="*/ 2147483647 h 295"/>
                <a:gd name="T8" fmla="*/ 205196625 w 297"/>
                <a:gd name="T9" fmla="*/ 2147483647 h 295"/>
                <a:gd name="T10" fmla="*/ 199979676 w 297"/>
                <a:gd name="T11" fmla="*/ 2147483647 h 295"/>
                <a:gd name="T12" fmla="*/ 265234160 w 297"/>
                <a:gd name="T13" fmla="*/ 2147483647 h 295"/>
                <a:gd name="T14" fmla="*/ 265234160 w 297"/>
                <a:gd name="T15" fmla="*/ 2147483647 h 295"/>
                <a:gd name="T16" fmla="*/ 265234160 w 297"/>
                <a:gd name="T17" fmla="*/ 2147483647 h 295"/>
                <a:gd name="T18" fmla="*/ 265234160 w 297"/>
                <a:gd name="T19" fmla="*/ 2147483647 h 295"/>
                <a:gd name="T20" fmla="*/ 265234160 w 297"/>
                <a:gd name="T21" fmla="*/ 2147483647 h 295"/>
                <a:gd name="T22" fmla="*/ 265234160 w 297"/>
                <a:gd name="T23" fmla="*/ 2147483647 h 295"/>
                <a:gd name="T24" fmla="*/ 265234160 w 297"/>
                <a:gd name="T25" fmla="*/ 2147483647 h 295"/>
                <a:gd name="T26" fmla="*/ 265234160 w 297"/>
                <a:gd name="T27" fmla="*/ 2147483647 h 295"/>
                <a:gd name="T28" fmla="*/ 265234160 w 297"/>
                <a:gd name="T29" fmla="*/ 2147483647 h 295"/>
                <a:gd name="T30" fmla="*/ 265234160 w 297"/>
                <a:gd name="T31" fmla="*/ 2147483647 h 295"/>
                <a:gd name="T32" fmla="*/ 265234160 w 297"/>
                <a:gd name="T33" fmla="*/ 2147483647 h 295"/>
                <a:gd name="T34" fmla="*/ 265234160 w 297"/>
                <a:gd name="T35" fmla="*/ 2147483647 h 295"/>
                <a:gd name="T36" fmla="*/ 265234160 w 297"/>
                <a:gd name="T37" fmla="*/ 2147483647 h 295"/>
                <a:gd name="T38" fmla="*/ 265234160 w 297"/>
                <a:gd name="T39" fmla="*/ 2147483647 h 295"/>
                <a:gd name="T40" fmla="*/ 265234160 w 297"/>
                <a:gd name="T41" fmla="*/ 2147483647 h 295"/>
                <a:gd name="T42" fmla="*/ 265234160 w 297"/>
                <a:gd name="T43" fmla="*/ 2147483647 h 295"/>
                <a:gd name="T44" fmla="*/ 265234160 w 297"/>
                <a:gd name="T45" fmla="*/ 2147483647 h 295"/>
                <a:gd name="T46" fmla="*/ 265234160 w 297"/>
                <a:gd name="T47" fmla="*/ 0 h 295"/>
                <a:gd name="T48" fmla="*/ 265234160 w 297"/>
                <a:gd name="T49" fmla="*/ 2147483647 h 295"/>
                <a:gd name="T50" fmla="*/ 265234160 w 297"/>
                <a:gd name="T51" fmla="*/ 2147483647 h 295"/>
                <a:gd name="T52" fmla="*/ 187806947 w 297"/>
                <a:gd name="T53" fmla="*/ 2147483647 h 295"/>
                <a:gd name="T54" fmla="*/ 102598314 w 297"/>
                <a:gd name="T55" fmla="*/ 2147483647 h 295"/>
                <a:gd name="T56" fmla="*/ 0 w 297"/>
                <a:gd name="T57" fmla="*/ 2147483647 h 295"/>
                <a:gd name="T58" fmla="*/ 102598314 w 297"/>
                <a:gd name="T59" fmla="*/ 2147483647 h 295"/>
                <a:gd name="T60" fmla="*/ 187806947 w 297"/>
                <a:gd name="T61" fmla="*/ 2147483647 h 295"/>
                <a:gd name="T62" fmla="*/ 265234160 w 297"/>
                <a:gd name="T63" fmla="*/ 2147483647 h 295"/>
                <a:gd name="T64" fmla="*/ 265234160 w 297"/>
                <a:gd name="T65" fmla="*/ 2147483647 h 295"/>
                <a:gd name="T66" fmla="*/ 265234160 w 297"/>
                <a:gd name="T67" fmla="*/ 2147483647 h 295"/>
                <a:gd name="T68" fmla="*/ 265234160 w 297"/>
                <a:gd name="T69" fmla="*/ 2147483647 h 295"/>
                <a:gd name="T70" fmla="*/ 265234160 w 297"/>
                <a:gd name="T71" fmla="*/ 2147483647 h 295"/>
                <a:gd name="T72" fmla="*/ 102598314 w 297"/>
                <a:gd name="T73" fmla="*/ 2147483647 h 295"/>
                <a:gd name="T74" fmla="*/ 27823114 w 297"/>
                <a:gd name="T75" fmla="*/ 2147483647 h 295"/>
                <a:gd name="T76" fmla="*/ 102598314 w 297"/>
                <a:gd name="T77" fmla="*/ 2147483647 h 295"/>
                <a:gd name="T78" fmla="*/ 168678440 w 297"/>
                <a:gd name="T79" fmla="*/ 2147483647 h 295"/>
                <a:gd name="T80" fmla="*/ 170417734 w 297"/>
                <a:gd name="T81" fmla="*/ 2147483647 h 295"/>
                <a:gd name="T82" fmla="*/ 170417734 w 297"/>
                <a:gd name="T83" fmla="*/ 2147483647 h 295"/>
                <a:gd name="T84" fmla="*/ 177373511 w 297"/>
                <a:gd name="T85" fmla="*/ 2147483647 h 295"/>
                <a:gd name="T86" fmla="*/ 177373511 w 297"/>
                <a:gd name="T87" fmla="*/ 2147483647 h 295"/>
                <a:gd name="T88" fmla="*/ 170417734 w 297"/>
                <a:gd name="T89" fmla="*/ 2147483647 h 295"/>
                <a:gd name="T90" fmla="*/ 170417734 w 297"/>
                <a:gd name="T91" fmla="*/ 2147483647 h 295"/>
                <a:gd name="T92" fmla="*/ 168678440 w 297"/>
                <a:gd name="T93" fmla="*/ 2147483647 h 295"/>
                <a:gd name="T94" fmla="*/ 102598314 w 297"/>
                <a:gd name="T95" fmla="*/ 2147483647 h 295"/>
                <a:gd name="T96" fmla="*/ 265234160 w 297"/>
                <a:gd name="T97" fmla="*/ 2147483647 h 295"/>
                <a:gd name="T98" fmla="*/ 265234160 w 297"/>
                <a:gd name="T99" fmla="*/ 2147483647 h 295"/>
                <a:gd name="T100" fmla="*/ 265234160 w 297"/>
                <a:gd name="T101" fmla="*/ 2147483647 h 295"/>
                <a:gd name="T102" fmla="*/ 265234160 w 297"/>
                <a:gd name="T103" fmla="*/ 2147483647 h 295"/>
                <a:gd name="T104" fmla="*/ 265234160 w 297"/>
                <a:gd name="T105" fmla="*/ 2147483647 h 29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97"/>
                <a:gd name="T160" fmla="*/ 0 h 295"/>
                <a:gd name="T161" fmla="*/ 297 w 297"/>
                <a:gd name="T162" fmla="*/ 295 h 29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97" h="295">
                  <a:moveTo>
                    <a:pt x="238" y="176"/>
                  </a:moveTo>
                  <a:cubicBezTo>
                    <a:pt x="217" y="176"/>
                    <a:pt x="199" y="187"/>
                    <a:pt x="189" y="202"/>
                  </a:cubicBezTo>
                  <a:cubicBezTo>
                    <a:pt x="115" y="166"/>
                    <a:pt x="115" y="166"/>
                    <a:pt x="115" y="166"/>
                  </a:cubicBezTo>
                  <a:cubicBezTo>
                    <a:pt x="117" y="160"/>
                    <a:pt x="118" y="154"/>
                    <a:pt x="118" y="147"/>
                  </a:cubicBezTo>
                  <a:cubicBezTo>
                    <a:pt x="118" y="147"/>
                    <a:pt x="118" y="147"/>
                    <a:pt x="118" y="147"/>
                  </a:cubicBezTo>
                  <a:cubicBezTo>
                    <a:pt x="118" y="140"/>
                    <a:pt x="117" y="134"/>
                    <a:pt x="115" y="128"/>
                  </a:cubicBezTo>
                  <a:cubicBezTo>
                    <a:pt x="188" y="92"/>
                    <a:pt x="188" y="92"/>
                    <a:pt x="188" y="92"/>
                  </a:cubicBezTo>
                  <a:cubicBezTo>
                    <a:pt x="199" y="108"/>
                    <a:pt x="217" y="118"/>
                    <a:pt x="238" y="118"/>
                  </a:cubicBezTo>
                  <a:cubicBezTo>
                    <a:pt x="270" y="118"/>
                    <a:pt x="297" y="92"/>
                    <a:pt x="297" y="59"/>
                  </a:cubicBezTo>
                  <a:cubicBezTo>
                    <a:pt x="297" y="55"/>
                    <a:pt x="296" y="52"/>
                    <a:pt x="296" y="48"/>
                  </a:cubicBezTo>
                  <a:cubicBezTo>
                    <a:pt x="295" y="44"/>
                    <a:pt x="291" y="41"/>
                    <a:pt x="286" y="42"/>
                  </a:cubicBezTo>
                  <a:cubicBezTo>
                    <a:pt x="282" y="42"/>
                    <a:pt x="279" y="47"/>
                    <a:pt x="280" y="51"/>
                  </a:cubicBezTo>
                  <a:cubicBezTo>
                    <a:pt x="281" y="54"/>
                    <a:pt x="281" y="56"/>
                    <a:pt x="281" y="59"/>
                  </a:cubicBezTo>
                  <a:cubicBezTo>
                    <a:pt x="281" y="83"/>
                    <a:pt x="261" y="102"/>
                    <a:pt x="238" y="102"/>
                  </a:cubicBezTo>
                  <a:cubicBezTo>
                    <a:pt x="221" y="102"/>
                    <a:pt x="207" y="93"/>
                    <a:pt x="200" y="80"/>
                  </a:cubicBezTo>
                  <a:cubicBezTo>
                    <a:pt x="200" y="79"/>
                    <a:pt x="199" y="79"/>
                    <a:pt x="199" y="78"/>
                  </a:cubicBezTo>
                  <a:cubicBezTo>
                    <a:pt x="199" y="77"/>
                    <a:pt x="198" y="77"/>
                    <a:pt x="198" y="76"/>
                  </a:cubicBezTo>
                  <a:cubicBezTo>
                    <a:pt x="196" y="71"/>
                    <a:pt x="194" y="65"/>
                    <a:pt x="194" y="59"/>
                  </a:cubicBezTo>
                  <a:cubicBezTo>
                    <a:pt x="194" y="35"/>
                    <a:pt x="214" y="16"/>
                    <a:pt x="238" y="16"/>
                  </a:cubicBezTo>
                  <a:cubicBezTo>
                    <a:pt x="249" y="16"/>
                    <a:pt x="260" y="21"/>
                    <a:pt x="267" y="28"/>
                  </a:cubicBezTo>
                  <a:cubicBezTo>
                    <a:pt x="271" y="31"/>
                    <a:pt x="276" y="31"/>
                    <a:pt x="279" y="28"/>
                  </a:cubicBezTo>
                  <a:cubicBezTo>
                    <a:pt x="282" y="24"/>
                    <a:pt x="282" y="19"/>
                    <a:pt x="278" y="16"/>
                  </a:cubicBezTo>
                  <a:cubicBezTo>
                    <a:pt x="278" y="16"/>
                    <a:pt x="278" y="16"/>
                    <a:pt x="278" y="16"/>
                  </a:cubicBezTo>
                  <a:cubicBezTo>
                    <a:pt x="268" y="6"/>
                    <a:pt x="253" y="0"/>
                    <a:pt x="238" y="0"/>
                  </a:cubicBezTo>
                  <a:cubicBezTo>
                    <a:pt x="205" y="0"/>
                    <a:pt x="178" y="27"/>
                    <a:pt x="178" y="59"/>
                  </a:cubicBezTo>
                  <a:cubicBezTo>
                    <a:pt x="178" y="66"/>
                    <a:pt x="179" y="72"/>
                    <a:pt x="181" y="78"/>
                  </a:cubicBezTo>
                  <a:cubicBezTo>
                    <a:pt x="108" y="114"/>
                    <a:pt x="108" y="114"/>
                    <a:pt x="108" y="114"/>
                  </a:cubicBezTo>
                  <a:cubicBezTo>
                    <a:pt x="97" y="98"/>
                    <a:pt x="79" y="88"/>
                    <a:pt x="59" y="88"/>
                  </a:cubicBezTo>
                  <a:cubicBezTo>
                    <a:pt x="26" y="88"/>
                    <a:pt x="0" y="114"/>
                    <a:pt x="0" y="147"/>
                  </a:cubicBezTo>
                  <a:cubicBezTo>
                    <a:pt x="0" y="180"/>
                    <a:pt x="26" y="206"/>
                    <a:pt x="59" y="206"/>
                  </a:cubicBezTo>
                  <a:cubicBezTo>
                    <a:pt x="79" y="206"/>
                    <a:pt x="97" y="196"/>
                    <a:pt x="108" y="180"/>
                  </a:cubicBezTo>
                  <a:cubicBezTo>
                    <a:pt x="182" y="217"/>
                    <a:pt x="182" y="217"/>
                    <a:pt x="182" y="217"/>
                  </a:cubicBezTo>
                  <a:cubicBezTo>
                    <a:pt x="180" y="223"/>
                    <a:pt x="179" y="229"/>
                    <a:pt x="179" y="236"/>
                  </a:cubicBezTo>
                  <a:cubicBezTo>
                    <a:pt x="179" y="268"/>
                    <a:pt x="205" y="295"/>
                    <a:pt x="238" y="295"/>
                  </a:cubicBezTo>
                  <a:cubicBezTo>
                    <a:pt x="270" y="295"/>
                    <a:pt x="297" y="268"/>
                    <a:pt x="297" y="236"/>
                  </a:cubicBezTo>
                  <a:cubicBezTo>
                    <a:pt x="297" y="203"/>
                    <a:pt x="270" y="176"/>
                    <a:pt x="238" y="176"/>
                  </a:cubicBezTo>
                  <a:close/>
                  <a:moveTo>
                    <a:pt x="59" y="190"/>
                  </a:moveTo>
                  <a:cubicBezTo>
                    <a:pt x="35" y="190"/>
                    <a:pt x="16" y="171"/>
                    <a:pt x="16" y="147"/>
                  </a:cubicBezTo>
                  <a:cubicBezTo>
                    <a:pt x="16" y="123"/>
                    <a:pt x="35" y="104"/>
                    <a:pt x="59" y="104"/>
                  </a:cubicBezTo>
                  <a:cubicBezTo>
                    <a:pt x="75" y="104"/>
                    <a:pt x="90" y="113"/>
                    <a:pt x="97" y="126"/>
                  </a:cubicBezTo>
                  <a:cubicBezTo>
                    <a:pt x="97" y="127"/>
                    <a:pt x="97" y="128"/>
                    <a:pt x="98" y="128"/>
                  </a:cubicBezTo>
                  <a:cubicBezTo>
                    <a:pt x="98" y="128"/>
                    <a:pt x="98" y="129"/>
                    <a:pt x="98" y="129"/>
                  </a:cubicBezTo>
                  <a:cubicBezTo>
                    <a:pt x="101" y="134"/>
                    <a:pt x="102" y="141"/>
                    <a:pt x="102" y="147"/>
                  </a:cubicBezTo>
                  <a:cubicBezTo>
                    <a:pt x="102" y="147"/>
                    <a:pt x="102" y="147"/>
                    <a:pt x="102" y="147"/>
                  </a:cubicBezTo>
                  <a:cubicBezTo>
                    <a:pt x="102" y="154"/>
                    <a:pt x="101" y="160"/>
                    <a:pt x="98" y="165"/>
                  </a:cubicBezTo>
                  <a:cubicBezTo>
                    <a:pt x="98" y="165"/>
                    <a:pt x="98" y="166"/>
                    <a:pt x="98" y="166"/>
                  </a:cubicBezTo>
                  <a:cubicBezTo>
                    <a:pt x="97" y="167"/>
                    <a:pt x="97" y="167"/>
                    <a:pt x="97" y="168"/>
                  </a:cubicBezTo>
                  <a:cubicBezTo>
                    <a:pt x="90" y="181"/>
                    <a:pt x="75" y="190"/>
                    <a:pt x="59" y="190"/>
                  </a:cubicBezTo>
                  <a:close/>
                  <a:moveTo>
                    <a:pt x="238" y="279"/>
                  </a:moveTo>
                  <a:cubicBezTo>
                    <a:pt x="214" y="279"/>
                    <a:pt x="195" y="259"/>
                    <a:pt x="195" y="236"/>
                  </a:cubicBezTo>
                  <a:cubicBezTo>
                    <a:pt x="195" y="212"/>
                    <a:pt x="214" y="192"/>
                    <a:pt x="238" y="192"/>
                  </a:cubicBezTo>
                  <a:cubicBezTo>
                    <a:pt x="262" y="192"/>
                    <a:pt x="281" y="212"/>
                    <a:pt x="281" y="236"/>
                  </a:cubicBezTo>
                  <a:cubicBezTo>
                    <a:pt x="281" y="259"/>
                    <a:pt x="262" y="279"/>
                    <a:pt x="238" y="279"/>
                  </a:cubicBezTo>
                  <a:close/>
                </a:path>
              </a:pathLst>
            </a:custGeom>
            <a:solidFill>
              <a:srgbClr val="5858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eaVert" lIns="91429" tIns="45715" rIns="91429" bIns="45715"/>
            <a:lstStyle/>
            <a:p>
              <a:endParaRPr lang="en-US"/>
            </a:p>
          </p:txBody>
        </p:sp>
        <p:sp>
          <p:nvSpPr>
            <p:cNvPr id="631840" name="Rectangle 32"/>
            <p:cNvSpPr>
              <a:spLocks noChangeArrowheads="1"/>
            </p:cNvSpPr>
            <p:nvPr/>
          </p:nvSpPr>
          <p:spPr bwMode="auto">
            <a:xfrm rot="10800000">
              <a:off x="3929" y="2727"/>
              <a:ext cx="1416" cy="794"/>
            </a:xfrm>
            <a:prstGeom prst="rect">
              <a:avLst/>
            </a:prstGeom>
            <a:gradFill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gamma/>
                    <a:tint val="47451"/>
                    <a:invGamma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rIns="0" anchor="ctr"/>
            <a:lstStyle/>
            <a:p>
              <a:pPr>
                <a:defRPr/>
              </a:pPr>
              <a:endParaRPr lang="en-AU">
                <a:latin typeface="Arial" charset="0"/>
                <a:cs typeface="Arial" charset="0"/>
              </a:endParaRPr>
            </a:p>
          </p:txBody>
        </p:sp>
        <p:sp>
          <p:nvSpPr>
            <p:cNvPr id="9235" name="Text Box 33"/>
            <p:cNvSpPr txBox="1">
              <a:spLocks noChangeArrowheads="1"/>
            </p:cNvSpPr>
            <p:nvPr/>
          </p:nvSpPr>
          <p:spPr bwMode="auto">
            <a:xfrm>
              <a:off x="3617" y="2925"/>
              <a:ext cx="1742" cy="3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99">
                      <a:alpha val="25098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1991" tIns="45715" rIns="71991" bIns="45715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r>
                <a:rPr lang="en-US" sz="2800" i="1">
                  <a:solidFill>
                    <a:srgbClr val="A50021"/>
                  </a:solidFill>
                  <a:cs typeface="Arial" pitchFamily="34" charset="0"/>
                </a:rPr>
                <a:t>Cloud Infrastruct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2165083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18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2000"/>
                                        <p:tgtEl>
                                          <p:spTgt spid="6318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withGroup">
                            <p:stCondLst>
                              <p:cond delay="3000"/>
                            </p:stCondLst>
                            <p:childTnLst>
                              <p:par>
                                <p:cTn id="9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18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6318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6318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6318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183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TitlePag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Uj.454QkS0LPT5MtSF3A"/>
</p:tagLst>
</file>

<file path=ppt/theme/theme1.xml><?xml version="1.0" encoding="utf-8"?>
<a:theme xmlns:a="http://schemas.openxmlformats.org/drawingml/2006/main" name="PresentationTemplate2011">
  <a:themeElements>
    <a:clrScheme name="Landscape2009 1">
      <a:dk1>
        <a:srgbClr val="58585A"/>
      </a:dk1>
      <a:lt1>
        <a:srgbClr val="FFFFFF"/>
      </a:lt1>
      <a:dk2>
        <a:srgbClr val="00285E"/>
      </a:dk2>
      <a:lt2>
        <a:srgbClr val="B1B3B4"/>
      </a:lt2>
      <a:accent1>
        <a:srgbClr val="89BA17"/>
      </a:accent1>
      <a:accent2>
        <a:srgbClr val="F08A00"/>
      </a:accent2>
      <a:accent3>
        <a:srgbClr val="FFFFFF"/>
      </a:accent3>
      <a:accent4>
        <a:srgbClr val="4A4A4C"/>
      </a:accent4>
      <a:accent5>
        <a:srgbClr val="C4D9AB"/>
      </a:accent5>
      <a:accent6>
        <a:srgbClr val="D97D00"/>
      </a:accent6>
      <a:hlink>
        <a:srgbClr val="00A9D4"/>
      </a:hlink>
      <a:folHlink>
        <a:srgbClr val="00625F"/>
      </a:folHlink>
    </a:clrScheme>
    <a:fontScheme name="Landscape2009">
      <a:majorFont>
        <a:latin typeface="Ericsson Capital TT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45720" rIns="7200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45720" rIns="7200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Landscape2009 1">
        <a:dk1>
          <a:srgbClr val="58585A"/>
        </a:dk1>
        <a:lt1>
          <a:srgbClr val="FFFFFF"/>
        </a:lt1>
        <a:dk2>
          <a:srgbClr val="00285E"/>
        </a:dk2>
        <a:lt2>
          <a:srgbClr val="B1B3B4"/>
        </a:lt2>
        <a:accent1>
          <a:srgbClr val="89BA17"/>
        </a:accent1>
        <a:accent2>
          <a:srgbClr val="F08A00"/>
        </a:accent2>
        <a:accent3>
          <a:srgbClr val="FFFFFF"/>
        </a:accent3>
        <a:accent4>
          <a:srgbClr val="4A4A4C"/>
        </a:accent4>
        <a:accent5>
          <a:srgbClr val="C4D9AB"/>
        </a:accent5>
        <a:accent6>
          <a:srgbClr val="D97D00"/>
        </a:accent6>
        <a:hlink>
          <a:srgbClr val="00A9D4"/>
        </a:hlink>
        <a:folHlink>
          <a:srgbClr val="0062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PresentationTemplate2011">
  <a:themeElements>
    <a:clrScheme name="Landscape2009 1">
      <a:dk1>
        <a:srgbClr val="58585A"/>
      </a:dk1>
      <a:lt1>
        <a:srgbClr val="FFFFFF"/>
      </a:lt1>
      <a:dk2>
        <a:srgbClr val="00285E"/>
      </a:dk2>
      <a:lt2>
        <a:srgbClr val="B1B3B4"/>
      </a:lt2>
      <a:accent1>
        <a:srgbClr val="89BA17"/>
      </a:accent1>
      <a:accent2>
        <a:srgbClr val="F08A00"/>
      </a:accent2>
      <a:accent3>
        <a:srgbClr val="FFFFFF"/>
      </a:accent3>
      <a:accent4>
        <a:srgbClr val="4A4A4C"/>
      </a:accent4>
      <a:accent5>
        <a:srgbClr val="C4D9AB"/>
      </a:accent5>
      <a:accent6>
        <a:srgbClr val="D97D00"/>
      </a:accent6>
      <a:hlink>
        <a:srgbClr val="00A9D4"/>
      </a:hlink>
      <a:folHlink>
        <a:srgbClr val="00625F"/>
      </a:folHlink>
    </a:clrScheme>
    <a:fontScheme name="Landscape2009">
      <a:majorFont>
        <a:latin typeface="Ericsson Capital TT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45720" rIns="7200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45720" rIns="7200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Landscape2009 1">
        <a:dk1>
          <a:srgbClr val="58585A"/>
        </a:dk1>
        <a:lt1>
          <a:srgbClr val="FFFFFF"/>
        </a:lt1>
        <a:dk2>
          <a:srgbClr val="00285E"/>
        </a:dk2>
        <a:lt2>
          <a:srgbClr val="B1B3B4"/>
        </a:lt2>
        <a:accent1>
          <a:srgbClr val="89BA17"/>
        </a:accent1>
        <a:accent2>
          <a:srgbClr val="F08A00"/>
        </a:accent2>
        <a:accent3>
          <a:srgbClr val="FFFFFF"/>
        </a:accent3>
        <a:accent4>
          <a:srgbClr val="4A4A4C"/>
        </a:accent4>
        <a:accent5>
          <a:srgbClr val="C4D9AB"/>
        </a:accent5>
        <a:accent6>
          <a:srgbClr val="D97D00"/>
        </a:accent6>
        <a:hlink>
          <a:srgbClr val="00A9D4"/>
        </a:hlink>
        <a:folHlink>
          <a:srgbClr val="0062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-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79</TotalTime>
  <Words>1058</Words>
  <Application>Microsoft Office PowerPoint</Application>
  <PresentationFormat>Custom</PresentationFormat>
  <Paragraphs>405</Paragraphs>
  <Slides>19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6" baseType="lpstr">
      <vt:lpstr>Arial</vt:lpstr>
      <vt:lpstr>MS PGothic</vt:lpstr>
      <vt:lpstr>Ericsson Capital TT</vt:lpstr>
      <vt:lpstr>Wingdings</vt:lpstr>
      <vt:lpstr>PresentationTemplate2011</vt:lpstr>
      <vt:lpstr>1_PresentationTemplate2011</vt:lpstr>
      <vt:lpstr>think-cell Slide</vt:lpstr>
      <vt:lpstr>Clouding  the networked society</vt:lpstr>
      <vt:lpstr>Everyone talks about Cloud</vt:lpstr>
      <vt:lpstr>Cloud Demystified</vt:lpstr>
      <vt:lpstr>How we use cloud services</vt:lpstr>
      <vt:lpstr>PowerPoint Presentation</vt:lpstr>
      <vt:lpstr>Traditional cloud solutions</vt:lpstr>
      <vt:lpstr>Cloud opportunity</vt:lpstr>
      <vt:lpstr>PowerPoint Presentation</vt:lpstr>
      <vt:lpstr>Virtualization</vt:lpstr>
      <vt:lpstr>Network Function Virtualization</vt:lpstr>
      <vt:lpstr>Service Provider  Software Defined Networks</vt:lpstr>
      <vt:lpstr>Telco cloud</vt:lpstr>
      <vt:lpstr>Industry activities  SDN and virtualization </vt:lpstr>
      <vt:lpstr>NETWORK ENABLED CLOUD technologies</vt:lpstr>
      <vt:lpstr>PowerPoint Presentation</vt:lpstr>
      <vt:lpstr>Telecom Industry Trends</vt:lpstr>
      <vt:lpstr>Summary</vt:lpstr>
      <vt:lpstr>JOIN THE CONVERS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ing The Networked Society</dc:title>
  <dc:creator/>
  <cp:keywords/>
  <dc:description>Rev A</dc:description>
  <cp:lastModifiedBy>Julio Espinoza</cp:lastModifiedBy>
  <cp:revision>202</cp:revision>
  <dcterms:created xsi:type="dcterms:W3CDTF">2011-05-24T09:22:48Z</dcterms:created>
  <dcterms:modified xsi:type="dcterms:W3CDTF">2014-08-11T05:47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Type">
    <vt:lpwstr>Presentation2011</vt:lpwstr>
  </property>
  <property fmtid="{D5CDD505-2E9C-101B-9397-08002B2CF9AE}" pid="3" name="TemplateName">
    <vt:lpwstr>CXC 173 2731/1</vt:lpwstr>
  </property>
  <property fmtid="{D5CDD505-2E9C-101B-9397-08002B2CF9AE}" pid="4" name="TemplateVersion">
    <vt:lpwstr>R1A</vt:lpwstr>
  </property>
  <property fmtid="{D5CDD505-2E9C-101B-9397-08002B2CF9AE}" pid="5" name="EmbeddedFonts">
    <vt:bool>true</vt:bool>
  </property>
  <property fmtid="{D5CDD505-2E9C-101B-9397-08002B2CF9AE}" pid="6" name="FooterType">
    <vt:lpwstr>PresTemp</vt:lpwstr>
  </property>
  <property fmtid="{D5CDD505-2E9C-101B-9397-08002B2CF9AE}" pid="7" name="UsedFont">
    <vt:lpwstr>Ericsson Capital TT</vt:lpwstr>
  </property>
  <property fmtid="{D5CDD505-2E9C-101B-9397-08002B2CF9AE}" pid="8" name="x">
    <vt:lpwstr>1</vt:lpwstr>
  </property>
  <property fmtid="{D5CDD505-2E9C-101B-9397-08002B2CF9AE}" pid="9" name="White">
    <vt:bool>true</vt:bool>
  </property>
  <property fmtid="{D5CDD505-2E9C-101B-9397-08002B2CF9AE}" pid="10" name="chkMetaData">
    <vt:bool>false</vt:bool>
  </property>
  <property fmtid="{D5CDD505-2E9C-101B-9397-08002B2CF9AE}" pid="11" name="chkTaglines">
    <vt:bool>false</vt:bool>
  </property>
  <property fmtid="{D5CDD505-2E9C-101B-9397-08002B2CF9AE}" pid="12" name="SecurityClass">
    <vt:lpwstr>Ericsson Internal</vt:lpwstr>
  </property>
  <property fmtid="{D5CDD505-2E9C-101B-9397-08002B2CF9AE}" pid="13" name="txtConfLabel">
    <vt:lpwstr>Commercial in confidence</vt:lpwstr>
  </property>
  <property fmtid="{D5CDD505-2E9C-101B-9397-08002B2CF9AE}" pid="14" name="optUseConfClass">
    <vt:bool>false</vt:bool>
  </property>
  <property fmtid="{D5CDD505-2E9C-101B-9397-08002B2CF9AE}" pid="15" name="optUseConfLabel">
    <vt:bool>true</vt:bool>
  </property>
  <property fmtid="{D5CDD505-2E9C-101B-9397-08002B2CF9AE}" pid="16" name="optFooterCVLDocNo">
    <vt:bool>false</vt:bool>
  </property>
  <property fmtid="{D5CDD505-2E9C-101B-9397-08002B2CF9AE}" pid="17" name="optFooterCVLCopyright">
    <vt:bool>true</vt:bool>
  </property>
  <property fmtid="{D5CDD505-2E9C-101B-9397-08002B2CF9AE}" pid="18" name="optEnterText1">
    <vt:bool>false</vt:bool>
  </property>
  <property fmtid="{D5CDD505-2E9C-101B-9397-08002B2CF9AE}" pid="19" name="optFooterCVLConfLabel">
    <vt:bool>true</vt:bool>
  </property>
  <property fmtid="{D5CDD505-2E9C-101B-9397-08002B2CF9AE}" pid="20" name="optEnterText2">
    <vt:bool>false</vt:bool>
  </property>
  <property fmtid="{D5CDD505-2E9C-101B-9397-08002B2CF9AE}" pid="21" name="optFooterCVLTitle">
    <vt:bool>true</vt:bool>
  </property>
  <property fmtid="{D5CDD505-2E9C-101B-9397-08002B2CF9AE}" pid="22" name="optFooterCVLPrep">
    <vt:bool>false</vt:bool>
  </property>
  <property fmtid="{D5CDD505-2E9C-101B-9397-08002B2CF9AE}" pid="23" name="optEnterText3">
    <vt:bool>false</vt:bool>
  </property>
  <property fmtid="{D5CDD505-2E9C-101B-9397-08002B2CF9AE}" pid="24" name="optFooterCVLDate">
    <vt:bool>true</vt:bool>
  </property>
  <property fmtid="{D5CDD505-2E9C-101B-9397-08002B2CF9AE}" pid="25" name="optEnterText4">
    <vt:bool>false</vt:bool>
  </property>
  <property fmtid="{D5CDD505-2E9C-101B-9397-08002B2CF9AE}" pid="26" name="LeftFooterField">
    <vt:lpwstr>© Ericsson AB 2014</vt:lpwstr>
  </property>
  <property fmtid="{D5CDD505-2E9C-101B-9397-08002B2CF9AE}" pid="27" name="MiddleFooterField">
    <vt:lpwstr>Commercial in confidence</vt:lpwstr>
  </property>
  <property fmtid="{D5CDD505-2E9C-101B-9397-08002B2CF9AE}" pid="28" name="RightFooterField">
    <vt:lpwstr>Clouding The Networked Society</vt:lpwstr>
  </property>
  <property fmtid="{D5CDD505-2E9C-101B-9397-08002B2CF9AE}" pid="29" name="RightFooterField2">
    <vt:lpwstr>2014-08-11</vt:lpwstr>
  </property>
  <property fmtid="{D5CDD505-2E9C-101B-9397-08002B2CF9AE}" pid="30" name="TotalNumb">
    <vt:bool>false</vt:bool>
  </property>
  <property fmtid="{D5CDD505-2E9C-101B-9397-08002B2CF9AE}" pid="31" name="Pages">
    <vt:bool>true</vt:bool>
  </property>
  <property fmtid="{D5CDD505-2E9C-101B-9397-08002B2CF9AE}" pid="32" name="DocumentType2">
    <vt:lpwstr>Presentation2011</vt:lpwstr>
  </property>
  <property fmtid="{D5CDD505-2E9C-101B-9397-08002B2CF9AE}" pid="33" name="TemplateName2">
    <vt:lpwstr>CXC 173 2731/1</vt:lpwstr>
  </property>
  <property fmtid="{D5CDD505-2E9C-101B-9397-08002B2CF9AE}" pid="34" name="TemplateVersion2">
    <vt:lpwstr>R1A</vt:lpwstr>
  </property>
  <property fmtid="{D5CDD505-2E9C-101B-9397-08002B2CF9AE}" pid="35" name="PackageNo">
    <vt:lpwstr>LXA 119 603</vt:lpwstr>
  </property>
  <property fmtid="{D5CDD505-2E9C-101B-9397-08002B2CF9AE}" pid="36" name="PackageVersion">
    <vt:lpwstr>R3A</vt:lpwstr>
  </property>
  <property fmtid="{D5CDD505-2E9C-101B-9397-08002B2CF9AE}" pid="37" name="Prepared">
    <vt:lpwstr/>
  </property>
  <property fmtid="{D5CDD505-2E9C-101B-9397-08002B2CF9AE}" pid="38" name="ApprovedBy">
    <vt:lpwstr/>
  </property>
  <property fmtid="{D5CDD505-2E9C-101B-9397-08002B2CF9AE}" pid="39" name="DocNo">
    <vt:lpwstr/>
  </property>
  <property fmtid="{D5CDD505-2E9C-101B-9397-08002B2CF9AE}" pid="40" name="Checked">
    <vt:lpwstr/>
  </property>
  <property fmtid="{D5CDD505-2E9C-101B-9397-08002B2CF9AE}" pid="41" name="Revision">
    <vt:lpwstr>A</vt:lpwstr>
  </property>
  <property fmtid="{D5CDD505-2E9C-101B-9397-08002B2CF9AE}" pid="42" name="DocName">
    <vt:lpwstr/>
  </property>
  <property fmtid="{D5CDD505-2E9C-101B-9397-08002B2CF9AE}" pid="43" name="Title">
    <vt:lpwstr>Clouding The Networked Society</vt:lpwstr>
  </property>
  <property fmtid="{D5CDD505-2E9C-101B-9397-08002B2CF9AE}" pid="44" name="Date">
    <vt:lpwstr>2014-08-11</vt:lpwstr>
  </property>
  <property fmtid="{D5CDD505-2E9C-101B-9397-08002B2CF9AE}" pid="45" name="Reference">
    <vt:lpwstr/>
  </property>
  <property fmtid="{D5CDD505-2E9C-101B-9397-08002B2CF9AE}" pid="46" name="Keyword">
    <vt:lpwstr/>
  </property>
  <property fmtid="{D5CDD505-2E9C-101B-9397-08002B2CF9AE}" pid="47" name="UpdateProcess">
    <vt:lpwstr>End</vt:lpwstr>
  </property>
</Properties>
</file>